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4.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5.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31" r:id="rId2"/>
    <p:sldMasterId id="2147483765" r:id="rId3"/>
    <p:sldMasterId id="2147483800" r:id="rId4"/>
    <p:sldMasterId id="2147483836" r:id="rId5"/>
    <p:sldMasterId id="2147483870" r:id="rId6"/>
  </p:sldMasterIdLst>
  <p:notesMasterIdLst>
    <p:notesMasterId r:id="rId18"/>
  </p:notesMasterIdLst>
  <p:sldIdLst>
    <p:sldId id="265" r:id="rId7"/>
    <p:sldId id="267" r:id="rId8"/>
    <p:sldId id="297" r:id="rId9"/>
    <p:sldId id="302" r:id="rId10"/>
    <p:sldId id="272" r:id="rId11"/>
    <p:sldId id="273" r:id="rId12"/>
    <p:sldId id="275" r:id="rId13"/>
    <p:sldId id="276" r:id="rId14"/>
    <p:sldId id="277" r:id="rId15"/>
    <p:sldId id="304" r:id="rId16"/>
    <p:sldId id="259"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25563"/>
    <a:srgbClr val="00B38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127" autoAdjust="0"/>
  </p:normalViewPr>
  <p:slideViewPr>
    <p:cSldViewPr snapToGrid="0">
      <p:cViewPr varScale="1">
        <p:scale>
          <a:sx n="81" d="100"/>
          <a:sy n="81" d="100"/>
        </p:scale>
        <p:origin x="-78" y="-70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06F50B-5DD1-4D82-A7CA-CD47C7E594EF}" type="datetimeFigureOut">
              <a:rPr lang="en-US" smtClean="0"/>
              <a:t>2/9/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469A16-4C8E-4DB2-B74D-1934B95BA0E3}" type="slidenum">
              <a:rPr lang="en-US" smtClean="0"/>
              <a:t>‹#›</a:t>
            </a:fld>
            <a:endParaRPr lang="en-US"/>
          </a:p>
        </p:txBody>
      </p:sp>
    </p:spTree>
    <p:extLst>
      <p:ext uri="{BB962C8B-B14F-4D97-AF65-F5344CB8AC3E}">
        <p14:creationId xmlns:p14="http://schemas.microsoft.com/office/powerpoint/2010/main" val="67158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FEAE42-E3FE-4405-B7FC-4425D05B92A0}" type="slidenum">
              <a:rPr lang="en-US" smtClean="0">
                <a:solidFill>
                  <a:prstClr val="black"/>
                </a:solidFill>
                <a:latin typeface="Arial" panose="020B0604020202020204"/>
              </a:rPr>
              <a:pPr/>
              <a:t>1</a:t>
            </a:fld>
            <a:endParaRPr lang="en-US">
              <a:solidFill>
                <a:prstClr val="black"/>
              </a:solidFill>
              <a:latin typeface="Arial" panose="020B0604020202020204"/>
            </a:endParaRPr>
          </a:p>
        </p:txBody>
      </p:sp>
    </p:spTree>
    <p:extLst>
      <p:ext uri="{BB962C8B-B14F-4D97-AF65-F5344CB8AC3E}">
        <p14:creationId xmlns:p14="http://schemas.microsoft.com/office/powerpoint/2010/main" val="810442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547E1EE-0039-4797-B978-F453418260D1}" type="slidenum">
              <a:rPr lang="en-US" smtClean="0">
                <a:solidFill>
                  <a:prstClr val="black"/>
                </a:solidFill>
                <a:latin typeface="Calibri"/>
              </a:rPr>
              <a:pPr/>
              <a:t>2</a:t>
            </a:fld>
            <a:endParaRPr lang="en-US" dirty="0">
              <a:solidFill>
                <a:prstClr val="black"/>
              </a:solidFill>
              <a:latin typeface="Calibri"/>
            </a:endParaRPr>
          </a:p>
        </p:txBody>
      </p:sp>
    </p:spTree>
    <p:extLst>
      <p:ext uri="{BB962C8B-B14F-4D97-AF65-F5344CB8AC3E}">
        <p14:creationId xmlns:p14="http://schemas.microsoft.com/office/powerpoint/2010/main" val="28413569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4975" y="396875"/>
            <a:ext cx="4778375" cy="2687638"/>
          </a:xfrm>
        </p:spPr>
      </p:sp>
      <p:sp>
        <p:nvSpPr>
          <p:cNvPr id="3" name="Notes Placeholder 2"/>
          <p:cNvSpPr>
            <a:spLocks noGrp="1"/>
          </p:cNvSpPr>
          <p:nvPr>
            <p:ph type="body" idx="1"/>
          </p:nvPr>
        </p:nvSpPr>
        <p:spPr/>
        <p:txBody>
          <a:bodyPr>
            <a:normAutofit fontScale="92500" lnSpcReduction="10000"/>
          </a:bodyPr>
          <a:lstStyle/>
          <a:p>
            <a:pPr marL="9318" indent="0">
              <a:buNone/>
            </a:pPr>
            <a:r>
              <a:rPr lang="en-US" sz="900" dirty="0"/>
              <a:t>Thriving in the Idea Economy </a:t>
            </a:r>
            <a:r>
              <a:rPr lang="en-US" sz="900" dirty="0" smtClean="0"/>
              <a:t>requires</a:t>
            </a:r>
            <a:r>
              <a:rPr lang="en-US" sz="900" baseline="0" dirty="0" smtClean="0"/>
              <a:t> organizations to accelerate their rate of positive change…</a:t>
            </a:r>
          </a:p>
          <a:p>
            <a:pPr marL="9318" indent="0">
              <a:buNone/>
            </a:pPr>
            <a:endParaRPr lang="en-US" sz="1400" b="1" dirty="0">
              <a:solidFill>
                <a:schemeClr val="accent1"/>
              </a:solidFill>
              <a:latin typeface="HP Simplified" panose="020B0604020204020204" pitchFamily="34" charset="0"/>
            </a:endParaRPr>
          </a:p>
          <a:p>
            <a:pPr marL="0" indent="0" defTabSz="931269">
              <a:spcBef>
                <a:spcPts val="611"/>
              </a:spcBef>
              <a:buSzTx/>
              <a:buNone/>
              <a:defRPr/>
            </a:pPr>
            <a:r>
              <a:rPr lang="en-US" sz="1400" b="1" dirty="0">
                <a:solidFill>
                  <a:schemeClr val="accent1"/>
                </a:solidFill>
                <a:latin typeface="HP Simplified" panose="020B0604020204020204" pitchFamily="34" charset="0"/>
              </a:rPr>
              <a:t>Create new outcomes from apps, data and experiences </a:t>
            </a:r>
          </a:p>
          <a:p>
            <a:pPr marL="0" indent="0" defTabSz="931269">
              <a:spcBef>
                <a:spcPts val="611"/>
              </a:spcBef>
              <a:buSzTx/>
              <a:buNone/>
              <a:defRPr/>
            </a:pPr>
            <a:r>
              <a:rPr lang="en-US" dirty="0">
                <a:latin typeface="HP Simplified Light" panose="020B0404020204020204" pitchFamily="34" charset="0"/>
              </a:rPr>
              <a:t>Able to rapidly compose  new apps and services from any source to create new value for customers and citizens</a:t>
            </a:r>
          </a:p>
          <a:p>
            <a:pPr marL="0" indent="0" defTabSz="931269">
              <a:spcBef>
                <a:spcPts val="611"/>
              </a:spcBef>
              <a:buSzTx/>
              <a:buNone/>
              <a:defRPr/>
            </a:pPr>
            <a:endParaRPr lang="en-US" sz="1400" b="1" dirty="0">
              <a:solidFill>
                <a:schemeClr val="accent1"/>
              </a:solidFill>
              <a:latin typeface="HP Simplified" panose="020B0604020204020204" pitchFamily="34" charset="0"/>
            </a:endParaRPr>
          </a:p>
          <a:p>
            <a:pPr marL="0" indent="0" defTabSz="931269">
              <a:spcBef>
                <a:spcPts val="611"/>
              </a:spcBef>
              <a:buSzTx/>
              <a:buNone/>
              <a:defRPr/>
            </a:pPr>
            <a:r>
              <a:rPr lang="en-US" sz="1400" b="1" dirty="0">
                <a:solidFill>
                  <a:schemeClr val="accent1"/>
                </a:solidFill>
                <a:latin typeface="HP Simplified" panose="020B0604020204020204" pitchFamily="34" charset="0"/>
              </a:rPr>
              <a:t>Proactively manages all forms of risk</a:t>
            </a:r>
          </a:p>
          <a:p>
            <a:pPr marL="0" indent="0" defTabSz="931269">
              <a:spcBef>
                <a:spcPts val="611"/>
              </a:spcBef>
              <a:buSzTx/>
              <a:buNone/>
              <a:defRPr/>
            </a:pPr>
            <a:r>
              <a:rPr lang="en-US" dirty="0">
                <a:latin typeface="HP Simplified Light" panose="020B0404020204020204" pitchFamily="34" charset="0"/>
              </a:rPr>
              <a:t>Protected and compliance in a world of rapidly changing threat landscape</a:t>
            </a:r>
          </a:p>
          <a:p>
            <a:pPr marL="0" indent="0" defTabSz="931269">
              <a:spcBef>
                <a:spcPts val="611"/>
              </a:spcBef>
              <a:buSzTx/>
              <a:buNone/>
              <a:defRPr/>
            </a:pPr>
            <a:endParaRPr lang="en-US" sz="1400" b="1" dirty="0">
              <a:solidFill>
                <a:schemeClr val="accent1"/>
              </a:solidFill>
              <a:latin typeface="HP Simplified" panose="020B0604020204020204" pitchFamily="34" charset="0"/>
            </a:endParaRPr>
          </a:p>
          <a:p>
            <a:pPr marL="0" indent="0" defTabSz="931269">
              <a:spcBef>
                <a:spcPts val="611"/>
              </a:spcBef>
              <a:buSzTx/>
              <a:buNone/>
              <a:defRPr/>
            </a:pPr>
            <a:r>
              <a:rPr lang="en-US" sz="1400" b="1" dirty="0">
                <a:solidFill>
                  <a:schemeClr val="accent1"/>
                </a:solidFill>
                <a:latin typeface="HP Simplified" panose="020B0604020204020204" pitchFamily="34" charset="0"/>
              </a:rPr>
              <a:t>Contextually-aware and predictive</a:t>
            </a:r>
          </a:p>
          <a:p>
            <a:pPr marL="0" indent="0" defTabSz="931269">
              <a:spcBef>
                <a:spcPts val="611"/>
              </a:spcBef>
              <a:buSzTx/>
              <a:buNone/>
              <a:defRPr/>
            </a:pPr>
            <a:r>
              <a:rPr lang="en-US" dirty="0">
                <a:latin typeface="HP Simplified Light" panose="020B0404020204020204" pitchFamily="34" charset="0"/>
              </a:rPr>
              <a:t>Harness 100% of its data to generate real-time instant insights for continuous improvement, innovation and learning</a:t>
            </a:r>
            <a:endParaRPr lang="en-US" sz="1400" dirty="0">
              <a:latin typeface="HP Simplified Light" panose="020B0404020204020204" pitchFamily="34" charset="0"/>
            </a:endParaRPr>
          </a:p>
          <a:p>
            <a:pPr marL="0" indent="0" defTabSz="931269">
              <a:spcBef>
                <a:spcPts val="611"/>
              </a:spcBef>
              <a:buSzTx/>
              <a:buNone/>
              <a:defRPr/>
            </a:pPr>
            <a:endParaRPr lang="en-US" sz="1400" b="1" dirty="0">
              <a:solidFill>
                <a:schemeClr val="accent1"/>
              </a:solidFill>
              <a:latin typeface="HP Simplified" panose="020B0604020204020204" pitchFamily="34" charset="0"/>
            </a:endParaRPr>
          </a:p>
          <a:p>
            <a:pPr marL="0" indent="0" defTabSz="931269">
              <a:spcBef>
                <a:spcPts val="611"/>
              </a:spcBef>
              <a:buSzTx/>
              <a:buNone/>
              <a:defRPr/>
            </a:pPr>
            <a:r>
              <a:rPr lang="en-US" sz="1400" b="1" dirty="0">
                <a:solidFill>
                  <a:schemeClr val="accent1"/>
                </a:solidFill>
                <a:latin typeface="HP Simplified" panose="020B0604020204020204" pitchFamily="34" charset="0"/>
              </a:rPr>
              <a:t>Hyper-connected workplace and ecosystem </a:t>
            </a:r>
          </a:p>
          <a:p>
            <a:pPr marL="0" indent="0" defTabSz="931269">
              <a:spcBef>
                <a:spcPts val="611"/>
              </a:spcBef>
              <a:buSzTx/>
              <a:buNone/>
              <a:defRPr/>
            </a:pPr>
            <a:r>
              <a:rPr lang="en-US" dirty="0">
                <a:latin typeface="HP Simplified Light" panose="020B0404020204020204" pitchFamily="34" charset="0"/>
              </a:rPr>
              <a:t>Deliver experiences that create outcomes by enabling employees and engaging customers in a personalized way  </a:t>
            </a:r>
          </a:p>
          <a:p>
            <a:pPr marL="0" indent="0" defTabSz="931269">
              <a:spcBef>
                <a:spcPts val="611"/>
              </a:spcBef>
              <a:buSzTx/>
              <a:buNone/>
              <a:defRPr/>
            </a:pP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solidFill>
                  <a:prstClr val="black"/>
                </a:solidFill>
                <a:latin typeface="Arial" panose="020B0604020202020204"/>
              </a:rPr>
              <a:pPr/>
              <a:t>3</a:t>
            </a:fld>
            <a:endParaRPr lang="en-US">
              <a:solidFill>
                <a:prstClr val="black"/>
              </a:solidFill>
              <a:latin typeface="Arial" panose="020B0604020202020204"/>
            </a:endParaRPr>
          </a:p>
        </p:txBody>
      </p:sp>
    </p:spTree>
    <p:extLst>
      <p:ext uri="{BB962C8B-B14F-4D97-AF65-F5344CB8AC3E}">
        <p14:creationId xmlns:p14="http://schemas.microsoft.com/office/powerpoint/2010/main" val="8432988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HP Simplified"/>
              </a:rPr>
              <a:t>Meeting this challenge means leveraging the power of technology to quickly fuel the creative process and bring ideas to life.  IT’s role must evolve from keeping the business running to accelerating time to business value.  Although IT agrees with this new charter, it is difficult for them to deliver on these priorities as traditional infrastructure is optimized for stability, scalability, and performance but not for speed.  In the Idea Economy, infrastructure must be the engine of value creation, not the bottleneck to success.</a:t>
            </a:r>
          </a:p>
          <a:p>
            <a:endParaRPr lang="en-GB" baseline="0" dirty="0" smtClean="0">
              <a:latin typeface="HP Simplified Light" panose="020B0404020204020204" pitchFamily="34" charset="0"/>
            </a:endParaRPr>
          </a:p>
          <a:p>
            <a:r>
              <a:rPr lang="en-US" sz="1200" kern="1200" dirty="0" smtClean="0">
                <a:solidFill>
                  <a:schemeClr val="tx1"/>
                </a:solidFill>
                <a:effectLst/>
                <a:latin typeface="+mn-lt"/>
                <a:ea typeface="+mn-ea"/>
                <a:cs typeface="HP Simplified"/>
              </a:rPr>
              <a:t>What has worked in the past isn’t going to work in the future, as IT must now be able to support two operating environments.  </a:t>
            </a:r>
          </a:p>
          <a:p>
            <a:r>
              <a:rPr lang="en-US" sz="1200" kern="1200" dirty="0" smtClean="0">
                <a:solidFill>
                  <a:schemeClr val="tx1"/>
                </a:solidFill>
                <a:effectLst/>
                <a:latin typeface="+mn-lt"/>
                <a:ea typeface="+mn-ea"/>
                <a:cs typeface="HP Simplified"/>
              </a:rPr>
              <a:t> </a:t>
            </a:r>
          </a:p>
          <a:p>
            <a:pPr lvl="0"/>
            <a:r>
              <a:rPr lang="en-US" sz="1200" b="1" kern="1200" dirty="0" smtClean="0">
                <a:solidFill>
                  <a:schemeClr val="tx1"/>
                </a:solidFill>
                <a:effectLst/>
                <a:latin typeface="+mn-lt"/>
                <a:ea typeface="+mn-ea"/>
                <a:cs typeface="HP Simplified"/>
              </a:rPr>
              <a:t>Traditional applications</a:t>
            </a:r>
            <a:r>
              <a:rPr lang="en-US" sz="1200" kern="1200" dirty="0" smtClean="0">
                <a:solidFill>
                  <a:schemeClr val="tx1"/>
                </a:solidFill>
                <a:effectLst/>
                <a:latin typeface="+mn-lt"/>
                <a:ea typeface="+mn-ea"/>
                <a:cs typeface="HP Simplified"/>
              </a:rPr>
              <a:t> that are designed to support and automate existing business processes such as collaboration, data processing and analytics, supply chain, and web infrastructure.  </a:t>
            </a:r>
          </a:p>
          <a:p>
            <a:pPr lvl="0"/>
            <a:r>
              <a:rPr lang="en-US" sz="1200" b="1" kern="1200" dirty="0" smtClean="0">
                <a:solidFill>
                  <a:schemeClr val="tx1"/>
                </a:solidFill>
                <a:effectLst/>
                <a:latin typeface="+mn-lt"/>
                <a:ea typeface="+mn-ea"/>
                <a:cs typeface="HP Simplified"/>
              </a:rPr>
              <a:t>A new breed of applications and services</a:t>
            </a:r>
            <a:r>
              <a:rPr lang="en-US" sz="1200" kern="1200" dirty="0" smtClean="0">
                <a:solidFill>
                  <a:schemeClr val="tx1"/>
                </a:solidFill>
                <a:effectLst/>
                <a:latin typeface="+mn-lt"/>
                <a:ea typeface="+mn-ea"/>
                <a:cs typeface="HP Simplified"/>
              </a:rPr>
              <a:t> which drive revenue and new customer experiences by leveraging Mobility, Big Data, and Cloud Native technologies.  </a:t>
            </a:r>
          </a:p>
          <a:p>
            <a:endParaRPr lang="en-US" sz="1200" kern="1200" dirty="0" smtClean="0">
              <a:solidFill>
                <a:schemeClr val="tx1"/>
              </a:solidFill>
              <a:effectLst/>
              <a:latin typeface="+mn-lt"/>
              <a:ea typeface="+mn-ea"/>
              <a:cs typeface="HP Simplified"/>
            </a:endParaRPr>
          </a:p>
          <a:p>
            <a:r>
              <a:rPr lang="en-US" sz="1200" kern="1200" dirty="0" smtClean="0">
                <a:solidFill>
                  <a:schemeClr val="tx1"/>
                </a:solidFill>
                <a:effectLst/>
                <a:latin typeface="+mn-lt"/>
                <a:ea typeface="+mn-ea"/>
                <a:cs typeface="HP Simplified"/>
              </a:rPr>
              <a:t>IT is being stretched in traditional environments to lower operating costs while at the same time being stretched in the new application environment to increase operational velocity.  </a:t>
            </a:r>
          </a:p>
          <a:p>
            <a:endParaRPr lang="en-GB" baseline="0" dirty="0" smtClean="0">
              <a:latin typeface="HP Simplified Light" panose="020B0404020204020204" pitchFamily="34" charset="0"/>
            </a:endParaRPr>
          </a:p>
          <a:p>
            <a:endParaRPr lang="en-GB" baseline="0" dirty="0" smtClean="0">
              <a:latin typeface="HP Simplified Light" panose="020B0404020204020204" pitchFamily="34" charset="0"/>
            </a:endParaRPr>
          </a:p>
          <a:p>
            <a:pPr>
              <a:defRPr/>
            </a:pPr>
            <a:r>
              <a:rPr lang="en-US" b="1" dirty="0" smtClean="0"/>
              <a:t>--------------------------------------------------------------------------------</a:t>
            </a:r>
          </a:p>
          <a:p>
            <a:pPr>
              <a:defRPr/>
            </a:pPr>
            <a:endParaRPr lang="en-US" b="1" dirty="0" smtClean="0"/>
          </a:p>
          <a:p>
            <a:pPr>
              <a:defRPr/>
            </a:pPr>
            <a:r>
              <a:rPr lang="en-US" b="1" dirty="0" smtClean="0"/>
              <a:t>KEY</a:t>
            </a:r>
            <a:r>
              <a:rPr lang="en-US" b="1" baseline="0" dirty="0" smtClean="0"/>
              <a:t> TAKEAWAYS: Discuss </a:t>
            </a:r>
            <a:r>
              <a:rPr lang="en-US" b="1" dirty="0" smtClean="0">
                <a:ea typeface="+mn-ea"/>
              </a:rPr>
              <a:t>the key challenge we’re hearing loud</a:t>
            </a:r>
            <a:r>
              <a:rPr lang="en-US" b="1" baseline="0" dirty="0" smtClean="0">
                <a:ea typeface="+mn-ea"/>
              </a:rPr>
              <a:t> and clear that our customers are facing - </a:t>
            </a:r>
            <a:r>
              <a:rPr lang="en-US" b="1" dirty="0" smtClean="0">
                <a:ea typeface="+mn-ea"/>
              </a:rPr>
              <a:t>bridging from traditional to the new style of business. They require the ability to do both. IT must be flexible</a:t>
            </a:r>
            <a:r>
              <a:rPr lang="en-US" b="1" baseline="0" dirty="0" smtClean="0">
                <a:ea typeface="+mn-ea"/>
              </a:rPr>
              <a:t> to meet applications needs instantly. </a:t>
            </a:r>
          </a:p>
          <a:p>
            <a:pPr>
              <a:defRPr/>
            </a:pPr>
            <a:endParaRPr lang="en-US" b="1" baseline="0" dirty="0" smtClean="0">
              <a:ea typeface="+mn-ea"/>
            </a:endParaRPr>
          </a:p>
          <a:p>
            <a:pPr marL="0" marR="0" lvl="2" indent="0" algn="l" defTabSz="457200" rtl="0" eaLnBrk="1" fontAlgn="auto" latinLnBrk="0" hangingPunct="1">
              <a:lnSpc>
                <a:spcPct val="100000"/>
              </a:lnSpc>
              <a:spcBef>
                <a:spcPts val="0"/>
              </a:spcBef>
              <a:spcAft>
                <a:spcPts val="0"/>
              </a:spcAft>
              <a:buClrTx/>
              <a:buSzTx/>
              <a:buFontTx/>
              <a:buNone/>
              <a:tabLst/>
              <a:defRPr/>
            </a:pPr>
            <a:r>
              <a:rPr lang="en-US" b="0" baseline="0" dirty="0" smtClean="0">
                <a:ea typeface="+mn-ea"/>
              </a:rPr>
              <a:t>Traditional: Customers find themselves with two modes of business that need to be addressed by IT and there’s nothing out there that allows them to do that with a single solution. From a tradition standpoint, we’re delivering technology solutions that are stable and allow customers to roll out applications and services in a very planned, longer term time frame. </a:t>
            </a:r>
            <a:r>
              <a:rPr lang="en-US" dirty="0" smtClean="0">
                <a:ea typeface="+mn-ea"/>
              </a:rPr>
              <a:t>Support the business: Databases, OLTP, VMs (invisible)</a:t>
            </a:r>
          </a:p>
          <a:p>
            <a:pPr>
              <a:defRPr/>
            </a:pPr>
            <a:endParaRPr lang="en-US" b="0" baseline="0" dirty="0" smtClean="0">
              <a:ea typeface="+mn-ea"/>
            </a:endParaRPr>
          </a:p>
          <a:p>
            <a:pPr eaLnBrk="1" hangingPunct="1">
              <a:buFont typeface="Wingdings" charset="0"/>
              <a:buNone/>
              <a:defRPr/>
            </a:pPr>
            <a:r>
              <a:rPr lang="en-US" dirty="0" smtClean="0">
                <a:ea typeface="+mn-ea"/>
              </a:rPr>
              <a:t>New Style of Business : (Digital Enterprise, Digital Economy)</a:t>
            </a:r>
          </a:p>
          <a:p>
            <a:pPr marL="628650" lvl="1" indent="-171450" eaLnBrk="1" hangingPunct="1">
              <a:buFont typeface="Arial" panose="020B0604020202020204" pitchFamily="34" charset="0"/>
              <a:buChar char="•"/>
              <a:defRPr/>
            </a:pPr>
            <a:r>
              <a:rPr lang="en-US" dirty="0" smtClean="0">
                <a:ea typeface="+mn-ea"/>
              </a:rPr>
              <a:t>I.T. </a:t>
            </a:r>
            <a:r>
              <a:rPr lang="en-US" u="sng" dirty="0" smtClean="0">
                <a:ea typeface="+mn-ea"/>
              </a:rPr>
              <a:t>IS</a:t>
            </a:r>
            <a:r>
              <a:rPr lang="en-US" dirty="0" smtClean="0">
                <a:ea typeface="+mn-ea"/>
              </a:rPr>
              <a:t> the business: Drives revenue/profit (mobile apps: res, bank)</a:t>
            </a:r>
          </a:p>
          <a:p>
            <a:pPr>
              <a:defRPr/>
            </a:pPr>
            <a:r>
              <a:rPr lang="en-US" b="0" baseline="0" dirty="0" smtClean="0">
                <a:ea typeface="+mn-ea"/>
              </a:rPr>
              <a:t>With the emersion of cloud and other technologies, a new style of business is required, with more agility to do things more quickly to better drive more profitability into their organization agility</a:t>
            </a:r>
          </a:p>
          <a:p>
            <a:pPr>
              <a:defRPr/>
            </a:pPr>
            <a:endParaRPr lang="en-US" b="0" baseline="0" dirty="0" smtClean="0">
              <a:ea typeface="+mn-ea"/>
            </a:endParaRPr>
          </a:p>
          <a:p>
            <a:pPr marL="0" indent="0" eaLnBrk="1" hangingPunct="1">
              <a:buFont typeface="Arial" panose="020B0604020202020204" pitchFamily="34" charset="0"/>
              <a:buNone/>
              <a:defRPr/>
            </a:pPr>
            <a:r>
              <a:rPr lang="en-US" dirty="0" smtClean="0">
                <a:ea typeface="+mn-ea"/>
              </a:rPr>
              <a:t>Our customers want to be relevant to and succeed at both</a:t>
            </a:r>
          </a:p>
          <a:p>
            <a:pPr marL="628650" lvl="1" indent="-171450" eaLnBrk="1" hangingPunct="1">
              <a:buFont typeface="Arial" panose="020B0604020202020204" pitchFamily="34" charset="0"/>
              <a:buChar char="•"/>
              <a:defRPr/>
            </a:pPr>
            <a:r>
              <a:rPr lang="en-US" dirty="0" smtClean="0">
                <a:ea typeface="+mn-ea"/>
              </a:rPr>
              <a:t>Our goal is to help them on the journey and to succeed at both</a:t>
            </a:r>
          </a:p>
          <a:p>
            <a:pPr>
              <a:defRPr/>
            </a:pPr>
            <a:endParaRPr lang="en-US" dirty="0" smtClean="0"/>
          </a:p>
          <a:p>
            <a:pPr marL="173336" indent="-173336">
              <a:buFont typeface="Arial" panose="020B0604020202020204" pitchFamily="34" charset="0"/>
              <a:buChar char="•"/>
              <a:defRPr/>
            </a:pPr>
            <a:r>
              <a:rPr lang="en-US" dirty="0" smtClean="0"/>
              <a:t>Discuss the </a:t>
            </a:r>
            <a:r>
              <a:rPr lang="en-US" u="sng" dirty="0" smtClean="0"/>
              <a:t>key challenge </a:t>
            </a:r>
            <a:r>
              <a:rPr lang="en-US" dirty="0" smtClean="0"/>
              <a:t>in bridging from traditional to the new style: Bi-Modal</a:t>
            </a:r>
          </a:p>
          <a:p>
            <a:pPr marL="173336" indent="-173336">
              <a:buFont typeface="Arial" panose="020B0604020202020204" pitchFamily="34" charset="0"/>
              <a:buChar char="•"/>
              <a:defRPr/>
            </a:pPr>
            <a:r>
              <a:rPr lang="en-US" dirty="0" smtClean="0"/>
              <a:t>To help </a:t>
            </a:r>
            <a:r>
              <a:rPr lang="en-US" u="sng" dirty="0" smtClean="0"/>
              <a:t>bridge</a:t>
            </a:r>
            <a:r>
              <a:rPr lang="en-US" dirty="0" smtClean="0"/>
              <a:t>, it would be great if one infrastructure could do </a:t>
            </a:r>
            <a:r>
              <a:rPr lang="en-US" u="sng" dirty="0" smtClean="0"/>
              <a:t>both</a:t>
            </a:r>
          </a:p>
          <a:p>
            <a:pPr marL="1097794" lvl="2" indent="-173336">
              <a:buFont typeface="Arial" panose="020B0604020202020204" pitchFamily="34" charset="0"/>
              <a:buChar char="•"/>
              <a:defRPr/>
            </a:pPr>
            <a:r>
              <a:rPr lang="en-US" dirty="0" smtClean="0"/>
              <a:t>To do that it would need to be able to flexibly change personalities</a:t>
            </a:r>
          </a:p>
          <a:p>
            <a:pPr marL="1097794" lvl="2" indent="-173336">
              <a:buFont typeface="Arial" panose="020B0604020202020204" pitchFamily="34" charset="0"/>
              <a:buChar char="•"/>
              <a:defRPr/>
            </a:pPr>
            <a:r>
              <a:rPr lang="en-US" dirty="0" smtClean="0"/>
              <a:t>1) Reliable, low cost, secure</a:t>
            </a:r>
          </a:p>
          <a:p>
            <a:pPr marL="1097794" lvl="2" indent="-173336">
              <a:buFont typeface="Arial" panose="020B0604020202020204" pitchFamily="34" charset="0"/>
              <a:buChar char="•"/>
              <a:defRPr/>
            </a:pPr>
            <a:r>
              <a:rPr lang="en-US" dirty="0" smtClean="0"/>
              <a:t>2) Agile, flexible, and fluid</a:t>
            </a:r>
          </a:p>
          <a:p>
            <a:pPr marL="173336" indent="-173336">
              <a:buFont typeface="Arial" panose="020B0604020202020204" pitchFamily="34" charset="0"/>
              <a:buChar char="•"/>
              <a:defRPr/>
            </a:pPr>
            <a:r>
              <a:rPr lang="en-US" dirty="0" smtClean="0"/>
              <a:t>Can’t be static, must take on different personas </a:t>
            </a:r>
            <a:r>
              <a:rPr lang="en-US" u="sng" dirty="0" smtClean="0"/>
              <a:t>dynamically</a:t>
            </a:r>
          </a:p>
          <a:p>
            <a:pPr marL="1097794" lvl="2" indent="-173336">
              <a:buFont typeface="Arial" panose="020B0604020202020204" pitchFamily="34" charset="0"/>
              <a:buChar char="•"/>
              <a:defRPr/>
            </a:pPr>
            <a:r>
              <a:rPr lang="en-US" dirty="0" smtClean="0"/>
              <a:t>Must be able to flex to what the application needs, not overprovision</a:t>
            </a:r>
          </a:p>
          <a:p>
            <a:endParaRPr lang="en-US" baseline="0" dirty="0" smtClean="0">
              <a:latin typeface="HP Simplified Light" panose="020B0404020204020204" pitchFamily="34" charset="0"/>
            </a:endParaRPr>
          </a:p>
          <a:p>
            <a:r>
              <a:rPr lang="en-US" baseline="0" dirty="0" smtClean="0">
                <a:latin typeface="HP Simplified Light" panose="020B0404020204020204" pitchFamily="34" charset="0"/>
              </a:rPr>
              <a:t>There are fundamental differences in the tools and technologies required to run “traditional” and New Style of Business application workloads.</a:t>
            </a:r>
          </a:p>
          <a:p>
            <a:endParaRPr lang="en-US" baseline="0" dirty="0" smtClean="0">
              <a:latin typeface="HP Simplified Light" panose="020B0404020204020204" pitchFamily="34" charset="0"/>
            </a:endParaRPr>
          </a:p>
          <a:p>
            <a:r>
              <a:rPr lang="en-US" baseline="0" dirty="0" smtClean="0">
                <a:latin typeface="HP Simplified Light" panose="020B0404020204020204" pitchFamily="34" charset="0"/>
              </a:rPr>
              <a:t>To meet both the different  needs,  companies are investing in two separate  environments, which increases costs and complexity.  Gartner calls this Bi-Modal computing</a:t>
            </a:r>
          </a:p>
          <a:p>
            <a:endParaRPr lang="en-US" baseline="0" dirty="0" smtClean="0">
              <a:latin typeface="HP Simplified Light" panose="020B0404020204020204" pitchFamily="34" charset="0"/>
            </a:endParaRPr>
          </a:p>
          <a:p>
            <a:pPr defTabSz="924458">
              <a:spcBef>
                <a:spcPts val="607"/>
              </a:spcBef>
              <a:defRPr/>
            </a:pPr>
            <a:r>
              <a:rPr lang="en-US" baseline="0" dirty="0" smtClean="0">
                <a:latin typeface="HP Simplified Light" panose="020B0404020204020204" pitchFamily="34" charset="0"/>
              </a:rPr>
              <a:t>API proliferation, for example, with different or no APIs in traditional IT.  And different API’s in new style of business.</a:t>
            </a:r>
          </a:p>
          <a:p>
            <a:pPr defTabSz="924458">
              <a:spcBef>
                <a:spcPts val="607"/>
              </a:spcBef>
              <a:defRPr/>
            </a:pPr>
            <a:endParaRPr lang="en-US" baseline="0" dirty="0" smtClean="0">
              <a:latin typeface="HP Simplified Light" panose="020B0404020204020204" pitchFamily="34" charset="0"/>
            </a:endParaRPr>
          </a:p>
          <a:p>
            <a:pPr defTabSz="924458">
              <a:spcBef>
                <a:spcPts val="607"/>
              </a:spcBef>
              <a:defRPr/>
            </a:pPr>
            <a:r>
              <a:rPr lang="en-US" baseline="0" dirty="0" smtClean="0">
                <a:latin typeface="HP Simplified Light" panose="020B0404020204020204" pitchFamily="34" charset="0"/>
              </a:rPr>
              <a:t>We see a new class of infrastructure is needs which can Increase IT Efficiencies for Traditional Apps and enable Continuous Services Delvers for the New Style of Business</a:t>
            </a:r>
            <a:endParaRPr lang="en-US" dirty="0" smtClean="0">
              <a:latin typeface="HP Simplified Light" panose="020B0404020204020204" pitchFamily="34" charset="0"/>
            </a:endParaRPr>
          </a:p>
          <a:p>
            <a:endParaRPr lang="en-GB" baseline="0" dirty="0" smtClean="0">
              <a:latin typeface="HP Simplified Light" panose="020B0404020204020204" pitchFamily="34" charset="0"/>
            </a:endParaRPr>
          </a:p>
        </p:txBody>
      </p:sp>
      <p:sp>
        <p:nvSpPr>
          <p:cNvPr id="4" name="Slide Number Placeholder 3"/>
          <p:cNvSpPr>
            <a:spLocks noGrp="1"/>
          </p:cNvSpPr>
          <p:nvPr>
            <p:ph type="sldNum" sz="quarter" idx="10"/>
          </p:nvPr>
        </p:nvSpPr>
        <p:spPr/>
        <p:txBody>
          <a:bodyPr/>
          <a:lstStyle/>
          <a:p>
            <a:fld id="{8547E1EE-0039-4797-B978-F453418260D1}"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31993197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FEAE42-E3FE-4405-B7FC-4425D05B92A0}" type="slidenum">
              <a:rPr lang="en-US" smtClean="0"/>
              <a:pPr/>
              <a:t>11</a:t>
            </a:fld>
            <a:endParaRPr lang="en-US"/>
          </a:p>
        </p:txBody>
      </p:sp>
    </p:spTree>
    <p:extLst>
      <p:ext uri="{BB962C8B-B14F-4D97-AF65-F5344CB8AC3E}">
        <p14:creationId xmlns:p14="http://schemas.microsoft.com/office/powerpoint/2010/main" val="32386693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smtClean="0"/>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784769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41960" y="1001854"/>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34" indent="0" algn="ctr">
              <a:buNone/>
              <a:defRPr>
                <a:solidFill>
                  <a:schemeClr val="tx1">
                    <a:tint val="75000"/>
                  </a:schemeClr>
                </a:solidFill>
              </a:defRPr>
            </a:lvl2pPr>
            <a:lvl3pPr marL="1219068" indent="0" algn="ctr">
              <a:buNone/>
              <a:defRPr>
                <a:solidFill>
                  <a:schemeClr val="tx1">
                    <a:tint val="75000"/>
                  </a:schemeClr>
                </a:solidFill>
              </a:defRPr>
            </a:lvl3pPr>
            <a:lvl4pPr marL="1828602" indent="0" algn="ctr">
              <a:buNone/>
              <a:defRPr>
                <a:solidFill>
                  <a:schemeClr val="tx1">
                    <a:tint val="75000"/>
                  </a:schemeClr>
                </a:solidFill>
              </a:defRPr>
            </a:lvl4pPr>
            <a:lvl5pPr marL="2438136" indent="0" algn="ctr">
              <a:buNone/>
              <a:defRPr>
                <a:solidFill>
                  <a:schemeClr val="tx1">
                    <a:tint val="75000"/>
                  </a:schemeClr>
                </a:solidFill>
              </a:defRPr>
            </a:lvl5pPr>
            <a:lvl6pPr marL="3047670" indent="0" algn="ctr">
              <a:buNone/>
              <a:defRPr>
                <a:solidFill>
                  <a:schemeClr val="tx1">
                    <a:tint val="75000"/>
                  </a:schemeClr>
                </a:solidFill>
              </a:defRPr>
            </a:lvl6pPr>
            <a:lvl7pPr marL="3657205" indent="0" algn="ctr">
              <a:buNone/>
              <a:defRPr>
                <a:solidFill>
                  <a:schemeClr val="tx1">
                    <a:tint val="75000"/>
                  </a:schemeClr>
                </a:solidFill>
              </a:defRPr>
            </a:lvl7pPr>
            <a:lvl8pPr marL="4266737" indent="0" algn="ctr">
              <a:buNone/>
              <a:defRPr>
                <a:solidFill>
                  <a:schemeClr val="tx1">
                    <a:tint val="75000"/>
                  </a:schemeClr>
                </a:solidFill>
              </a:defRPr>
            </a:lvl8pPr>
            <a:lvl9pPr marL="4876273"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441960"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5" y="1584963"/>
            <a:ext cx="10826496"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Footer Placeholder 1"/>
          <p:cNvSpPr>
            <a:spLocks noGrp="1"/>
          </p:cNvSpPr>
          <p:nvPr>
            <p:ph type="ftr" sz="quarter" idx="11"/>
          </p:nvPr>
        </p:nvSpPr>
        <p:spPr>
          <a:xfrm>
            <a:off x="6934200" y="6426104"/>
            <a:ext cx="4025198" cy="210312"/>
          </a:xfrm>
          <a:prstGeom prst="rect">
            <a:avLst/>
          </a:prstGeom>
        </p:spPr>
        <p:txBody>
          <a:bodyPr/>
          <a:lstStyle/>
          <a:p>
            <a:pPr defTabSz="1219068"/>
            <a:endParaRPr lang="en-US">
              <a:solidFill>
                <a:srgbClr val="B9B8BB"/>
              </a:solidFill>
            </a:endParaRPr>
          </a:p>
        </p:txBody>
      </p:sp>
    </p:spTree>
    <p:extLst>
      <p:ext uri="{BB962C8B-B14F-4D97-AF65-F5344CB8AC3E}">
        <p14:creationId xmlns:p14="http://schemas.microsoft.com/office/powerpoint/2010/main" val="1851449185"/>
      </p:ext>
    </p:extLst>
  </p:cSld>
  <p:clrMapOvr>
    <a:masterClrMapping/>
  </p:clrMapOvr>
  <p:timing>
    <p:tnLst>
      <p:par>
        <p:cTn id="1" dur="indefinite" restart="never" nodeType="tmRoot"/>
      </p:par>
    </p:tnLst>
  </p:timing>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7" name="Slide Number Placeholder 6"/>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3015412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7" name="Slide Number Placeholder 6"/>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2051199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Text Placeholder 3"/>
          <p:cNvSpPr>
            <a:spLocks noGrp="1"/>
          </p:cNvSpPr>
          <p:nvPr>
            <p:ph type="body" sz="half" idx="2"/>
          </p:nvPr>
        </p:nvSpPr>
        <p:spPr bwMode="ltGray">
          <a:xfrm>
            <a:off x="8610600" y="1524000"/>
            <a:ext cx="2968784" cy="4572000"/>
          </a:xfrm>
          <a:solidFill>
            <a:schemeClr val="accent6"/>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7" name="Slide Number Placeholder 6"/>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4183240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7" name="Slide Number Placeholder 6"/>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3254727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4" name="Text Placeholder 3"/>
          <p:cNvSpPr>
            <a:spLocks noGrp="1"/>
          </p:cNvSpPr>
          <p:nvPr>
            <p:ph type="body" sz="half" idx="2"/>
          </p:nvPr>
        </p:nvSpPr>
        <p:spPr bwMode="ltGray">
          <a:xfrm>
            <a:off x="7467601" y="1524000"/>
            <a:ext cx="4111784" cy="45720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7" name="Slide Number Placeholder 6"/>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2763030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lang="en-US" smtClean="0"/>
              <a:t>Click to edit Master title style</a:t>
            </a:r>
            <a:endParaRP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5" name="Date Placeholder 4"/>
          <p:cNvSpPr>
            <a:spLocks noGrp="1"/>
          </p:cNvSpPr>
          <p:nvPr>
            <p:ph type="dt" sz="half" idx="10"/>
          </p:nvPr>
        </p:nvSpPr>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7" name="Slide Number Placeholder 6"/>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868567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4" name="Text Placeholder 3"/>
          <p:cNvSpPr>
            <a:spLocks noGrp="1"/>
          </p:cNvSpPr>
          <p:nvPr>
            <p:ph type="body" sz="half" idx="2"/>
          </p:nvPr>
        </p:nvSpPr>
        <p:spPr bwMode="ltGray">
          <a:xfrm>
            <a:off x="60944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9" name="Text Placeholder 3"/>
          <p:cNvSpPr>
            <a:spLocks noGrp="1"/>
          </p:cNvSpPr>
          <p:nvPr>
            <p:ph type="body" sz="half" idx="14"/>
          </p:nvPr>
        </p:nvSpPr>
        <p:spPr bwMode="ltGray">
          <a:xfrm>
            <a:off x="626672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7" name="Slide Number Placeholder 6"/>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3931351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4" name="Text Placeholder 3"/>
          <p:cNvSpPr>
            <a:spLocks noGrp="1"/>
          </p:cNvSpPr>
          <p:nvPr>
            <p:ph type="body" sz="half" idx="2"/>
          </p:nvPr>
        </p:nvSpPr>
        <p:spPr bwMode="ltGray">
          <a:xfrm>
            <a:off x="609440"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9" name="Text Placeholder 3"/>
          <p:cNvSpPr>
            <a:spLocks noGrp="1"/>
          </p:cNvSpPr>
          <p:nvPr>
            <p:ph type="body" sz="half" idx="14"/>
          </p:nvPr>
        </p:nvSpPr>
        <p:spPr bwMode="ltGray">
          <a:xfrm>
            <a:off x="4381500"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11" name="Text Placeholder 3"/>
          <p:cNvSpPr>
            <a:spLocks noGrp="1"/>
          </p:cNvSpPr>
          <p:nvPr>
            <p:ph type="body" sz="half" idx="16"/>
          </p:nvPr>
        </p:nvSpPr>
        <p:spPr bwMode="ltGray">
          <a:xfrm>
            <a:off x="8150384"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7" name="Slide Number Placeholder 6"/>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1284487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smtClean="0"/>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
        <p:nvSpPr>
          <p:cNvPr id="9" name="Date Placeholder 8"/>
          <p:cNvSpPr>
            <a:spLocks noGrp="1"/>
          </p:cNvSpPr>
          <p:nvPr>
            <p:ph type="dt" sz="half" idx="15"/>
          </p:nvPr>
        </p:nvSpPr>
        <p:spPr/>
        <p:txBody>
          <a:bodyPr/>
          <a:lstStyle/>
          <a:p>
            <a:endParaRPr lang="en-US">
              <a:solidFill>
                <a:prstClr val="black"/>
              </a:solidFill>
            </a:endParaRPr>
          </a:p>
        </p:txBody>
      </p:sp>
      <p:sp>
        <p:nvSpPr>
          <p:cNvPr id="12" name="Footer Placeholder 11"/>
          <p:cNvSpPr>
            <a:spLocks noGrp="1"/>
          </p:cNvSpPr>
          <p:nvPr>
            <p:ph type="ftr" sz="quarter" idx="16"/>
          </p:nvPr>
        </p:nvSpPr>
        <p:spPr/>
        <p:txBody>
          <a:bodyPr/>
          <a:lstStyle/>
          <a:p>
            <a:r>
              <a:rPr lang="en-US" smtClean="0">
                <a:solidFill>
                  <a:prstClr val="black"/>
                </a:solidFill>
              </a:rPr>
              <a:t>Confidential</a:t>
            </a:r>
            <a:endParaRPr lang="en-US">
              <a:solidFill>
                <a:prstClr val="black"/>
              </a:solidFill>
            </a:endParaRPr>
          </a:p>
        </p:txBody>
      </p:sp>
      <p:sp>
        <p:nvSpPr>
          <p:cNvPr id="13" name="Slide Number Placeholder 12"/>
          <p:cNvSpPr>
            <a:spLocks noGrp="1"/>
          </p:cNvSpPr>
          <p:nvPr>
            <p:ph type="sldNum" sz="quarter" idx="17"/>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3664166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smtClean="0"/>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3229819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41960" y="882499"/>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534" indent="0" algn="ctr">
              <a:buNone/>
              <a:defRPr>
                <a:solidFill>
                  <a:schemeClr val="tx1">
                    <a:tint val="75000"/>
                  </a:schemeClr>
                </a:solidFill>
              </a:defRPr>
            </a:lvl2pPr>
            <a:lvl3pPr marL="1219068" indent="0" algn="ctr">
              <a:buNone/>
              <a:defRPr>
                <a:solidFill>
                  <a:schemeClr val="tx1">
                    <a:tint val="75000"/>
                  </a:schemeClr>
                </a:solidFill>
              </a:defRPr>
            </a:lvl3pPr>
            <a:lvl4pPr marL="1828602" indent="0" algn="ctr">
              <a:buNone/>
              <a:defRPr>
                <a:solidFill>
                  <a:schemeClr val="tx1">
                    <a:tint val="75000"/>
                  </a:schemeClr>
                </a:solidFill>
              </a:defRPr>
            </a:lvl4pPr>
            <a:lvl5pPr marL="2438136" indent="0" algn="ctr">
              <a:buNone/>
              <a:defRPr>
                <a:solidFill>
                  <a:schemeClr val="tx1">
                    <a:tint val="75000"/>
                  </a:schemeClr>
                </a:solidFill>
              </a:defRPr>
            </a:lvl5pPr>
            <a:lvl6pPr marL="3047670" indent="0" algn="ctr">
              <a:buNone/>
              <a:defRPr>
                <a:solidFill>
                  <a:schemeClr val="tx1">
                    <a:tint val="75000"/>
                  </a:schemeClr>
                </a:solidFill>
              </a:defRPr>
            </a:lvl6pPr>
            <a:lvl7pPr marL="3657205" indent="0" algn="ctr">
              <a:buNone/>
              <a:defRPr>
                <a:solidFill>
                  <a:schemeClr val="tx1">
                    <a:tint val="75000"/>
                  </a:schemeClr>
                </a:solidFill>
              </a:defRPr>
            </a:lvl7pPr>
            <a:lvl8pPr marL="4266737" indent="0" algn="ctr">
              <a:buNone/>
              <a:defRPr>
                <a:solidFill>
                  <a:schemeClr val="tx1">
                    <a:tint val="75000"/>
                  </a:schemeClr>
                </a:solidFill>
              </a:defRPr>
            </a:lvl8pPr>
            <a:lvl9pPr marL="4876273"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441960"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718668918"/>
      </p:ext>
    </p:extLst>
  </p:cSld>
  <p:clrMapOvr>
    <a:masterClrMapping/>
  </p:clrMapOvr>
  <p:timing>
    <p:tnLst>
      <p:par>
        <p:cTn id="1" dur="indefinite" restart="never" nodeType="tmRoot"/>
      </p:par>
    </p:tnLst>
  </p:timing>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6" name="Slide Number Placeholder 5"/>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3747810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rPr lang="en-US" smtClean="0"/>
              <a:t>Click to edit Master title style</a:t>
            </a:r>
            <a:endParaRPr/>
          </a:p>
        </p:txBody>
      </p:sp>
      <p:sp>
        <p:nvSpPr>
          <p:cNvPr id="3" name="Vertical Text Placeholder 2"/>
          <p:cNvSpPr>
            <a:spLocks noGrp="1"/>
          </p:cNvSpPr>
          <p:nvPr>
            <p:ph type="body" orient="vert" idx="1"/>
          </p:nvPr>
        </p:nvSpPr>
        <p:spPr>
          <a:xfrm>
            <a:off x="609600" y="519235"/>
            <a:ext cx="9677400" cy="557676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6" name="Slide Number Placeholder 5"/>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325295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A Wheel White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solidFill>
                <a:prstClr val="black"/>
              </a:solidFill>
            </a:endParaRPr>
          </a:p>
        </p:txBody>
      </p:sp>
      <p:sp>
        <p:nvSpPr>
          <p:cNvPr id="4" name="Footer Placeholder 3"/>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21"/>
            <a:ext cx="12199172" cy="6906430"/>
          </a:xfrm>
          <a:prstGeom prst="rect">
            <a:avLst/>
          </a:prstGeom>
        </p:spPr>
      </p:pic>
      <p:grpSp>
        <p:nvGrpSpPr>
          <p:cNvPr id="13" name="Group 12"/>
          <p:cNvGrpSpPr/>
          <p:nvPr userDrawn="1"/>
        </p:nvGrpSpPr>
        <p:grpSpPr>
          <a:xfrm>
            <a:off x="613319" y="6246757"/>
            <a:ext cx="969471" cy="390524"/>
            <a:chOff x="3578225" y="1146175"/>
            <a:chExt cx="5038725" cy="2111375"/>
          </a:xfrm>
        </p:grpSpPr>
        <p:sp>
          <p:nvSpPr>
            <p:cNvPr id="14" name="Freeform 13"/>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solidFill>
                  <a:prstClr val="black"/>
                </a:solidFill>
              </a:endParaRPr>
            </a:p>
          </p:txBody>
        </p:sp>
        <p:sp>
          <p:nvSpPr>
            <p:cNvPr id="15" name="Freeform 14"/>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solidFill>
                  <a:prstClr val="black"/>
                </a:solidFill>
              </a:endParaRPr>
            </a:p>
          </p:txBody>
        </p:sp>
      </p:grpSp>
    </p:spTree>
    <p:extLst>
      <p:ext uri="{BB962C8B-B14F-4D97-AF65-F5344CB8AC3E}">
        <p14:creationId xmlns:p14="http://schemas.microsoft.com/office/powerpoint/2010/main" val="2739653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441962" y="313418"/>
            <a:ext cx="11280140" cy="387798"/>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443107" y="1584962"/>
            <a:ext cx="5374216" cy="42930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6091766" y="1581152"/>
            <a:ext cx="5171019" cy="429683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441962" y="1001854"/>
            <a:ext cx="11280140" cy="369332"/>
          </a:xfrm>
          <a:prstGeom prst="rect">
            <a:avLst/>
          </a:prstGeom>
        </p:spPr>
        <p:txBody>
          <a:bodyPr wrap="square" anchor="t">
            <a:noAutofit/>
          </a:bodyPr>
          <a:lstStyle>
            <a:lvl1pPr marL="0" indent="0" algn="l">
              <a:lnSpc>
                <a:spcPct val="100000"/>
              </a:lnSpc>
              <a:buNone/>
              <a:defRPr sz="2399" b="0" i="0">
                <a:solidFill>
                  <a:srgbClr val="000000"/>
                </a:solidFill>
                <a:latin typeface="HP Simplified" pitchFamily="34" charset="0"/>
                <a:cs typeface="HP Simplified" pitchFamily="34" charset="0"/>
              </a:defRPr>
            </a:lvl1pPr>
            <a:lvl2pPr marL="609448" indent="0" algn="ctr">
              <a:buNone/>
              <a:defRPr>
                <a:solidFill>
                  <a:schemeClr val="tx1">
                    <a:tint val="75000"/>
                  </a:schemeClr>
                </a:solidFill>
              </a:defRPr>
            </a:lvl2pPr>
            <a:lvl3pPr marL="1218895" indent="0" algn="ctr">
              <a:buNone/>
              <a:defRPr>
                <a:solidFill>
                  <a:schemeClr val="tx1">
                    <a:tint val="75000"/>
                  </a:schemeClr>
                </a:solidFill>
              </a:defRPr>
            </a:lvl3pPr>
            <a:lvl4pPr marL="1828343" indent="0" algn="ctr">
              <a:buNone/>
              <a:defRPr>
                <a:solidFill>
                  <a:schemeClr val="tx1">
                    <a:tint val="75000"/>
                  </a:schemeClr>
                </a:solidFill>
              </a:defRPr>
            </a:lvl4pPr>
            <a:lvl5pPr marL="2437790" indent="0" algn="ctr">
              <a:buNone/>
              <a:defRPr>
                <a:solidFill>
                  <a:schemeClr val="tx1">
                    <a:tint val="75000"/>
                  </a:schemeClr>
                </a:solidFill>
              </a:defRPr>
            </a:lvl5pPr>
            <a:lvl6pPr marL="3047238" indent="0" algn="ctr">
              <a:buNone/>
              <a:defRPr>
                <a:solidFill>
                  <a:schemeClr val="tx1">
                    <a:tint val="75000"/>
                  </a:schemeClr>
                </a:solidFill>
              </a:defRPr>
            </a:lvl6pPr>
            <a:lvl7pPr marL="3656686" indent="0" algn="ctr">
              <a:buNone/>
              <a:defRPr>
                <a:solidFill>
                  <a:schemeClr val="tx1">
                    <a:tint val="75000"/>
                  </a:schemeClr>
                </a:solidFill>
              </a:defRPr>
            </a:lvl7pPr>
            <a:lvl8pPr marL="4266133" indent="0" algn="ctr">
              <a:buNone/>
              <a:defRPr>
                <a:solidFill>
                  <a:schemeClr val="tx1">
                    <a:tint val="75000"/>
                  </a:schemeClr>
                </a:solidFill>
              </a:defRPr>
            </a:lvl8pPr>
            <a:lvl9pPr marL="4875581"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345211877"/>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smtClean="0"/>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367045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smtClean="0"/>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7" name="Group 6"/>
          <p:cNvGrpSpPr/>
          <p:nvPr/>
        </p:nvGrpSpPr>
        <p:grpSpPr bwMode="black">
          <a:xfrm>
            <a:off x="606423" y="456997"/>
            <a:ext cx="3027151" cy="1219403"/>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white"/>
                </a:solidFill>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white"/>
                </a:solidFill>
              </a:endParaRPr>
            </a:p>
          </p:txBody>
        </p:sp>
      </p:grpSp>
    </p:spTree>
    <p:extLst>
      <p:ext uri="{BB962C8B-B14F-4D97-AF65-F5344CB8AC3E}">
        <p14:creationId xmlns:p14="http://schemas.microsoft.com/office/powerpoint/2010/main" val="7793559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smtClean="0"/>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3322282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smtClean="0"/>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D654495-4BF5-4727-99D4-DFD1D0597350}" type="datetime4">
              <a:rPr lang="en-US" smtClean="0">
                <a:solidFill>
                  <a:prstClr val="black"/>
                </a:solidFill>
              </a:rPr>
              <a:pPr/>
              <a:t>February 9, 2016</a:t>
            </a:fld>
            <a:endParaRPr>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94587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lang="en-US" smtClean="0"/>
              <a:t>Click to edit Master title style</a:t>
            </a:r>
            <a:endParaRPr/>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4A90477-F864-462B-BF44-00D67B14D858}" type="datetime4">
              <a:rPr lang="en-US" smtClean="0">
                <a:solidFill>
                  <a:prstClr val="black"/>
                </a:solidFill>
              </a:rPr>
              <a:pPr/>
              <a:t>February 9, 2016</a:t>
            </a:fld>
            <a:endParaRPr>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590563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smtClean="0"/>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16E08157-2DC9-4745-A7A9-7046A8583708}" type="datetime4">
              <a:rPr lang="en-US" smtClean="0">
                <a:solidFill>
                  <a:prstClr val="black"/>
                </a:solidFill>
              </a:rPr>
              <a:pPr/>
              <a:t>February 9, 2016</a:t>
            </a:fld>
            <a:endParaRPr>
              <a:solidFill>
                <a:prstClr val="black"/>
              </a:solidFill>
            </a:endParaRPr>
          </a:p>
        </p:txBody>
      </p:sp>
      <p:sp>
        <p:nvSpPr>
          <p:cNvPr id="4" name="Footer Placeholder 3"/>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1694460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a:t>Click to edit Master title style</a:t>
            </a: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5" name="Date Placeholder 4"/>
          <p:cNvSpPr>
            <a:spLocks noGrp="1"/>
          </p:cNvSpPr>
          <p:nvPr>
            <p:ph type="dt" sz="half" idx="10"/>
          </p:nvPr>
        </p:nvSpPr>
        <p:spPr>
          <a:xfrm>
            <a:off x="5598212" y="6426104"/>
            <a:ext cx="995578" cy="210312"/>
          </a:xfrm>
          <a:prstGeom prst="rect">
            <a:avLst/>
          </a:prstGeom>
        </p:spPr>
        <p:txBody>
          <a:bodyPr/>
          <a:lstStyle/>
          <a:p>
            <a:fld id="{9C259EE5-F25B-4563-AE58-6B042DD986DA}"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a:xfrm>
            <a:off x="11049000" y="6430868"/>
            <a:ext cx="533399" cy="232147"/>
          </a:xfrm>
          <a:prstGeom prst="rect">
            <a:avLst/>
          </a:prstGeom>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24232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smtClean="0"/>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FDD7D378-E709-4062-9715-39E79557A063}" type="datetime4">
              <a:rPr lang="en-US" smtClean="0">
                <a:solidFill>
                  <a:prstClr val="black"/>
                </a:solidFill>
              </a:rPr>
              <a:pPr/>
              <a:t>February 9, 2016</a:t>
            </a:fld>
            <a:endParaRPr>
              <a:solidFill>
                <a:prstClr val="black"/>
              </a:solidFill>
            </a:endParaRPr>
          </a:p>
        </p:txBody>
      </p:sp>
      <p:sp>
        <p:nvSpPr>
          <p:cNvPr id="4" name="Footer Placeholder 3"/>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305984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smtClean="0"/>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C07C5E14-300D-4720-B5FE-54C7D96D4160}" type="datetime4">
              <a:rPr lang="en-US" smtClean="0">
                <a:solidFill>
                  <a:prstClr val="white"/>
                </a:solidFill>
              </a:rPr>
              <a:pPr/>
              <a:t>February 9, 2016</a:t>
            </a:fld>
            <a:endParaRPr>
              <a:solidFill>
                <a:prstClr val="white"/>
              </a:solidFill>
            </a:endParaRPr>
          </a:p>
        </p:txBody>
      </p:sp>
      <p:sp>
        <p:nvSpPr>
          <p:cNvPr id="4" name="Footer Placeholder 3"/>
          <p:cNvSpPr>
            <a:spLocks noGrp="1"/>
          </p:cNvSpPr>
          <p:nvPr>
            <p:ph type="ftr" sz="quarter" idx="11"/>
          </p:nvPr>
        </p:nvSpPr>
        <p:spPr/>
        <p:txBody>
          <a:bodyPr/>
          <a:lstStyle/>
          <a:p>
            <a:r>
              <a:rPr lang="en-US" smtClean="0">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Tree>
    <p:extLst>
      <p:ext uri="{BB962C8B-B14F-4D97-AF65-F5344CB8AC3E}">
        <p14:creationId xmlns:p14="http://schemas.microsoft.com/office/powerpoint/2010/main" val="11641408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smtClean="0"/>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BC7BE07D-E945-4DDF-8452-20009392BF2F}" type="datetime4">
              <a:rPr lang="en-US" smtClean="0">
                <a:solidFill>
                  <a:prstClr val="white"/>
                </a:solidFill>
              </a:rPr>
              <a:pPr/>
              <a:t>February 9, 2016</a:t>
            </a:fld>
            <a:endParaRPr>
              <a:solidFill>
                <a:prstClr val="white"/>
              </a:solidFill>
            </a:endParaRPr>
          </a:p>
        </p:txBody>
      </p:sp>
      <p:sp>
        <p:nvSpPr>
          <p:cNvPr id="4" name="Footer Placeholder 3"/>
          <p:cNvSpPr>
            <a:spLocks noGrp="1"/>
          </p:cNvSpPr>
          <p:nvPr>
            <p:ph type="ftr" sz="quarter" idx="11"/>
          </p:nvPr>
        </p:nvSpPr>
        <p:spPr/>
        <p:txBody>
          <a:bodyPr/>
          <a:lstStyle/>
          <a:p>
            <a:r>
              <a:rPr lang="en-US" smtClean="0">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Tree>
    <p:extLst>
      <p:ext uri="{BB962C8B-B14F-4D97-AF65-F5344CB8AC3E}">
        <p14:creationId xmlns:p14="http://schemas.microsoft.com/office/powerpoint/2010/main" val="3518893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smtClean="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smtClean="0"/>
              <a:t>to add quoted person’s name, title, company</a:t>
            </a:r>
            <a:endParaRPr dirty="0"/>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
        <p:nvSpPr>
          <p:cNvPr id="3" name="Date Placeholder 2"/>
          <p:cNvSpPr>
            <a:spLocks noGrp="1"/>
          </p:cNvSpPr>
          <p:nvPr>
            <p:ph type="dt" sz="half" idx="10"/>
          </p:nvPr>
        </p:nvSpPr>
        <p:spPr/>
        <p:txBody>
          <a:bodyPr/>
          <a:lstStyle/>
          <a:p>
            <a:fld id="{EFA54ACD-BEB7-4258-A5F3-653792456C00}" type="datetime4">
              <a:rPr lang="en-US" smtClean="0">
                <a:solidFill>
                  <a:prstClr val="black"/>
                </a:solidFill>
              </a:rPr>
              <a:pPr/>
              <a:t>February 9, 2016</a:t>
            </a:fld>
            <a:endParaRPr>
              <a:solidFill>
                <a:prstClr val="black"/>
              </a:solidFill>
            </a:endParaRPr>
          </a:p>
        </p:txBody>
      </p:sp>
      <p:sp>
        <p:nvSpPr>
          <p:cNvPr id="4" name="Footer Placeholder 3"/>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967339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Slate Quot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smtClean="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smtClean="0"/>
              <a:t>Click to add quoted person’s name, title, company</a:t>
            </a:r>
            <a:endParaRPr lang="en-US" dirty="0"/>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2399C1EB-F401-4F7B-BD9C-AAA165C9F3D7}" type="datetime4">
              <a:rPr lang="en-US" smtClean="0">
                <a:solidFill>
                  <a:prstClr val="white"/>
                </a:solidFill>
              </a:rPr>
              <a:pPr/>
              <a:t>February 9, 2016</a:t>
            </a:fld>
            <a:endParaRPr>
              <a:solidFill>
                <a:prstClr val="white"/>
              </a:solidFill>
            </a:endParaRPr>
          </a:p>
        </p:txBody>
      </p:sp>
      <p:sp>
        <p:nvSpPr>
          <p:cNvPr id="4" name="Footer Placeholder 3"/>
          <p:cNvSpPr>
            <a:spLocks noGrp="1"/>
          </p:cNvSpPr>
          <p:nvPr>
            <p:ph type="ftr" sz="quarter" idx="11"/>
          </p:nvPr>
        </p:nvSpPr>
        <p:spPr/>
        <p:txBody>
          <a:bodyPr/>
          <a:lstStyle/>
          <a:p>
            <a:r>
              <a:rPr lang="en-US" smtClean="0">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Tree>
    <p:extLst>
      <p:ext uri="{BB962C8B-B14F-4D97-AF65-F5344CB8AC3E}">
        <p14:creationId xmlns:p14="http://schemas.microsoft.com/office/powerpoint/2010/main" val="38647944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2" name="Date Placeholder 1"/>
          <p:cNvSpPr>
            <a:spLocks noGrp="1"/>
          </p:cNvSpPr>
          <p:nvPr>
            <p:ph type="dt" sz="half" idx="10"/>
          </p:nvPr>
        </p:nvSpPr>
        <p:spPr/>
        <p:txBody>
          <a:bodyPr/>
          <a:lstStyle/>
          <a:p>
            <a:fld id="{ECF1CC87-9C4B-4D13-B529-5EAF641302E2}" type="datetime4">
              <a:rPr lang="en-US" smtClean="0">
                <a:solidFill>
                  <a:prstClr val="black"/>
                </a:solidFill>
              </a:rPr>
              <a:pPr/>
              <a:t>February 9, 2016</a:t>
            </a:fld>
            <a:endParaRPr>
              <a:solidFill>
                <a:prstClr val="black"/>
              </a:solidFill>
            </a:endParaRPr>
          </a:p>
        </p:txBody>
      </p:sp>
      <p:sp>
        <p:nvSpPr>
          <p:cNvPr id="8" name="Footer Placeholder 7"/>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175269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rP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AEFA413A-E630-4377-B30C-3545E98CC867}" type="datetime4">
              <a:rPr lang="en-US" smtClean="0">
                <a:solidFill>
                  <a:prstClr val="black"/>
                </a:solidFill>
              </a:rPr>
              <a:pPr/>
              <a:t>February 9, 2016</a:t>
            </a:fld>
            <a:endParaRPr>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622082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rP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2D33DC54-2A66-493A-80B5-8303FBA5D0AD}" type="datetime4">
              <a:rPr lang="en-US" smtClean="0">
                <a:solidFill>
                  <a:prstClr val="black"/>
                </a:solidFill>
              </a:rPr>
              <a:pPr/>
              <a:t>February 9, 2016</a:t>
            </a:fld>
            <a:endParaRPr>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641493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a:p>
        </p:txBody>
      </p:sp>
      <p:sp>
        <p:nvSpPr>
          <p:cNvPr id="3" name="Date Placeholder 2"/>
          <p:cNvSpPr>
            <a:spLocks noGrp="1"/>
          </p:cNvSpPr>
          <p:nvPr>
            <p:ph type="dt" sz="half" idx="10"/>
          </p:nvPr>
        </p:nvSpPr>
        <p:spPr/>
        <p:txBody>
          <a:bodyPr/>
          <a:lstStyle/>
          <a:p>
            <a:fld id="{26B45FFC-9EEF-4E69-85F5-C8F54747804D}" type="datetime4">
              <a:rPr lang="en-US" smtClean="0">
                <a:solidFill>
                  <a:prstClr val="black"/>
                </a:solidFill>
              </a:rPr>
              <a:pPr/>
              <a:t>February 9, 2016</a:t>
            </a:fld>
            <a:endParaRPr>
              <a:solidFill>
                <a:prstClr val="black"/>
              </a:solidFill>
            </a:endParaRPr>
          </a:p>
        </p:txBody>
      </p:sp>
      <p:sp>
        <p:nvSpPr>
          <p:cNvPr id="4" name="Footer Placeholder 3"/>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797426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3" name="Date Placeholder 2"/>
          <p:cNvSpPr>
            <a:spLocks noGrp="1"/>
          </p:cNvSpPr>
          <p:nvPr>
            <p:ph type="dt" sz="half" idx="10"/>
          </p:nvPr>
        </p:nvSpPr>
        <p:spPr/>
        <p:txBody>
          <a:bodyPr/>
          <a:lstStyle/>
          <a:p>
            <a:fld id="{684E3265-88A3-4C30-AE11-BFDF645909E9}" type="datetime4">
              <a:rPr lang="en-US" smtClean="0">
                <a:solidFill>
                  <a:prstClr val="black"/>
                </a:solidFill>
              </a:rPr>
              <a:pPr/>
              <a:t>February 9, 2016</a:t>
            </a:fld>
            <a:endParaRPr>
              <a:solidFill>
                <a:prstClr val="black"/>
              </a:solidFill>
            </a:endParaRPr>
          </a:p>
        </p:txBody>
      </p:sp>
      <p:sp>
        <p:nvSpPr>
          <p:cNvPr id="4" name="Footer Placeholder 3"/>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76809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smtClean="0"/>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3144774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F763D2-AF56-4C60-80C7-7D8FC051005C}" type="datetime4">
              <a:rPr lang="en-US" smtClean="0">
                <a:solidFill>
                  <a:prstClr val="black"/>
                </a:solidFill>
              </a:rPr>
              <a:pPr/>
              <a:t>February 9, 2016</a:t>
            </a:fld>
            <a:endParaRPr>
              <a:solidFill>
                <a:prstClr val="black"/>
              </a:solidFill>
            </a:endParaRPr>
          </a:p>
        </p:txBody>
      </p:sp>
      <p:sp>
        <p:nvSpPr>
          <p:cNvPr id="3" name="Footer Placeholder 2"/>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4" name="Slide Number Placeholder 3"/>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250921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905039DC-98B3-47E6-AD46-BA5B72AD8B4A}"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022951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Date Placeholder 6"/>
          <p:cNvSpPr>
            <a:spLocks noGrp="1"/>
          </p:cNvSpPr>
          <p:nvPr>
            <p:ph type="dt" sz="half" idx="10"/>
          </p:nvPr>
        </p:nvSpPr>
        <p:spPr/>
        <p:txBody>
          <a:bodyPr/>
          <a:lstStyle/>
          <a:p>
            <a:fld id="{A48AA38D-5CBD-4E44-A2EB-B3F38A5B8051}" type="datetime4">
              <a:rPr lang="en-US" smtClean="0">
                <a:solidFill>
                  <a:prstClr val="black"/>
                </a:solidFill>
              </a:rPr>
              <a:pPr/>
              <a:t>February 9, 2016</a:t>
            </a:fld>
            <a:endParaRPr>
              <a:solidFill>
                <a:prstClr val="black"/>
              </a:solidFill>
            </a:endParaRPr>
          </a:p>
        </p:txBody>
      </p:sp>
      <p:sp>
        <p:nvSpPr>
          <p:cNvPr id="8" name="Footer Placeholder 7"/>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827173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Date Placeholder 6"/>
          <p:cNvSpPr>
            <a:spLocks noGrp="1"/>
          </p:cNvSpPr>
          <p:nvPr>
            <p:ph type="dt" sz="half" idx="10"/>
          </p:nvPr>
        </p:nvSpPr>
        <p:spPr/>
        <p:txBody>
          <a:bodyPr/>
          <a:lstStyle/>
          <a:p>
            <a:fld id="{8F030E74-B79E-47A7-AA1C-BA3D00CC0B4A}" type="datetime4">
              <a:rPr lang="en-US" smtClean="0">
                <a:solidFill>
                  <a:prstClr val="black"/>
                </a:solidFill>
              </a:rPr>
              <a:pPr/>
              <a:t>February 9, 2016</a:t>
            </a:fld>
            <a:endParaRPr>
              <a:solidFill>
                <a:prstClr val="black"/>
              </a:solidFill>
            </a:endParaRPr>
          </a:p>
        </p:txBody>
      </p:sp>
      <p:sp>
        <p:nvSpPr>
          <p:cNvPr id="8" name="Footer Placeholder 7"/>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947522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00FDD7F1-9FB6-4CB9-BA1F-25B205B879F3}"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485126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027D5831-B468-414C-94B5-F04EB43FC0AE}"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253181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727A18C6-3F10-4266-96C9-5D014F3025B2}"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61953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Text Placeholder 3"/>
          <p:cNvSpPr>
            <a:spLocks noGrp="1"/>
          </p:cNvSpPr>
          <p:nvPr>
            <p:ph type="body" sz="half" idx="2"/>
          </p:nvPr>
        </p:nvSpPr>
        <p:spPr bwMode="ltGray">
          <a:xfrm>
            <a:off x="8610600" y="1524000"/>
            <a:ext cx="2968784" cy="4572000"/>
          </a:xfrm>
          <a:solidFill>
            <a:schemeClr val="accent6"/>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6CB1722-4B46-4353-B583-721651D61489}"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81609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8B8B1958-F972-48E2-B30C-3D9C71EE7ED1}"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131869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4" name="Text Placeholder 3"/>
          <p:cNvSpPr>
            <a:spLocks noGrp="1"/>
          </p:cNvSpPr>
          <p:nvPr>
            <p:ph type="body" sz="half" idx="2"/>
          </p:nvPr>
        </p:nvSpPr>
        <p:spPr bwMode="ltGray">
          <a:xfrm>
            <a:off x="7467601" y="1524000"/>
            <a:ext cx="4111784" cy="45720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F2CF142-9C82-4C83-9B6A-8077B879C1B8}"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209321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smtClean="0"/>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7" name="Group 6"/>
          <p:cNvGrpSpPr/>
          <p:nvPr/>
        </p:nvGrpSpPr>
        <p:grpSpPr bwMode="black">
          <a:xfrm>
            <a:off x="606423" y="456997"/>
            <a:ext cx="3027151" cy="1219403"/>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white"/>
                </a:solidFill>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white"/>
                </a:solidFill>
              </a:endParaRPr>
            </a:p>
          </p:txBody>
        </p:sp>
      </p:grpSp>
    </p:spTree>
    <p:extLst>
      <p:ext uri="{BB962C8B-B14F-4D97-AF65-F5344CB8AC3E}">
        <p14:creationId xmlns:p14="http://schemas.microsoft.com/office/powerpoint/2010/main" val="654305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lang="en-US" smtClean="0"/>
              <a:t>Click to edit Master title style</a:t>
            </a:r>
            <a:endParaRP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5" name="Date Placeholder 4"/>
          <p:cNvSpPr>
            <a:spLocks noGrp="1"/>
          </p:cNvSpPr>
          <p:nvPr>
            <p:ph type="dt" sz="half" idx="10"/>
          </p:nvPr>
        </p:nvSpPr>
        <p:spPr/>
        <p:txBody>
          <a:bodyPr/>
          <a:lstStyle/>
          <a:p>
            <a:fld id="{9C259EE5-F25B-4563-AE58-6B042DD986DA}"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25561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4" name="Text Placeholder 3"/>
          <p:cNvSpPr>
            <a:spLocks noGrp="1"/>
          </p:cNvSpPr>
          <p:nvPr>
            <p:ph type="body" sz="half" idx="2"/>
          </p:nvPr>
        </p:nvSpPr>
        <p:spPr bwMode="ltGray">
          <a:xfrm>
            <a:off x="60944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9" name="Text Placeholder 3"/>
          <p:cNvSpPr>
            <a:spLocks noGrp="1"/>
          </p:cNvSpPr>
          <p:nvPr>
            <p:ph type="body" sz="half" idx="14"/>
          </p:nvPr>
        </p:nvSpPr>
        <p:spPr bwMode="ltGray">
          <a:xfrm>
            <a:off x="626672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4CAB0D1-A256-4DFA-8583-35D5EE4CD0DF}"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851071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4" name="Text Placeholder 3"/>
          <p:cNvSpPr>
            <a:spLocks noGrp="1"/>
          </p:cNvSpPr>
          <p:nvPr>
            <p:ph type="body" sz="half" idx="2"/>
          </p:nvPr>
        </p:nvSpPr>
        <p:spPr bwMode="ltGray">
          <a:xfrm>
            <a:off x="609440"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9" name="Text Placeholder 3"/>
          <p:cNvSpPr>
            <a:spLocks noGrp="1"/>
          </p:cNvSpPr>
          <p:nvPr>
            <p:ph type="body" sz="half" idx="14"/>
          </p:nvPr>
        </p:nvSpPr>
        <p:spPr bwMode="ltGray">
          <a:xfrm>
            <a:off x="4381500"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11" name="Text Placeholder 3"/>
          <p:cNvSpPr>
            <a:spLocks noGrp="1"/>
          </p:cNvSpPr>
          <p:nvPr>
            <p:ph type="body" sz="half" idx="16"/>
          </p:nvPr>
        </p:nvSpPr>
        <p:spPr bwMode="ltGray">
          <a:xfrm>
            <a:off x="8150384"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0BBCA58-86AD-4F40-BF66-913A1183EE47}"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227589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smtClean="0"/>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
        <p:nvSpPr>
          <p:cNvPr id="9" name="Date Placeholder 8"/>
          <p:cNvSpPr>
            <a:spLocks noGrp="1"/>
          </p:cNvSpPr>
          <p:nvPr>
            <p:ph type="dt" sz="half" idx="15"/>
          </p:nvPr>
        </p:nvSpPr>
        <p:spPr/>
        <p:txBody>
          <a:bodyPr/>
          <a:lstStyle/>
          <a:p>
            <a:fld id="{FB395617-A7D9-4AE8-82B6-3D0A191CDCBE}" type="datetime4">
              <a:rPr lang="en-US" smtClean="0">
                <a:solidFill>
                  <a:prstClr val="black"/>
                </a:solidFill>
              </a:rPr>
              <a:pPr/>
              <a:t>February 9, 2016</a:t>
            </a:fld>
            <a:endParaRPr>
              <a:solidFill>
                <a:prstClr val="black"/>
              </a:solidFill>
            </a:endParaRPr>
          </a:p>
        </p:txBody>
      </p:sp>
      <p:sp>
        <p:nvSpPr>
          <p:cNvPr id="12" name="Footer Placeholder 11"/>
          <p:cNvSpPr>
            <a:spLocks noGrp="1"/>
          </p:cNvSpPr>
          <p:nvPr>
            <p:ph type="ftr" sz="quarter" idx="16"/>
          </p:nvPr>
        </p:nvSpPr>
        <p:spPr/>
        <p:txBody>
          <a:bodyPr/>
          <a:lstStyle/>
          <a:p>
            <a:r>
              <a:rPr lang="en-US" smtClean="0">
                <a:solidFill>
                  <a:prstClr val="black"/>
                </a:solidFill>
              </a:rPr>
              <a:t>Private | Confidential | Internal Use Only </a:t>
            </a:r>
            <a:endParaRPr>
              <a:solidFill>
                <a:prstClr val="black"/>
              </a:solidFill>
            </a:endParaRPr>
          </a:p>
        </p:txBody>
      </p:sp>
      <p:sp>
        <p:nvSpPr>
          <p:cNvPr id="13" name="Slide Number Placeholder 12"/>
          <p:cNvSpPr>
            <a:spLocks noGrp="1"/>
          </p:cNvSpPr>
          <p:nvPr>
            <p:ph type="sldNum" sz="quarter" idx="17"/>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452883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smtClean="0"/>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1186816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77C6BA28-E443-46F5-AE73-D543F89EF748}" type="datetime4">
              <a:rPr lang="en-US" smtClean="0">
                <a:solidFill>
                  <a:prstClr val="black"/>
                </a:solidFill>
              </a:rPr>
              <a:pPr/>
              <a:t>February 9, 2016</a:t>
            </a:fld>
            <a:endParaRPr>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691018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rPr lang="en-US" smtClean="0"/>
              <a:t>Click to edit Master title style</a:t>
            </a:r>
            <a:endParaRPr/>
          </a:p>
        </p:txBody>
      </p:sp>
      <p:sp>
        <p:nvSpPr>
          <p:cNvPr id="3" name="Vertical Text Placeholder 2"/>
          <p:cNvSpPr>
            <a:spLocks noGrp="1"/>
          </p:cNvSpPr>
          <p:nvPr>
            <p:ph type="body" orient="vert" idx="1"/>
          </p:nvPr>
        </p:nvSpPr>
        <p:spPr>
          <a:xfrm>
            <a:off x="609600" y="519235"/>
            <a:ext cx="9677400" cy="557676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1452EE1A-1BE0-474E-808D-00D5A7797660}" type="datetime4">
              <a:rPr lang="en-US" smtClean="0">
                <a:solidFill>
                  <a:prstClr val="black"/>
                </a:solidFill>
              </a:rPr>
              <a:pPr/>
              <a:t>February 9, 2016</a:t>
            </a:fld>
            <a:endParaRPr>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935537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smtClean="0"/>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1469739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smtClean="0"/>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1734170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Slate Quot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smtClean="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smtClean="0"/>
              <a:t>Click to add quoted person’s name, title, company</a:t>
            </a:r>
            <a:endParaRPr lang="en-US" dirty="0"/>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Tree>
    <p:extLst>
      <p:ext uri="{BB962C8B-B14F-4D97-AF65-F5344CB8AC3E}">
        <p14:creationId xmlns:p14="http://schemas.microsoft.com/office/powerpoint/2010/main" val="18424936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smtClean="0"/>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381225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24670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a:p>
        </p:txBody>
      </p:sp>
    </p:spTree>
    <p:extLst>
      <p:ext uri="{BB962C8B-B14F-4D97-AF65-F5344CB8AC3E}">
        <p14:creationId xmlns:p14="http://schemas.microsoft.com/office/powerpoint/2010/main" val="177072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Tree>
    <p:extLst>
      <p:ext uri="{BB962C8B-B14F-4D97-AF65-F5344CB8AC3E}">
        <p14:creationId xmlns:p14="http://schemas.microsoft.com/office/powerpoint/2010/main" val="945870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smtClean="0"/>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
        <p:nvSpPr>
          <p:cNvPr id="9" name="Date Placeholder 8"/>
          <p:cNvSpPr>
            <a:spLocks noGrp="1"/>
          </p:cNvSpPr>
          <p:nvPr>
            <p:ph type="dt" sz="half" idx="15"/>
          </p:nvPr>
        </p:nvSpPr>
        <p:spPr/>
        <p:txBody>
          <a:bodyPr/>
          <a:lstStyle/>
          <a:p>
            <a:fld id="{FB395617-A7D9-4AE8-82B6-3D0A191CDCBE}" type="datetime4">
              <a:rPr lang="en-US" smtClean="0">
                <a:solidFill>
                  <a:prstClr val="black"/>
                </a:solidFill>
              </a:rPr>
              <a:pPr/>
              <a:t>February 9, 2016</a:t>
            </a:fld>
            <a:endParaRPr>
              <a:solidFill>
                <a:prstClr val="black"/>
              </a:solidFill>
            </a:endParaRPr>
          </a:p>
        </p:txBody>
      </p:sp>
      <p:sp>
        <p:nvSpPr>
          <p:cNvPr id="12" name="Footer Placeholder 11"/>
          <p:cNvSpPr>
            <a:spLocks noGrp="1"/>
          </p:cNvSpPr>
          <p:nvPr>
            <p:ph type="ftr" sz="quarter" idx="16"/>
          </p:nvPr>
        </p:nvSpPr>
        <p:spPr/>
        <p:txBody>
          <a:bodyPr/>
          <a:lstStyle/>
          <a:p>
            <a:r>
              <a:rPr lang="en-US" smtClean="0">
                <a:solidFill>
                  <a:prstClr val="black"/>
                </a:solidFill>
              </a:rPr>
              <a:t>Private | Confidential | Internal Use Only </a:t>
            </a:r>
            <a:endParaRPr>
              <a:solidFill>
                <a:prstClr val="black"/>
              </a:solidFill>
            </a:endParaRPr>
          </a:p>
        </p:txBody>
      </p:sp>
      <p:sp>
        <p:nvSpPr>
          <p:cNvPr id="13" name="Slide Number Placeholder 12"/>
          <p:cNvSpPr>
            <a:spLocks noGrp="1"/>
          </p:cNvSpPr>
          <p:nvPr>
            <p:ph type="sldNum" sz="quarter" idx="17"/>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896974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NEW 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1"/>
          <a:ext cx="211667" cy="211667"/>
        </p:xfrm>
        <a:graphic>
          <a:graphicData uri="http://schemas.openxmlformats.org/presentationml/2006/ole">
            <mc:AlternateContent xmlns:mc="http://schemas.openxmlformats.org/markup-compatibility/2006">
              <mc:Choice xmlns:v="urn:schemas-microsoft-com:vml" Requires="v">
                <p:oleObj spid="_x0000_s206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211667" cy="21166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hasCustomPrompt="1"/>
            <p:custDataLst>
              <p:tags r:id="rId3"/>
            </p:custDataLst>
          </p:nvPr>
        </p:nvSpPr>
        <p:spPr bwMode="black">
          <a:xfrm>
            <a:off x="441960"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20588649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smtClean="0"/>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D654495-4BF5-4727-99D4-DFD1D0597350}" type="datetime4">
              <a:rPr lang="en-US" smtClean="0">
                <a:solidFill>
                  <a:prstClr val="black"/>
                </a:solidFill>
              </a:rPr>
              <a:pPr/>
              <a:t>February 9, 2016</a:t>
            </a:fld>
            <a:endParaRPr>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276793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lang="en-US" smtClean="0"/>
              <a:t>Click to edit Master title style</a:t>
            </a:r>
            <a:endParaRPr/>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4A90477-F864-462B-BF44-00D67B14D858}" type="datetime4">
              <a:rPr lang="en-US" smtClean="0">
                <a:solidFill>
                  <a:prstClr val="black"/>
                </a:solidFill>
              </a:rPr>
              <a:pPr/>
              <a:t>February 9, 2016</a:t>
            </a:fld>
            <a:endParaRPr>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504765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smtClean="0"/>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16E08157-2DC9-4745-A7A9-7046A8583708}" type="datetime4">
              <a:rPr lang="en-US" smtClean="0">
                <a:solidFill>
                  <a:prstClr val="black"/>
                </a:solidFill>
              </a:rPr>
              <a:pPr/>
              <a:t>February 9, 2016</a:t>
            </a:fld>
            <a:endParaRPr>
              <a:solidFill>
                <a:prstClr val="black"/>
              </a:solidFill>
            </a:endParaRPr>
          </a:p>
        </p:txBody>
      </p:sp>
      <p:sp>
        <p:nvSpPr>
          <p:cNvPr id="4" name="Footer Placeholder 3"/>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3602829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smtClean="0"/>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FDD7D378-E709-4062-9715-39E79557A063}" type="datetime4">
              <a:rPr lang="en-US" smtClean="0">
                <a:solidFill>
                  <a:prstClr val="black"/>
                </a:solidFill>
              </a:rPr>
              <a:pPr/>
              <a:t>February 9, 2016</a:t>
            </a:fld>
            <a:endParaRPr>
              <a:solidFill>
                <a:prstClr val="black"/>
              </a:solidFill>
            </a:endParaRPr>
          </a:p>
        </p:txBody>
      </p:sp>
      <p:sp>
        <p:nvSpPr>
          <p:cNvPr id="4" name="Footer Placeholder 3"/>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4181545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smtClean="0"/>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3164939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smtClean="0"/>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C07C5E14-300D-4720-B5FE-54C7D96D4160}" type="datetime4">
              <a:rPr lang="en-US" smtClean="0">
                <a:solidFill>
                  <a:prstClr val="white"/>
                </a:solidFill>
              </a:rPr>
              <a:pPr/>
              <a:t>February 9, 2016</a:t>
            </a:fld>
            <a:endParaRPr>
              <a:solidFill>
                <a:prstClr val="white"/>
              </a:solidFill>
            </a:endParaRPr>
          </a:p>
        </p:txBody>
      </p:sp>
      <p:sp>
        <p:nvSpPr>
          <p:cNvPr id="4" name="Footer Placeholder 3"/>
          <p:cNvSpPr>
            <a:spLocks noGrp="1"/>
          </p:cNvSpPr>
          <p:nvPr>
            <p:ph type="ftr" sz="quarter" idx="11"/>
          </p:nvPr>
        </p:nvSpPr>
        <p:spPr/>
        <p:txBody>
          <a:bodyPr/>
          <a:lstStyle/>
          <a:p>
            <a:r>
              <a:rPr lang="en-US" smtClean="0">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Tree>
    <p:extLst>
      <p:ext uri="{BB962C8B-B14F-4D97-AF65-F5344CB8AC3E}">
        <p14:creationId xmlns:p14="http://schemas.microsoft.com/office/powerpoint/2010/main" val="39176466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smtClean="0"/>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BC7BE07D-E945-4DDF-8452-20009392BF2F}" type="datetime4">
              <a:rPr lang="en-US" smtClean="0">
                <a:solidFill>
                  <a:prstClr val="white"/>
                </a:solidFill>
              </a:rPr>
              <a:pPr/>
              <a:t>February 9, 2016</a:t>
            </a:fld>
            <a:endParaRPr>
              <a:solidFill>
                <a:prstClr val="white"/>
              </a:solidFill>
            </a:endParaRPr>
          </a:p>
        </p:txBody>
      </p:sp>
      <p:sp>
        <p:nvSpPr>
          <p:cNvPr id="4" name="Footer Placeholder 3"/>
          <p:cNvSpPr>
            <a:spLocks noGrp="1"/>
          </p:cNvSpPr>
          <p:nvPr>
            <p:ph type="ftr" sz="quarter" idx="11"/>
          </p:nvPr>
        </p:nvSpPr>
        <p:spPr/>
        <p:txBody>
          <a:bodyPr/>
          <a:lstStyle/>
          <a:p>
            <a:r>
              <a:rPr lang="en-US" smtClean="0">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Tree>
    <p:extLst>
      <p:ext uri="{BB962C8B-B14F-4D97-AF65-F5344CB8AC3E}">
        <p14:creationId xmlns:p14="http://schemas.microsoft.com/office/powerpoint/2010/main" val="27256467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smtClean="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smtClean="0"/>
              <a:t>to add quoted person’s name, title, company</a:t>
            </a:r>
            <a:endParaRPr dirty="0"/>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
        <p:nvSpPr>
          <p:cNvPr id="3" name="Date Placeholder 2"/>
          <p:cNvSpPr>
            <a:spLocks noGrp="1"/>
          </p:cNvSpPr>
          <p:nvPr>
            <p:ph type="dt" sz="half" idx="10"/>
          </p:nvPr>
        </p:nvSpPr>
        <p:spPr/>
        <p:txBody>
          <a:bodyPr/>
          <a:lstStyle/>
          <a:p>
            <a:fld id="{EFA54ACD-BEB7-4258-A5F3-653792456C00}" type="datetime4">
              <a:rPr lang="en-US" smtClean="0">
                <a:solidFill>
                  <a:prstClr val="black"/>
                </a:solidFill>
              </a:rPr>
              <a:pPr/>
              <a:t>February 9, 2016</a:t>
            </a:fld>
            <a:endParaRPr>
              <a:solidFill>
                <a:prstClr val="black"/>
              </a:solidFill>
            </a:endParaRPr>
          </a:p>
        </p:txBody>
      </p:sp>
      <p:sp>
        <p:nvSpPr>
          <p:cNvPr id="4" name="Footer Placeholder 3"/>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285024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Slate Quot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smtClean="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smtClean="0"/>
              <a:t>Click to add quoted person’s name, title, company</a:t>
            </a:r>
            <a:endParaRPr lang="en-US" dirty="0"/>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2399C1EB-F401-4F7B-BD9C-AAA165C9F3D7}" type="datetime4">
              <a:rPr lang="en-US" smtClean="0">
                <a:solidFill>
                  <a:prstClr val="white"/>
                </a:solidFill>
              </a:rPr>
              <a:pPr/>
              <a:t>February 9, 2016</a:t>
            </a:fld>
            <a:endParaRPr>
              <a:solidFill>
                <a:prstClr val="white"/>
              </a:solidFill>
            </a:endParaRPr>
          </a:p>
        </p:txBody>
      </p:sp>
      <p:sp>
        <p:nvSpPr>
          <p:cNvPr id="4" name="Footer Placeholder 3"/>
          <p:cNvSpPr>
            <a:spLocks noGrp="1"/>
          </p:cNvSpPr>
          <p:nvPr>
            <p:ph type="ftr" sz="quarter" idx="11"/>
          </p:nvPr>
        </p:nvSpPr>
        <p:spPr/>
        <p:txBody>
          <a:bodyPr/>
          <a:lstStyle/>
          <a:p>
            <a:r>
              <a:rPr lang="en-US" smtClean="0">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Tree>
    <p:extLst>
      <p:ext uri="{BB962C8B-B14F-4D97-AF65-F5344CB8AC3E}">
        <p14:creationId xmlns:p14="http://schemas.microsoft.com/office/powerpoint/2010/main" val="26395713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2" name="Date Placeholder 1"/>
          <p:cNvSpPr>
            <a:spLocks noGrp="1"/>
          </p:cNvSpPr>
          <p:nvPr>
            <p:ph type="dt" sz="half" idx="10"/>
          </p:nvPr>
        </p:nvSpPr>
        <p:spPr/>
        <p:txBody>
          <a:bodyPr/>
          <a:lstStyle/>
          <a:p>
            <a:fld id="{ECF1CC87-9C4B-4D13-B529-5EAF641302E2}" type="datetime4">
              <a:rPr lang="en-US" smtClean="0">
                <a:solidFill>
                  <a:prstClr val="black"/>
                </a:solidFill>
              </a:rPr>
              <a:pPr/>
              <a:t>February 9, 2016</a:t>
            </a:fld>
            <a:endParaRPr>
              <a:solidFill>
                <a:prstClr val="black"/>
              </a:solidFill>
            </a:endParaRPr>
          </a:p>
        </p:txBody>
      </p:sp>
      <p:sp>
        <p:nvSpPr>
          <p:cNvPr id="8" name="Footer Placeholder 7"/>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771099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rP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AEFA413A-E630-4377-B30C-3545E98CC867}" type="datetime4">
              <a:rPr lang="en-US" smtClean="0">
                <a:solidFill>
                  <a:prstClr val="black"/>
                </a:solidFill>
              </a:rPr>
              <a:pPr/>
              <a:t>February 9, 2016</a:t>
            </a:fld>
            <a:endParaRPr>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41160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rP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2D33DC54-2A66-493A-80B5-8303FBA5D0AD}" type="datetime4">
              <a:rPr lang="en-US" smtClean="0">
                <a:solidFill>
                  <a:prstClr val="black"/>
                </a:solidFill>
              </a:rPr>
              <a:pPr/>
              <a:t>February 9, 2016</a:t>
            </a:fld>
            <a:endParaRPr>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147881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a:p>
        </p:txBody>
      </p:sp>
      <p:sp>
        <p:nvSpPr>
          <p:cNvPr id="3" name="Date Placeholder 2"/>
          <p:cNvSpPr>
            <a:spLocks noGrp="1"/>
          </p:cNvSpPr>
          <p:nvPr>
            <p:ph type="dt" sz="half" idx="10"/>
          </p:nvPr>
        </p:nvSpPr>
        <p:spPr/>
        <p:txBody>
          <a:bodyPr/>
          <a:lstStyle/>
          <a:p>
            <a:fld id="{26B45FFC-9EEF-4E69-85F5-C8F54747804D}" type="datetime4">
              <a:rPr lang="en-US" smtClean="0">
                <a:solidFill>
                  <a:prstClr val="black"/>
                </a:solidFill>
              </a:rPr>
              <a:pPr/>
              <a:t>February 9, 2016</a:t>
            </a:fld>
            <a:endParaRPr>
              <a:solidFill>
                <a:prstClr val="black"/>
              </a:solidFill>
            </a:endParaRPr>
          </a:p>
        </p:txBody>
      </p:sp>
      <p:sp>
        <p:nvSpPr>
          <p:cNvPr id="4" name="Footer Placeholder 3"/>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612842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3" name="Date Placeholder 2"/>
          <p:cNvSpPr>
            <a:spLocks noGrp="1"/>
          </p:cNvSpPr>
          <p:nvPr>
            <p:ph type="dt" sz="half" idx="10"/>
          </p:nvPr>
        </p:nvSpPr>
        <p:spPr/>
        <p:txBody>
          <a:bodyPr/>
          <a:lstStyle/>
          <a:p>
            <a:fld id="{684E3265-88A3-4C30-AE11-BFDF645909E9}" type="datetime4">
              <a:rPr lang="en-US" smtClean="0">
                <a:solidFill>
                  <a:prstClr val="black"/>
                </a:solidFill>
              </a:rPr>
              <a:pPr/>
              <a:t>February 9, 2016</a:t>
            </a:fld>
            <a:endParaRPr>
              <a:solidFill>
                <a:prstClr val="black"/>
              </a:solidFill>
            </a:endParaRPr>
          </a:p>
        </p:txBody>
      </p:sp>
      <p:sp>
        <p:nvSpPr>
          <p:cNvPr id="4" name="Footer Placeholder 3"/>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809499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F763D2-AF56-4C60-80C7-7D8FC051005C}" type="datetime4">
              <a:rPr lang="en-US" smtClean="0">
                <a:solidFill>
                  <a:prstClr val="black"/>
                </a:solidFill>
              </a:rPr>
              <a:pPr/>
              <a:t>February 9, 2016</a:t>
            </a:fld>
            <a:endParaRPr>
              <a:solidFill>
                <a:prstClr val="black"/>
              </a:solidFill>
            </a:endParaRPr>
          </a:p>
        </p:txBody>
      </p:sp>
      <p:sp>
        <p:nvSpPr>
          <p:cNvPr id="3" name="Footer Placeholder 2"/>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4" name="Slide Number Placeholder 3"/>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99689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late Quot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smtClean="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smtClean="0"/>
              <a:t>Click to add quoted person’s name, title, company</a:t>
            </a:r>
            <a:endParaRPr lang="en-US" dirty="0"/>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Tree>
    <p:extLst>
      <p:ext uri="{BB962C8B-B14F-4D97-AF65-F5344CB8AC3E}">
        <p14:creationId xmlns:p14="http://schemas.microsoft.com/office/powerpoint/2010/main" val="4084133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905039DC-98B3-47E6-AD46-BA5B72AD8B4A}"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510423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Date Placeholder 6"/>
          <p:cNvSpPr>
            <a:spLocks noGrp="1"/>
          </p:cNvSpPr>
          <p:nvPr>
            <p:ph type="dt" sz="half" idx="10"/>
          </p:nvPr>
        </p:nvSpPr>
        <p:spPr/>
        <p:txBody>
          <a:bodyPr/>
          <a:lstStyle/>
          <a:p>
            <a:fld id="{A48AA38D-5CBD-4E44-A2EB-B3F38A5B8051}" type="datetime4">
              <a:rPr lang="en-US" smtClean="0">
                <a:solidFill>
                  <a:prstClr val="black"/>
                </a:solidFill>
              </a:rPr>
              <a:pPr/>
              <a:t>February 9, 2016</a:t>
            </a:fld>
            <a:endParaRPr>
              <a:solidFill>
                <a:prstClr val="black"/>
              </a:solidFill>
            </a:endParaRPr>
          </a:p>
        </p:txBody>
      </p:sp>
      <p:sp>
        <p:nvSpPr>
          <p:cNvPr id="8" name="Footer Placeholder 7"/>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7928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Date Placeholder 6"/>
          <p:cNvSpPr>
            <a:spLocks noGrp="1"/>
          </p:cNvSpPr>
          <p:nvPr>
            <p:ph type="dt" sz="half" idx="10"/>
          </p:nvPr>
        </p:nvSpPr>
        <p:spPr/>
        <p:txBody>
          <a:bodyPr/>
          <a:lstStyle/>
          <a:p>
            <a:fld id="{8F030E74-B79E-47A7-AA1C-BA3D00CC0B4A}" type="datetime4">
              <a:rPr lang="en-US" smtClean="0">
                <a:solidFill>
                  <a:prstClr val="black"/>
                </a:solidFill>
              </a:rPr>
              <a:pPr/>
              <a:t>February 9, 2016</a:t>
            </a:fld>
            <a:endParaRPr>
              <a:solidFill>
                <a:prstClr val="black"/>
              </a:solidFill>
            </a:endParaRPr>
          </a:p>
        </p:txBody>
      </p:sp>
      <p:sp>
        <p:nvSpPr>
          <p:cNvPr id="8" name="Footer Placeholder 7"/>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384774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00FDD7F1-9FB6-4CB9-BA1F-25B205B879F3}"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281221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027D5831-B468-414C-94B5-F04EB43FC0AE}"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826879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727A18C6-3F10-4266-96C9-5D014F3025B2}"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596460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Text Placeholder 3"/>
          <p:cNvSpPr>
            <a:spLocks noGrp="1"/>
          </p:cNvSpPr>
          <p:nvPr>
            <p:ph type="body" sz="half" idx="2"/>
          </p:nvPr>
        </p:nvSpPr>
        <p:spPr bwMode="ltGray">
          <a:xfrm>
            <a:off x="8610600" y="1524000"/>
            <a:ext cx="2968784" cy="4572000"/>
          </a:xfrm>
          <a:solidFill>
            <a:schemeClr val="accent6"/>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6CB1722-4B46-4353-B583-721651D61489}"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10341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8B8B1958-F972-48E2-B30C-3D9C71EE7ED1}"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153379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4" name="Text Placeholder 3"/>
          <p:cNvSpPr>
            <a:spLocks noGrp="1"/>
          </p:cNvSpPr>
          <p:nvPr>
            <p:ph type="body" sz="half" idx="2"/>
          </p:nvPr>
        </p:nvSpPr>
        <p:spPr bwMode="ltGray">
          <a:xfrm>
            <a:off x="7467601" y="1524000"/>
            <a:ext cx="4111784" cy="45720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F2CF142-9C82-4C83-9B6A-8077B879C1B8}"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51079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lang="en-US" smtClean="0"/>
              <a:t>Click to edit Master title style</a:t>
            </a:r>
            <a:endParaRP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5" name="Date Placeholder 4"/>
          <p:cNvSpPr>
            <a:spLocks noGrp="1"/>
          </p:cNvSpPr>
          <p:nvPr>
            <p:ph type="dt" sz="half" idx="10"/>
          </p:nvPr>
        </p:nvSpPr>
        <p:spPr/>
        <p:txBody>
          <a:bodyPr/>
          <a:lstStyle/>
          <a:p>
            <a:fld id="{9C259EE5-F25B-4563-AE58-6B042DD986DA}"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003498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Slide Number Placeholder 8"/>
          <p:cNvSpPr>
            <a:spLocks noGrp="1"/>
          </p:cNvSpPr>
          <p:nvPr>
            <p:ph type="sldNum" sz="quarter" idx="12"/>
          </p:nvPr>
        </p:nvSpPr>
        <p:spPr>
          <a:xfrm>
            <a:off x="11049000" y="6430868"/>
            <a:ext cx="533399" cy="232147"/>
          </a:xfrm>
          <a:prstGeom prst="rect">
            <a:avLst/>
          </a:prstGeom>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240963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4" name="Text Placeholder 3"/>
          <p:cNvSpPr>
            <a:spLocks noGrp="1"/>
          </p:cNvSpPr>
          <p:nvPr>
            <p:ph type="body" sz="half" idx="2"/>
          </p:nvPr>
        </p:nvSpPr>
        <p:spPr bwMode="ltGray">
          <a:xfrm>
            <a:off x="60944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9" name="Text Placeholder 3"/>
          <p:cNvSpPr>
            <a:spLocks noGrp="1"/>
          </p:cNvSpPr>
          <p:nvPr>
            <p:ph type="body" sz="half" idx="14"/>
          </p:nvPr>
        </p:nvSpPr>
        <p:spPr bwMode="ltGray">
          <a:xfrm>
            <a:off x="626672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4CAB0D1-A256-4DFA-8583-35D5EE4CD0DF}"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86329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4" name="Text Placeholder 3"/>
          <p:cNvSpPr>
            <a:spLocks noGrp="1"/>
          </p:cNvSpPr>
          <p:nvPr>
            <p:ph type="body" sz="half" idx="2"/>
          </p:nvPr>
        </p:nvSpPr>
        <p:spPr bwMode="ltGray">
          <a:xfrm>
            <a:off x="609440"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9" name="Text Placeholder 3"/>
          <p:cNvSpPr>
            <a:spLocks noGrp="1"/>
          </p:cNvSpPr>
          <p:nvPr>
            <p:ph type="body" sz="half" idx="14"/>
          </p:nvPr>
        </p:nvSpPr>
        <p:spPr bwMode="ltGray">
          <a:xfrm>
            <a:off x="4381500"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11" name="Text Placeholder 3"/>
          <p:cNvSpPr>
            <a:spLocks noGrp="1"/>
          </p:cNvSpPr>
          <p:nvPr>
            <p:ph type="body" sz="half" idx="16"/>
          </p:nvPr>
        </p:nvSpPr>
        <p:spPr bwMode="ltGray">
          <a:xfrm>
            <a:off x="8150384"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0BBCA58-86AD-4F40-BF66-913A1183EE47}"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897322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smtClean="0"/>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
        <p:nvSpPr>
          <p:cNvPr id="9" name="Date Placeholder 8"/>
          <p:cNvSpPr>
            <a:spLocks noGrp="1"/>
          </p:cNvSpPr>
          <p:nvPr>
            <p:ph type="dt" sz="half" idx="15"/>
          </p:nvPr>
        </p:nvSpPr>
        <p:spPr/>
        <p:txBody>
          <a:bodyPr/>
          <a:lstStyle/>
          <a:p>
            <a:fld id="{FB395617-A7D9-4AE8-82B6-3D0A191CDCBE}" type="datetime4">
              <a:rPr lang="en-US" smtClean="0">
                <a:solidFill>
                  <a:prstClr val="black"/>
                </a:solidFill>
              </a:rPr>
              <a:pPr/>
              <a:t>February 9, 2016</a:t>
            </a:fld>
            <a:endParaRPr>
              <a:solidFill>
                <a:prstClr val="black"/>
              </a:solidFill>
            </a:endParaRPr>
          </a:p>
        </p:txBody>
      </p:sp>
      <p:sp>
        <p:nvSpPr>
          <p:cNvPr id="12" name="Footer Placeholder 11"/>
          <p:cNvSpPr>
            <a:spLocks noGrp="1"/>
          </p:cNvSpPr>
          <p:nvPr>
            <p:ph type="ftr" sz="quarter" idx="16"/>
          </p:nvPr>
        </p:nvSpPr>
        <p:spPr/>
        <p:txBody>
          <a:bodyPr/>
          <a:lstStyle/>
          <a:p>
            <a:r>
              <a:rPr lang="en-US" smtClean="0">
                <a:solidFill>
                  <a:prstClr val="black"/>
                </a:solidFill>
              </a:rPr>
              <a:t>Private | Confidential | Internal Use Only </a:t>
            </a:r>
            <a:endParaRPr>
              <a:solidFill>
                <a:prstClr val="black"/>
              </a:solidFill>
            </a:endParaRPr>
          </a:p>
        </p:txBody>
      </p:sp>
      <p:sp>
        <p:nvSpPr>
          <p:cNvPr id="13" name="Slide Number Placeholder 12"/>
          <p:cNvSpPr>
            <a:spLocks noGrp="1"/>
          </p:cNvSpPr>
          <p:nvPr>
            <p:ph type="sldNum" sz="quarter" idx="17"/>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357376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smtClean="0"/>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2689274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77C6BA28-E443-46F5-AE73-D543F89EF748}" type="datetime4">
              <a:rPr lang="en-US" smtClean="0">
                <a:solidFill>
                  <a:prstClr val="black"/>
                </a:solidFill>
              </a:rPr>
              <a:pPr/>
              <a:t>February 9, 2016</a:t>
            </a:fld>
            <a:endParaRPr>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002086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rPr lang="en-US" smtClean="0"/>
              <a:t>Click to edit Master title style</a:t>
            </a:r>
            <a:endParaRPr/>
          </a:p>
        </p:txBody>
      </p:sp>
      <p:sp>
        <p:nvSpPr>
          <p:cNvPr id="3" name="Vertical Text Placeholder 2"/>
          <p:cNvSpPr>
            <a:spLocks noGrp="1"/>
          </p:cNvSpPr>
          <p:nvPr>
            <p:ph type="body" orient="vert" idx="1"/>
          </p:nvPr>
        </p:nvSpPr>
        <p:spPr>
          <a:xfrm>
            <a:off x="609600" y="519235"/>
            <a:ext cx="9677400" cy="557676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1452EE1A-1BE0-474E-808D-00D5A7797660}" type="datetime4">
              <a:rPr lang="en-US" smtClean="0">
                <a:solidFill>
                  <a:prstClr val="black"/>
                </a:solidFill>
              </a:rPr>
              <a:pPr/>
              <a:t>February 9, 2016</a:t>
            </a:fld>
            <a:endParaRPr>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500157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a:t>Click to edit Master title style</a:t>
            </a: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a:t>Click to edit Master subtitle style</a:t>
            </a: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3860175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a:t>Click to edit Master title style</a:t>
            </a: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a:t>Click to edit Master subtitle style</a:t>
            </a: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7" name="Group 6"/>
          <p:cNvGrpSpPr/>
          <p:nvPr/>
        </p:nvGrpSpPr>
        <p:grpSpPr bwMode="black">
          <a:xfrm>
            <a:off x="606423" y="456997"/>
            <a:ext cx="3027151" cy="1219403"/>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white"/>
                </a:solidFill>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white"/>
                </a:solidFill>
              </a:endParaRPr>
            </a:p>
          </p:txBody>
        </p:sp>
      </p:grpSp>
    </p:spTree>
    <p:extLst>
      <p:ext uri="{BB962C8B-B14F-4D97-AF65-F5344CB8AC3E}">
        <p14:creationId xmlns:p14="http://schemas.microsoft.com/office/powerpoint/2010/main" val="1855295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a:t>Click to edit Master title style</a:t>
            </a: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187576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a:t>Click to edit Master title style</a:t>
            </a: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a:t>Click to edit Master text styles</a:t>
            </a:r>
          </a:p>
        </p:txBody>
      </p:sp>
      <p:sp>
        <p:nvSpPr>
          <p:cNvPr id="4" name="Date Placeholder 3"/>
          <p:cNvSpPr>
            <a:spLocks noGrp="1"/>
          </p:cNvSpPr>
          <p:nvPr>
            <p:ph type="dt" sz="half" idx="10"/>
          </p:nvPr>
        </p:nvSpPr>
        <p:spPr/>
        <p:txBody>
          <a:bodyPr/>
          <a:lstStyle/>
          <a:p>
            <a:fld id="{1D654495-4BF5-4727-99D4-DFD1D0597350}" type="datetime4">
              <a:rPr lang="en-US" smtClean="0">
                <a:solidFill>
                  <a:prstClr val="black"/>
                </a:solidFill>
              </a:rPr>
              <a:pPr/>
              <a:t>February 9, 2016</a:t>
            </a:fld>
            <a:endParaRPr>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543271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rP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6" name="Slide Number Placeholder 5"/>
          <p:cNvSpPr>
            <a:spLocks noGrp="1"/>
          </p:cNvSpPr>
          <p:nvPr>
            <p:ph type="sldNum" sz="quarter" idx="12"/>
          </p:nvPr>
        </p:nvSpPr>
        <p:spPr>
          <a:xfrm>
            <a:off x="11049000" y="6430868"/>
            <a:ext cx="533399" cy="232147"/>
          </a:xfrm>
          <a:prstGeom prst="rect">
            <a:avLst/>
          </a:prstGeom>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84962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rgbClr val="42556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a:t>Click to edit Master title style</a:t>
            </a:r>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a:t>Click to edit Master text styles</a:t>
            </a:r>
          </a:p>
        </p:txBody>
      </p:sp>
      <p:sp>
        <p:nvSpPr>
          <p:cNvPr id="4" name="Date Placeholder 3"/>
          <p:cNvSpPr>
            <a:spLocks noGrp="1"/>
          </p:cNvSpPr>
          <p:nvPr>
            <p:ph type="dt" sz="half" idx="10"/>
          </p:nvPr>
        </p:nvSpPr>
        <p:spPr/>
        <p:txBody>
          <a:bodyPr/>
          <a:lstStyle/>
          <a:p>
            <a:fld id="{74A90477-F864-462B-BF44-00D67B14D858}" type="datetime4">
              <a:rPr lang="en-US" smtClean="0">
                <a:solidFill>
                  <a:prstClr val="black"/>
                </a:solidFill>
              </a:rPr>
              <a:pPr/>
              <a:t>February 9, 2016</a:t>
            </a:fld>
            <a:endParaRPr>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549907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a:t>Click to edit Master title style</a:t>
            </a: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a:t>Click to edit Master text styles</a:t>
            </a:r>
          </a:p>
        </p:txBody>
      </p:sp>
      <p:sp>
        <p:nvSpPr>
          <p:cNvPr id="3" name="Date Placeholder 2"/>
          <p:cNvSpPr>
            <a:spLocks noGrp="1"/>
          </p:cNvSpPr>
          <p:nvPr>
            <p:ph type="dt" sz="half" idx="10"/>
          </p:nvPr>
        </p:nvSpPr>
        <p:spPr/>
        <p:txBody>
          <a:bodyPr/>
          <a:lstStyle/>
          <a:p>
            <a:fld id="{16E08157-2DC9-4745-A7A9-7046A8583708}" type="datetime4">
              <a:rPr lang="en-US" smtClean="0">
                <a:solidFill>
                  <a:prstClr val="black"/>
                </a:solidFill>
              </a:rPr>
              <a:pPr/>
              <a:t>February 9, 2016</a:t>
            </a:fld>
            <a:endParaRPr>
              <a:solidFill>
                <a:prstClr val="black"/>
              </a:solidFill>
            </a:endParaRPr>
          </a:p>
        </p:txBody>
      </p:sp>
      <p:sp>
        <p:nvSpPr>
          <p:cNvPr id="4" name="Footer Placeholder 3"/>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0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2472597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a:t>Click to edit Master title style</a:t>
            </a: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a:t>Click to edit Master text styles</a:t>
            </a:r>
          </a:p>
        </p:txBody>
      </p:sp>
      <p:sp>
        <p:nvSpPr>
          <p:cNvPr id="3" name="Date Placeholder 2"/>
          <p:cNvSpPr>
            <a:spLocks noGrp="1"/>
          </p:cNvSpPr>
          <p:nvPr>
            <p:ph type="dt" sz="half" idx="10"/>
          </p:nvPr>
        </p:nvSpPr>
        <p:spPr/>
        <p:txBody>
          <a:bodyPr/>
          <a:lstStyle/>
          <a:p>
            <a:fld id="{FDD7D378-E709-4062-9715-39E79557A063}" type="datetime4">
              <a:rPr lang="en-US" smtClean="0">
                <a:solidFill>
                  <a:prstClr val="black"/>
                </a:solidFill>
              </a:rPr>
              <a:pPr/>
              <a:t>February 9, 2016</a:t>
            </a:fld>
            <a:endParaRPr>
              <a:solidFill>
                <a:prstClr val="black"/>
              </a:solidFill>
            </a:endParaRPr>
          </a:p>
        </p:txBody>
      </p:sp>
      <p:sp>
        <p:nvSpPr>
          <p:cNvPr id="4" name="Footer Placeholder 3"/>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2396489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a:t>Click to edit Master title style</a:t>
            </a: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C07C5E14-300D-4720-B5FE-54C7D96D4160}" type="datetime4">
              <a:rPr lang="en-US" smtClean="0">
                <a:solidFill>
                  <a:prstClr val="white"/>
                </a:solidFill>
              </a:rPr>
              <a:pPr/>
              <a:t>February 9, 2016</a:t>
            </a:fld>
            <a:endParaRPr>
              <a:solidFill>
                <a:prstClr val="white"/>
              </a:solidFill>
            </a:endParaRPr>
          </a:p>
        </p:txBody>
      </p:sp>
      <p:sp>
        <p:nvSpPr>
          <p:cNvPr id="4" name="Footer Placeholder 3"/>
          <p:cNvSpPr>
            <a:spLocks noGrp="1"/>
          </p:cNvSpPr>
          <p:nvPr>
            <p:ph type="ftr" sz="quarter" idx="11"/>
          </p:nvPr>
        </p:nvSpPr>
        <p:spPr/>
        <p:txBody>
          <a:bodyPr/>
          <a:lstStyle/>
          <a:p>
            <a:r>
              <a:rPr lang="en-US" smtClean="0">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Tree>
    <p:extLst>
      <p:ext uri="{BB962C8B-B14F-4D97-AF65-F5344CB8AC3E}">
        <p14:creationId xmlns:p14="http://schemas.microsoft.com/office/powerpoint/2010/main" val="22356661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a:t>Click to edit Master title style</a:t>
            </a: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BC7BE07D-E945-4DDF-8452-20009392BF2F}" type="datetime4">
              <a:rPr lang="en-US" smtClean="0">
                <a:solidFill>
                  <a:prstClr val="white"/>
                </a:solidFill>
              </a:rPr>
              <a:pPr/>
              <a:t>February 9, 2016</a:t>
            </a:fld>
            <a:endParaRPr>
              <a:solidFill>
                <a:prstClr val="white"/>
              </a:solidFill>
            </a:endParaRPr>
          </a:p>
        </p:txBody>
      </p:sp>
      <p:sp>
        <p:nvSpPr>
          <p:cNvPr id="4" name="Footer Placeholder 3"/>
          <p:cNvSpPr>
            <a:spLocks noGrp="1"/>
          </p:cNvSpPr>
          <p:nvPr>
            <p:ph type="ftr" sz="quarter" idx="11"/>
          </p:nvPr>
        </p:nvSpPr>
        <p:spPr/>
        <p:txBody>
          <a:bodyPr/>
          <a:lstStyle/>
          <a:p>
            <a:r>
              <a:rPr lang="en-US" smtClean="0">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Tree>
    <p:extLst>
      <p:ext uri="{BB962C8B-B14F-4D97-AF65-F5344CB8AC3E}">
        <p14:creationId xmlns:p14="http://schemas.microsoft.com/office/powerpoint/2010/main" val="42534034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smtClean="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smtClean="0"/>
              <a:t>to add quoted person’s name, title, company</a:t>
            </a:r>
            <a:endParaRPr dirty="0"/>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
        <p:nvSpPr>
          <p:cNvPr id="3" name="Date Placeholder 2"/>
          <p:cNvSpPr>
            <a:spLocks noGrp="1"/>
          </p:cNvSpPr>
          <p:nvPr>
            <p:ph type="dt" sz="half" idx="10"/>
          </p:nvPr>
        </p:nvSpPr>
        <p:spPr/>
        <p:txBody>
          <a:bodyPr/>
          <a:lstStyle/>
          <a:p>
            <a:fld id="{EFA54ACD-BEB7-4258-A5F3-653792456C00}" type="datetime4">
              <a:rPr lang="en-US" smtClean="0">
                <a:solidFill>
                  <a:prstClr val="black"/>
                </a:solidFill>
              </a:rPr>
              <a:pPr/>
              <a:t>February 9, 2016</a:t>
            </a:fld>
            <a:endParaRPr>
              <a:solidFill>
                <a:prstClr val="black"/>
              </a:solidFill>
            </a:endParaRPr>
          </a:p>
        </p:txBody>
      </p:sp>
      <p:sp>
        <p:nvSpPr>
          <p:cNvPr id="4" name="Footer Placeholder 3"/>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592121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smtClean="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smtClean="0"/>
              <a:t>Click to add quoted person’s name, title, company</a:t>
            </a:r>
            <a:endParaRPr lang="en-US" dirty="0"/>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fld id="{2399C1EB-F401-4F7B-BD9C-AAA165C9F3D7}" type="datetime4">
              <a:rPr lang="en-US" smtClean="0">
                <a:solidFill>
                  <a:prstClr val="white"/>
                </a:solidFill>
              </a:rPr>
              <a:pPr/>
              <a:t>February 9, 2016</a:t>
            </a:fld>
            <a:endParaRPr>
              <a:solidFill>
                <a:prstClr val="white"/>
              </a:solidFill>
            </a:endParaRPr>
          </a:p>
        </p:txBody>
      </p:sp>
      <p:sp>
        <p:nvSpPr>
          <p:cNvPr id="4" name="Footer Placeholder 3"/>
          <p:cNvSpPr>
            <a:spLocks noGrp="1"/>
          </p:cNvSpPr>
          <p:nvPr>
            <p:ph type="ftr" sz="quarter" idx="11"/>
          </p:nvPr>
        </p:nvSpPr>
        <p:spPr/>
        <p:txBody>
          <a:bodyPr/>
          <a:lstStyle/>
          <a:p>
            <a:r>
              <a:rPr lang="en-US" smtClean="0">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Tree>
    <p:extLst>
      <p:ext uri="{BB962C8B-B14F-4D97-AF65-F5344CB8AC3E}">
        <p14:creationId xmlns:p14="http://schemas.microsoft.com/office/powerpoint/2010/main" val="38101492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a:t>Click to edit Master title style</a:t>
            </a:r>
          </a:p>
        </p:txBody>
      </p:sp>
      <p:sp>
        <p:nvSpPr>
          <p:cNvPr id="3" name="Content Placeholder 2"/>
          <p:cNvSpPr>
            <a:spLocks noGrp="1"/>
          </p:cNvSpPr>
          <p:nvPr>
            <p:ph idx="1"/>
          </p:nvPr>
        </p:nvSpPr>
        <p:spPr/>
        <p:txBody>
          <a:bodyPr/>
          <a:lstStyle/>
          <a:p>
            <a:pPr lvl="0"/>
            <a:r>
              <a:rPr/>
              <a:t>Click to edit Master text styles</a:t>
            </a:r>
          </a:p>
          <a:p>
            <a:pPr lvl="1"/>
            <a:r>
              <a:rPr/>
              <a:t>Second level</a:t>
            </a:r>
          </a:p>
          <a:p>
            <a:pPr lvl="2"/>
            <a:r>
              <a:rPr/>
              <a:t>Third level</a:t>
            </a:r>
          </a:p>
          <a:p>
            <a:pPr lvl="3"/>
            <a:r>
              <a:rPr/>
              <a:t>Fourth level</a:t>
            </a:r>
          </a:p>
          <a:p>
            <a:pPr lvl="4"/>
            <a:r>
              <a:rPr/>
              <a:t>Fifth level</a:t>
            </a:r>
          </a:p>
        </p:txBody>
      </p:sp>
      <p:sp>
        <p:nvSpPr>
          <p:cNvPr id="2" name="Date Placeholder 1"/>
          <p:cNvSpPr>
            <a:spLocks noGrp="1"/>
          </p:cNvSpPr>
          <p:nvPr>
            <p:ph type="dt" sz="half" idx="10"/>
          </p:nvPr>
        </p:nvSpPr>
        <p:spPr/>
        <p:txBody>
          <a:bodyPr/>
          <a:lstStyle/>
          <a:p>
            <a:fld id="{ECF1CC87-9C4B-4D13-B529-5EAF641302E2}" type="datetime4">
              <a:rPr lang="en-US" smtClean="0">
                <a:solidFill>
                  <a:prstClr val="black"/>
                </a:solidFill>
              </a:rPr>
              <a:pPr/>
              <a:t>February 9, 2016</a:t>
            </a:fld>
            <a:endParaRPr>
              <a:solidFill>
                <a:prstClr val="black"/>
              </a:solidFill>
            </a:endParaRPr>
          </a:p>
        </p:txBody>
      </p:sp>
      <p:sp>
        <p:nvSpPr>
          <p:cNvPr id="8" name="Footer Placeholder 7"/>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957889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rP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a:t>Click to edit Master text styles</a:t>
            </a:r>
          </a:p>
          <a:p>
            <a:pPr lvl="1"/>
            <a:r>
              <a:rPr/>
              <a:t>Second level</a:t>
            </a:r>
          </a:p>
          <a:p>
            <a:pPr lvl="2"/>
            <a:r>
              <a:rPr/>
              <a:t>Third level</a:t>
            </a:r>
          </a:p>
          <a:p>
            <a:pPr lvl="3"/>
            <a:r>
              <a:rPr/>
              <a:t>Fourth level</a:t>
            </a:r>
          </a:p>
          <a:p>
            <a:pPr lvl="4"/>
            <a:r>
              <a:rPr/>
              <a:t>Fifth level</a:t>
            </a:r>
          </a:p>
        </p:txBody>
      </p:sp>
      <p:sp>
        <p:nvSpPr>
          <p:cNvPr id="4" name="Date Placeholder 3"/>
          <p:cNvSpPr>
            <a:spLocks noGrp="1"/>
          </p:cNvSpPr>
          <p:nvPr>
            <p:ph type="dt" sz="half" idx="10"/>
          </p:nvPr>
        </p:nvSpPr>
        <p:spPr/>
        <p:txBody>
          <a:bodyPr/>
          <a:lstStyle/>
          <a:p>
            <a:fld id="{AEFA413A-E630-4377-B30C-3545E98CC867}" type="datetime4">
              <a:rPr lang="en-US" smtClean="0">
                <a:solidFill>
                  <a:prstClr val="black"/>
                </a:solidFill>
              </a:rPr>
              <a:pPr/>
              <a:t>February 9, 2016</a:t>
            </a:fld>
            <a:endParaRPr>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321610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rP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a:t>Click to edit Master text styles</a:t>
            </a:r>
          </a:p>
          <a:p>
            <a:pPr lvl="1"/>
            <a:r>
              <a:rPr/>
              <a:t>Second level</a:t>
            </a:r>
          </a:p>
          <a:p>
            <a:pPr lvl="2"/>
            <a:r>
              <a:rPr/>
              <a:t>Third level</a:t>
            </a:r>
          </a:p>
          <a:p>
            <a:pPr lvl="3"/>
            <a:r>
              <a:rPr/>
              <a:t>Fourth level</a:t>
            </a:r>
          </a:p>
          <a:p>
            <a:pPr lvl="4"/>
            <a:r>
              <a:rPr/>
              <a:t>Fifth level</a:t>
            </a:r>
          </a:p>
        </p:txBody>
      </p:sp>
      <p:sp>
        <p:nvSpPr>
          <p:cNvPr id="4" name="Date Placeholder 3"/>
          <p:cNvSpPr>
            <a:spLocks noGrp="1"/>
          </p:cNvSpPr>
          <p:nvPr>
            <p:ph type="dt" sz="half" idx="10"/>
          </p:nvPr>
        </p:nvSpPr>
        <p:spPr/>
        <p:txBody>
          <a:bodyPr/>
          <a:lstStyle/>
          <a:p>
            <a:fld id="{2D33DC54-2A66-493A-80B5-8303FBA5D0AD}" type="datetime4">
              <a:rPr lang="en-US" smtClean="0">
                <a:solidFill>
                  <a:prstClr val="black"/>
                </a:solidFill>
              </a:rPr>
              <a:pPr/>
              <a:t>February 9, 2016</a:t>
            </a:fld>
            <a:endParaRPr>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4033346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a:p>
        </p:txBody>
      </p:sp>
      <p:sp>
        <p:nvSpPr>
          <p:cNvPr id="5" name="Slide Number Placeholder 4"/>
          <p:cNvSpPr>
            <a:spLocks noGrp="1"/>
          </p:cNvSpPr>
          <p:nvPr>
            <p:ph type="sldNum" sz="quarter" idx="12"/>
          </p:nvPr>
        </p:nvSpPr>
        <p:spPr>
          <a:xfrm>
            <a:off x="11049000" y="6430868"/>
            <a:ext cx="533399" cy="232147"/>
          </a:xfrm>
          <a:prstGeom prst="rect">
            <a:avLst/>
          </a:prstGeom>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31978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a:t>Click to edit Master title style</a:t>
            </a:r>
          </a:p>
        </p:txBody>
      </p:sp>
      <p:sp>
        <p:nvSpPr>
          <p:cNvPr id="3" name="Date Placeholder 2"/>
          <p:cNvSpPr>
            <a:spLocks noGrp="1"/>
          </p:cNvSpPr>
          <p:nvPr>
            <p:ph type="dt" sz="half" idx="10"/>
          </p:nvPr>
        </p:nvSpPr>
        <p:spPr/>
        <p:txBody>
          <a:bodyPr/>
          <a:lstStyle/>
          <a:p>
            <a:fld id="{26B45FFC-9EEF-4E69-85F5-C8F54747804D}" type="datetime4">
              <a:rPr lang="en-US" smtClean="0">
                <a:solidFill>
                  <a:prstClr val="black"/>
                </a:solidFill>
              </a:rPr>
              <a:pPr/>
              <a:t>February 9, 2016</a:t>
            </a:fld>
            <a:endParaRPr>
              <a:solidFill>
                <a:prstClr val="black"/>
              </a:solidFill>
            </a:endParaRPr>
          </a:p>
        </p:txBody>
      </p:sp>
      <p:sp>
        <p:nvSpPr>
          <p:cNvPr id="4" name="Footer Placeholder 3"/>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226493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3" name="Date Placeholder 2"/>
          <p:cNvSpPr>
            <a:spLocks noGrp="1"/>
          </p:cNvSpPr>
          <p:nvPr>
            <p:ph type="dt" sz="half" idx="10"/>
          </p:nvPr>
        </p:nvSpPr>
        <p:spPr/>
        <p:txBody>
          <a:bodyPr/>
          <a:lstStyle/>
          <a:p>
            <a:fld id="{684E3265-88A3-4C30-AE11-BFDF645909E9}" type="datetime4">
              <a:rPr lang="en-US" smtClean="0">
                <a:solidFill>
                  <a:prstClr val="black"/>
                </a:solidFill>
              </a:rPr>
              <a:pPr/>
              <a:t>February 9, 2016</a:t>
            </a:fld>
            <a:endParaRPr>
              <a:solidFill>
                <a:prstClr val="black"/>
              </a:solidFill>
            </a:endParaRPr>
          </a:p>
        </p:txBody>
      </p:sp>
      <p:sp>
        <p:nvSpPr>
          <p:cNvPr id="4" name="Footer Placeholder 3"/>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306895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F763D2-AF56-4C60-80C7-7D8FC051005C}" type="datetime4">
              <a:rPr lang="en-US" smtClean="0">
                <a:solidFill>
                  <a:prstClr val="black"/>
                </a:solidFill>
              </a:rPr>
              <a:pPr/>
              <a:t>February 9, 2016</a:t>
            </a:fld>
            <a:endParaRPr>
              <a:solidFill>
                <a:prstClr val="black"/>
              </a:solidFill>
            </a:endParaRPr>
          </a:p>
        </p:txBody>
      </p:sp>
      <p:sp>
        <p:nvSpPr>
          <p:cNvPr id="3" name="Footer Placeholder 2"/>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4" name="Slide Number Placeholder 3"/>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954407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a:t>Click to edit Master title style</a:t>
            </a: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5" name="Date Placeholder 4"/>
          <p:cNvSpPr>
            <a:spLocks noGrp="1"/>
          </p:cNvSpPr>
          <p:nvPr>
            <p:ph type="dt" sz="half" idx="10"/>
          </p:nvPr>
        </p:nvSpPr>
        <p:spPr/>
        <p:txBody>
          <a:bodyPr/>
          <a:lstStyle/>
          <a:p>
            <a:fld id="{905039DC-98B3-47E6-AD46-BA5B72AD8B4A}"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332808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a:t>Click to edit Master title style</a:t>
            </a: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7" name="Date Placeholder 6"/>
          <p:cNvSpPr>
            <a:spLocks noGrp="1"/>
          </p:cNvSpPr>
          <p:nvPr>
            <p:ph type="dt" sz="half" idx="10"/>
          </p:nvPr>
        </p:nvSpPr>
        <p:spPr/>
        <p:txBody>
          <a:bodyPr/>
          <a:lstStyle/>
          <a:p>
            <a:fld id="{A48AA38D-5CBD-4E44-A2EB-B3F38A5B8051}" type="datetime4">
              <a:rPr lang="en-US" smtClean="0">
                <a:solidFill>
                  <a:prstClr val="black"/>
                </a:solidFill>
              </a:rPr>
              <a:pPr/>
              <a:t>February 9, 2016</a:t>
            </a:fld>
            <a:endParaRPr>
              <a:solidFill>
                <a:prstClr val="black"/>
              </a:solidFill>
            </a:endParaRPr>
          </a:p>
        </p:txBody>
      </p:sp>
      <p:sp>
        <p:nvSpPr>
          <p:cNvPr id="8" name="Footer Placeholder 7"/>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44465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7" name="Date Placeholder 6"/>
          <p:cNvSpPr>
            <a:spLocks noGrp="1"/>
          </p:cNvSpPr>
          <p:nvPr>
            <p:ph type="dt" sz="half" idx="10"/>
          </p:nvPr>
        </p:nvSpPr>
        <p:spPr/>
        <p:txBody>
          <a:bodyPr/>
          <a:lstStyle/>
          <a:p>
            <a:fld id="{8F030E74-B79E-47A7-AA1C-BA3D00CC0B4A}" type="datetime4">
              <a:rPr lang="en-US" smtClean="0">
                <a:solidFill>
                  <a:prstClr val="black"/>
                </a:solidFill>
              </a:rPr>
              <a:pPr/>
              <a:t>February 9, 2016</a:t>
            </a:fld>
            <a:endParaRPr>
              <a:solidFill>
                <a:prstClr val="black"/>
              </a:solidFill>
            </a:endParaRPr>
          </a:p>
        </p:txBody>
      </p:sp>
      <p:sp>
        <p:nvSpPr>
          <p:cNvPr id="8" name="Footer Placeholder 7"/>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996216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a:t>Click to edit Master title style</a:t>
            </a: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5" name="Date Placeholder 4"/>
          <p:cNvSpPr>
            <a:spLocks noGrp="1"/>
          </p:cNvSpPr>
          <p:nvPr>
            <p:ph type="dt" sz="half" idx="10"/>
          </p:nvPr>
        </p:nvSpPr>
        <p:spPr/>
        <p:txBody>
          <a:bodyPr/>
          <a:lstStyle/>
          <a:p>
            <a:fld id="{00FDD7F1-9FB6-4CB9-BA1F-25B205B879F3}"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02723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a:t>Click to edit Master title sty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5" name="Date Placeholder 4"/>
          <p:cNvSpPr>
            <a:spLocks noGrp="1"/>
          </p:cNvSpPr>
          <p:nvPr>
            <p:ph type="dt" sz="half" idx="10"/>
          </p:nvPr>
        </p:nvSpPr>
        <p:spPr/>
        <p:txBody>
          <a:bodyPr/>
          <a:lstStyle/>
          <a:p>
            <a:fld id="{027D5831-B468-414C-94B5-F04EB43FC0AE}"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033986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5" name="Date Placeholder 4"/>
          <p:cNvSpPr>
            <a:spLocks noGrp="1"/>
          </p:cNvSpPr>
          <p:nvPr>
            <p:ph type="dt" sz="half" idx="10"/>
          </p:nvPr>
        </p:nvSpPr>
        <p:spPr/>
        <p:txBody>
          <a:bodyPr/>
          <a:lstStyle/>
          <a:p>
            <a:fld id="{727A18C6-3F10-4266-96C9-5D014F3025B2}"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585621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a:t>Click to edit Master title style</a:t>
            </a:r>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4" name="Text Placeholder 3"/>
          <p:cNvSpPr>
            <a:spLocks noGrp="1"/>
          </p:cNvSpPr>
          <p:nvPr>
            <p:ph type="body" sz="half" idx="2"/>
          </p:nvPr>
        </p:nvSpPr>
        <p:spPr bwMode="ltGray">
          <a:xfrm>
            <a:off x="8610600" y="1524000"/>
            <a:ext cx="2968784" cy="4572000"/>
          </a:xfrm>
          <a:solidFill>
            <a:schemeClr val="accent5"/>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dirty="0"/>
              <a:t>Click to edit Master text styles</a:t>
            </a:r>
          </a:p>
        </p:txBody>
      </p:sp>
      <p:sp>
        <p:nvSpPr>
          <p:cNvPr id="5" name="Date Placeholder 4"/>
          <p:cNvSpPr>
            <a:spLocks noGrp="1"/>
          </p:cNvSpPr>
          <p:nvPr>
            <p:ph type="dt" sz="half" idx="10"/>
          </p:nvPr>
        </p:nvSpPr>
        <p:spPr/>
        <p:txBody>
          <a:bodyPr/>
          <a:lstStyle/>
          <a:p>
            <a:fld id="{A6CB1722-4B46-4353-B583-721651D61489}"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656550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5" name="Slide Number Placeholder 4"/>
          <p:cNvSpPr>
            <a:spLocks noGrp="1"/>
          </p:cNvSpPr>
          <p:nvPr>
            <p:ph type="sldNum" sz="quarter" idx="12"/>
          </p:nvPr>
        </p:nvSpPr>
        <p:spPr>
          <a:xfrm>
            <a:off x="11049000" y="6430868"/>
            <a:ext cx="533399" cy="232147"/>
          </a:xfrm>
          <a:prstGeom prst="rect">
            <a:avLst/>
          </a:prstGeom>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586124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a:t>Click to edit Master title style</a:t>
            </a: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5" name="Date Placeholder 4"/>
          <p:cNvSpPr>
            <a:spLocks noGrp="1"/>
          </p:cNvSpPr>
          <p:nvPr>
            <p:ph type="dt" sz="half" idx="10"/>
          </p:nvPr>
        </p:nvSpPr>
        <p:spPr/>
        <p:txBody>
          <a:bodyPr/>
          <a:lstStyle/>
          <a:p>
            <a:fld id="{8B8B1958-F972-48E2-B30C-3D9C71EE7ED1}"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563139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a:t>Click to edit Master title style</a:t>
            </a: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4" name="Text Placeholder 3"/>
          <p:cNvSpPr>
            <a:spLocks noGrp="1"/>
          </p:cNvSpPr>
          <p:nvPr>
            <p:ph type="body" sz="half" idx="2"/>
          </p:nvPr>
        </p:nvSpPr>
        <p:spPr bwMode="ltGray">
          <a:xfrm>
            <a:off x="7467601" y="1524000"/>
            <a:ext cx="4111784" cy="45720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a:t>Click to edit Master text styles</a:t>
            </a:r>
          </a:p>
        </p:txBody>
      </p:sp>
      <p:sp>
        <p:nvSpPr>
          <p:cNvPr id="5" name="Date Placeholder 4"/>
          <p:cNvSpPr>
            <a:spLocks noGrp="1"/>
          </p:cNvSpPr>
          <p:nvPr>
            <p:ph type="dt" sz="half" idx="10"/>
          </p:nvPr>
        </p:nvSpPr>
        <p:spPr/>
        <p:txBody>
          <a:bodyPr/>
          <a:lstStyle/>
          <a:p>
            <a:fld id="{BF2CF142-9C82-4C83-9B6A-8077B879C1B8}"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419194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a:t>Click to edit Master title style</a:t>
            </a: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5" name="Date Placeholder 4"/>
          <p:cNvSpPr>
            <a:spLocks noGrp="1"/>
          </p:cNvSpPr>
          <p:nvPr>
            <p:ph type="dt" sz="half" idx="10"/>
          </p:nvPr>
        </p:nvSpPr>
        <p:spPr/>
        <p:txBody>
          <a:bodyPr/>
          <a:lstStyle/>
          <a:p>
            <a:fld id="{9C259EE5-F25B-4563-AE58-6B042DD986DA}"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763792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rPr/>
              <a:t>Click to edit Master title style</a:t>
            </a: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4" name="Text Placeholder 3"/>
          <p:cNvSpPr>
            <a:spLocks noGrp="1"/>
          </p:cNvSpPr>
          <p:nvPr>
            <p:ph type="body" sz="half" idx="2"/>
          </p:nvPr>
        </p:nvSpPr>
        <p:spPr bwMode="ltGray">
          <a:xfrm>
            <a:off x="60944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9" name="Text Placeholder 3"/>
          <p:cNvSpPr>
            <a:spLocks noGrp="1"/>
          </p:cNvSpPr>
          <p:nvPr>
            <p:ph type="body" sz="half" idx="14"/>
          </p:nvPr>
        </p:nvSpPr>
        <p:spPr bwMode="ltGray">
          <a:xfrm>
            <a:off x="626672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a:t>Click to edit Master text styles</a:t>
            </a:r>
          </a:p>
        </p:txBody>
      </p:sp>
      <p:sp>
        <p:nvSpPr>
          <p:cNvPr id="5" name="Date Placeholder 4"/>
          <p:cNvSpPr>
            <a:spLocks noGrp="1"/>
          </p:cNvSpPr>
          <p:nvPr>
            <p:ph type="dt" sz="half" idx="10"/>
          </p:nvPr>
        </p:nvSpPr>
        <p:spPr/>
        <p:txBody>
          <a:bodyPr/>
          <a:lstStyle/>
          <a:p>
            <a:fld id="{F4CAB0D1-A256-4DFA-8583-35D5EE4CD0DF}"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91508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a:t>Click to edit Master title style</a:t>
            </a: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4" name="Text Placeholder 3"/>
          <p:cNvSpPr>
            <a:spLocks noGrp="1"/>
          </p:cNvSpPr>
          <p:nvPr>
            <p:ph type="body" sz="half" idx="2"/>
          </p:nvPr>
        </p:nvSpPr>
        <p:spPr bwMode="ltGray">
          <a:xfrm>
            <a:off x="60944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9" name="Text Placeholder 3"/>
          <p:cNvSpPr>
            <a:spLocks noGrp="1"/>
          </p:cNvSpPr>
          <p:nvPr>
            <p:ph type="body" sz="half" idx="14"/>
          </p:nvPr>
        </p:nvSpPr>
        <p:spPr bwMode="ltGray">
          <a:xfrm>
            <a:off x="438150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11" name="Text Placeholder 3"/>
          <p:cNvSpPr>
            <a:spLocks noGrp="1"/>
          </p:cNvSpPr>
          <p:nvPr>
            <p:ph type="body" sz="half" idx="16"/>
          </p:nvPr>
        </p:nvSpPr>
        <p:spPr bwMode="ltGray">
          <a:xfrm>
            <a:off x="8150384"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a:t>Click to edit Master text styles</a:t>
            </a:r>
          </a:p>
        </p:txBody>
      </p:sp>
      <p:sp>
        <p:nvSpPr>
          <p:cNvPr id="5" name="Date Placeholder 4"/>
          <p:cNvSpPr>
            <a:spLocks noGrp="1"/>
          </p:cNvSpPr>
          <p:nvPr>
            <p:ph type="dt" sz="half" idx="10"/>
          </p:nvPr>
        </p:nvSpPr>
        <p:spPr/>
        <p:txBody>
          <a:bodyPr/>
          <a:lstStyle/>
          <a:p>
            <a:fld id="{B0BBCA58-86AD-4F40-BF66-913A1183EE47}" type="datetime4">
              <a:rPr lang="en-US" smtClean="0">
                <a:solidFill>
                  <a:prstClr val="black"/>
                </a:solidFill>
              </a:rPr>
              <a:pPr/>
              <a:t>February 9, 2016</a:t>
            </a:fld>
            <a:endParaRPr>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253323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a:t>Click to edit Master title style</a:t>
            </a: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
        <p:nvSpPr>
          <p:cNvPr id="9" name="Date Placeholder 8"/>
          <p:cNvSpPr>
            <a:spLocks noGrp="1"/>
          </p:cNvSpPr>
          <p:nvPr>
            <p:ph type="dt" sz="half" idx="15"/>
          </p:nvPr>
        </p:nvSpPr>
        <p:spPr/>
        <p:txBody>
          <a:bodyPr/>
          <a:lstStyle/>
          <a:p>
            <a:fld id="{FB395617-A7D9-4AE8-82B6-3D0A191CDCBE}" type="datetime4">
              <a:rPr lang="en-US" smtClean="0">
                <a:solidFill>
                  <a:prstClr val="black"/>
                </a:solidFill>
              </a:rPr>
              <a:pPr/>
              <a:t>February 9, 2016</a:t>
            </a:fld>
            <a:endParaRPr>
              <a:solidFill>
                <a:prstClr val="black"/>
              </a:solidFill>
            </a:endParaRPr>
          </a:p>
        </p:txBody>
      </p:sp>
      <p:sp>
        <p:nvSpPr>
          <p:cNvPr id="12" name="Footer Placeholder 11"/>
          <p:cNvSpPr>
            <a:spLocks noGrp="1"/>
          </p:cNvSpPr>
          <p:nvPr>
            <p:ph type="ftr" sz="quarter" idx="16"/>
          </p:nvPr>
        </p:nvSpPr>
        <p:spPr/>
        <p:txBody>
          <a:bodyPr/>
          <a:lstStyle/>
          <a:p>
            <a:r>
              <a:rPr lang="en-US" smtClean="0">
                <a:solidFill>
                  <a:prstClr val="black"/>
                </a:solidFill>
              </a:rPr>
              <a:t>Private | Confidential | Internal Use Only </a:t>
            </a:r>
            <a:endParaRPr>
              <a:solidFill>
                <a:prstClr val="black"/>
              </a:solidFill>
            </a:endParaRPr>
          </a:p>
        </p:txBody>
      </p:sp>
      <p:sp>
        <p:nvSpPr>
          <p:cNvPr id="13" name="Slide Number Placeholder 12"/>
          <p:cNvSpPr>
            <a:spLocks noGrp="1"/>
          </p:cNvSpPr>
          <p:nvPr>
            <p:ph type="sldNum" sz="quarter" idx="17"/>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769108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a:t>Click to edit Master title style</a:t>
            </a: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a:t>Click to edit Master subtitle style</a:t>
            </a: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904212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a:t>Click to edit Master title style</a:t>
            </a:r>
          </a:p>
        </p:txBody>
      </p:sp>
      <p:sp>
        <p:nvSpPr>
          <p:cNvPr id="3" name="Vertical Text Placeholder 2"/>
          <p:cNvSpPr>
            <a:spLocks noGrp="1"/>
          </p:cNvSpPr>
          <p:nvPr>
            <p:ph type="body" orient="vert" idx="1"/>
          </p:nvPr>
        </p:nvSpPr>
        <p:spPr/>
        <p:txBody>
          <a:bodyPr vert="eaVert"/>
          <a:lstStyle/>
          <a:p>
            <a:pPr lvl="0"/>
            <a:r>
              <a:rPr/>
              <a:t>Click to edit Master text styles</a:t>
            </a:r>
          </a:p>
          <a:p>
            <a:pPr lvl="1"/>
            <a:r>
              <a:rPr/>
              <a:t>Second level</a:t>
            </a:r>
          </a:p>
          <a:p>
            <a:pPr lvl="2"/>
            <a:r>
              <a:rPr/>
              <a:t>Third level</a:t>
            </a:r>
          </a:p>
          <a:p>
            <a:pPr lvl="3"/>
            <a:r>
              <a:rPr/>
              <a:t>Fourth level</a:t>
            </a:r>
          </a:p>
          <a:p>
            <a:pPr lvl="4"/>
            <a:r>
              <a:rPr/>
              <a:t>Fifth level</a:t>
            </a:r>
          </a:p>
        </p:txBody>
      </p:sp>
      <p:sp>
        <p:nvSpPr>
          <p:cNvPr id="4" name="Date Placeholder 3"/>
          <p:cNvSpPr>
            <a:spLocks noGrp="1"/>
          </p:cNvSpPr>
          <p:nvPr>
            <p:ph type="dt" sz="half" idx="10"/>
          </p:nvPr>
        </p:nvSpPr>
        <p:spPr/>
        <p:txBody>
          <a:bodyPr/>
          <a:lstStyle/>
          <a:p>
            <a:fld id="{77C6BA28-E443-46F5-AE73-D543F89EF748}" type="datetime4">
              <a:rPr lang="en-US" smtClean="0">
                <a:solidFill>
                  <a:prstClr val="black"/>
                </a:solidFill>
              </a:rPr>
              <a:pPr/>
              <a:t>February 9, 2016</a:t>
            </a:fld>
            <a:endParaRPr>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724987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rPr/>
              <a:t>Click to edit Master title style</a:t>
            </a:r>
          </a:p>
        </p:txBody>
      </p:sp>
      <p:sp>
        <p:nvSpPr>
          <p:cNvPr id="3" name="Vertical Text Placeholder 2"/>
          <p:cNvSpPr>
            <a:spLocks noGrp="1"/>
          </p:cNvSpPr>
          <p:nvPr>
            <p:ph type="body" orient="vert" idx="1"/>
          </p:nvPr>
        </p:nvSpPr>
        <p:spPr>
          <a:xfrm>
            <a:off x="609600" y="519235"/>
            <a:ext cx="9677400" cy="5576765"/>
          </a:xfrm>
        </p:spPr>
        <p:txBody>
          <a:bodyPr vert="eaVert"/>
          <a:lstStyle/>
          <a:p>
            <a:pPr lvl="0"/>
            <a:r>
              <a:rPr/>
              <a:t>Click to edit Master text styles</a:t>
            </a:r>
          </a:p>
          <a:p>
            <a:pPr lvl="1"/>
            <a:r>
              <a:rPr/>
              <a:t>Second level</a:t>
            </a:r>
          </a:p>
          <a:p>
            <a:pPr lvl="2"/>
            <a:r>
              <a:rPr/>
              <a:t>Third level</a:t>
            </a:r>
          </a:p>
          <a:p>
            <a:pPr lvl="3"/>
            <a:r>
              <a:rPr/>
              <a:t>Fourth level</a:t>
            </a:r>
          </a:p>
          <a:p>
            <a:pPr lvl="4"/>
            <a:r>
              <a:rPr/>
              <a:t>Fifth level</a:t>
            </a:r>
          </a:p>
        </p:txBody>
      </p:sp>
      <p:sp>
        <p:nvSpPr>
          <p:cNvPr id="4" name="Date Placeholder 3"/>
          <p:cNvSpPr>
            <a:spLocks noGrp="1"/>
          </p:cNvSpPr>
          <p:nvPr>
            <p:ph type="dt" sz="half" idx="10"/>
          </p:nvPr>
        </p:nvSpPr>
        <p:spPr/>
        <p:txBody>
          <a:bodyPr/>
          <a:lstStyle/>
          <a:p>
            <a:fld id="{1452EE1A-1BE0-474E-808D-00D5A7797660}" type="datetime4">
              <a:rPr lang="en-US" smtClean="0">
                <a:solidFill>
                  <a:prstClr val="black"/>
                </a:solidFill>
              </a:rPr>
              <a:pPr/>
              <a:t>February 9, 2016</a:t>
            </a:fld>
            <a:endParaRPr>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750834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smtClean="0"/>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389902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Slide Number Placeholder 6"/>
          <p:cNvSpPr>
            <a:spLocks noGrp="1"/>
          </p:cNvSpPr>
          <p:nvPr>
            <p:ph type="sldNum" sz="quarter" idx="12"/>
          </p:nvPr>
        </p:nvSpPr>
        <p:spPr>
          <a:xfrm>
            <a:off x="11049000" y="6430868"/>
            <a:ext cx="533399" cy="232147"/>
          </a:xfrm>
          <a:prstGeom prst="rect">
            <a:avLst/>
          </a:prstGeom>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73702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smtClean="0"/>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7" name="Group 6"/>
          <p:cNvGrpSpPr/>
          <p:nvPr/>
        </p:nvGrpSpPr>
        <p:grpSpPr bwMode="black">
          <a:xfrm>
            <a:off x="606423" y="456997"/>
            <a:ext cx="3027151" cy="1219403"/>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white"/>
                </a:solidFill>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white"/>
                </a:solidFill>
              </a:endParaRPr>
            </a:p>
          </p:txBody>
        </p:sp>
      </p:grpSp>
    </p:spTree>
    <p:extLst>
      <p:ext uri="{BB962C8B-B14F-4D97-AF65-F5344CB8AC3E}">
        <p14:creationId xmlns:p14="http://schemas.microsoft.com/office/powerpoint/2010/main" val="1700601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smtClean="0"/>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Tree>
    <p:extLst>
      <p:ext uri="{BB962C8B-B14F-4D97-AF65-F5344CB8AC3E}">
        <p14:creationId xmlns:p14="http://schemas.microsoft.com/office/powerpoint/2010/main" val="108801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smtClean="0"/>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6" name="Slide Number Placeholder 5"/>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1333720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lang="en-US" smtClean="0"/>
              <a:t>Click to edit Master title style</a:t>
            </a:r>
            <a:endParaRPr/>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6" name="Slide Number Placeholder 5"/>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299702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smtClean="0"/>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3" name="Date Placeholder 2"/>
          <p:cNvSpPr>
            <a:spLocks noGrp="1"/>
          </p:cNvSpPr>
          <p:nvPr>
            <p:ph type="dt" sz="half" idx="10"/>
          </p:nvPr>
        </p:nvSpPr>
        <p:spPr/>
        <p:txBody>
          <a:bodyPr/>
          <a:lstStyle/>
          <a:p>
            <a:endParaRPr lang="en-US">
              <a:solidFill>
                <a:prstClr val="black"/>
              </a:solidFill>
            </a:endParaRPr>
          </a:p>
        </p:txBody>
      </p:sp>
      <p:sp>
        <p:nvSpPr>
          <p:cNvPr id="4" name="Footer Placeholder 3"/>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5" name="Slide Number Placeholder 4"/>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2146505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smtClean="0"/>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3" name="Date Placeholder 2"/>
          <p:cNvSpPr>
            <a:spLocks noGrp="1"/>
          </p:cNvSpPr>
          <p:nvPr>
            <p:ph type="dt" sz="half" idx="10"/>
          </p:nvPr>
        </p:nvSpPr>
        <p:spPr/>
        <p:txBody>
          <a:bodyPr/>
          <a:lstStyle/>
          <a:p>
            <a:endParaRPr lang="en-US">
              <a:solidFill>
                <a:prstClr val="black"/>
              </a:solidFill>
            </a:endParaRPr>
          </a:p>
        </p:txBody>
      </p:sp>
      <p:sp>
        <p:nvSpPr>
          <p:cNvPr id="4" name="Footer Placeholder 3"/>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5" name="Slide Number Placeholder 4"/>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1963299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smtClean="0"/>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endParaRPr lang="en-US">
              <a:solidFill>
                <a:prstClr val="white"/>
              </a:solidFill>
            </a:endParaRPr>
          </a:p>
        </p:txBody>
      </p:sp>
      <p:sp>
        <p:nvSpPr>
          <p:cNvPr id="4" name="Footer Placeholder 3"/>
          <p:cNvSpPr>
            <a:spLocks noGrp="1"/>
          </p:cNvSpPr>
          <p:nvPr>
            <p:ph type="ftr" sz="quarter" idx="11"/>
          </p:nvPr>
        </p:nvSpPr>
        <p:spPr/>
        <p:txBody>
          <a:bodyPr/>
          <a:lstStyle/>
          <a:p>
            <a:r>
              <a:rPr lang="en-US" smtClean="0">
                <a:solidFill>
                  <a:prstClr val="white"/>
                </a:solidFill>
              </a:rPr>
              <a:t>Confidential</a:t>
            </a:r>
            <a:endParaRPr lang="en-US">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A1F30EA2-2CCB-4C3F-A30A-6B3F953FE37A}" type="slidenum">
              <a:rPr lang="en-US" smtClean="0">
                <a:solidFill>
                  <a:prstClr val="white"/>
                </a:solidFill>
              </a:rPr>
              <a:pPr/>
              <a:t>‹#›</a:t>
            </a:fld>
            <a:endParaRPr lang="en-US">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Tree>
    <p:extLst>
      <p:ext uri="{BB962C8B-B14F-4D97-AF65-F5344CB8AC3E}">
        <p14:creationId xmlns:p14="http://schemas.microsoft.com/office/powerpoint/2010/main" val="13296432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smtClean="0"/>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endParaRPr lang="en-US">
              <a:solidFill>
                <a:prstClr val="white"/>
              </a:solidFill>
            </a:endParaRPr>
          </a:p>
        </p:txBody>
      </p:sp>
      <p:sp>
        <p:nvSpPr>
          <p:cNvPr id="4" name="Footer Placeholder 3"/>
          <p:cNvSpPr>
            <a:spLocks noGrp="1"/>
          </p:cNvSpPr>
          <p:nvPr>
            <p:ph type="ftr" sz="quarter" idx="11"/>
          </p:nvPr>
        </p:nvSpPr>
        <p:spPr/>
        <p:txBody>
          <a:bodyPr/>
          <a:lstStyle/>
          <a:p>
            <a:r>
              <a:rPr lang="en-US" smtClean="0">
                <a:solidFill>
                  <a:prstClr val="white"/>
                </a:solidFill>
              </a:rPr>
              <a:t>Confidential</a:t>
            </a:r>
            <a:endParaRPr lang="en-US">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A1F30EA2-2CCB-4C3F-A30A-6B3F953FE37A}" type="slidenum">
              <a:rPr lang="en-US" smtClean="0">
                <a:solidFill>
                  <a:prstClr val="white"/>
                </a:solidFill>
              </a:rPr>
              <a:pPr/>
              <a:t>‹#›</a:t>
            </a:fld>
            <a:endParaRPr lang="en-US">
              <a:solidFill>
                <a:prstClr val="white"/>
              </a:solidFill>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solidFill>
                <a:prstClr val="white"/>
              </a:solidFill>
            </a:endParaRPr>
          </a:p>
        </p:txBody>
      </p:sp>
    </p:spTree>
    <p:extLst>
      <p:ext uri="{BB962C8B-B14F-4D97-AF65-F5344CB8AC3E}">
        <p14:creationId xmlns:p14="http://schemas.microsoft.com/office/powerpoint/2010/main" val="5680432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smtClean="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smtClean="0"/>
              <a:t>to add quoted person’s name, title, company</a:t>
            </a:r>
            <a:endParaRPr dirty="0"/>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
        <p:nvSpPr>
          <p:cNvPr id="3" name="Date Placeholder 2"/>
          <p:cNvSpPr>
            <a:spLocks noGrp="1"/>
          </p:cNvSpPr>
          <p:nvPr>
            <p:ph type="dt" sz="half" idx="10"/>
          </p:nvPr>
        </p:nvSpPr>
        <p:spPr/>
        <p:txBody>
          <a:bodyPr/>
          <a:lstStyle/>
          <a:p>
            <a:endParaRPr lang="en-US">
              <a:solidFill>
                <a:prstClr val="black"/>
              </a:solidFill>
            </a:endParaRPr>
          </a:p>
        </p:txBody>
      </p:sp>
      <p:sp>
        <p:nvSpPr>
          <p:cNvPr id="4" name="Footer Placeholder 3"/>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5" name="Slide Number Placeholder 4"/>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346056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Slate Quot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smtClean="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smtClean="0"/>
              <a:t>Click to add quoted person’s name, title, company</a:t>
            </a:r>
            <a:endParaRPr lang="en-US" dirty="0"/>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white"/>
                </a:solidFill>
              </a:endParaRPr>
            </a:p>
          </p:txBody>
        </p:sp>
      </p:grpSp>
      <p:sp>
        <p:nvSpPr>
          <p:cNvPr id="3" name="Date Placeholder 2"/>
          <p:cNvSpPr>
            <a:spLocks noGrp="1"/>
          </p:cNvSpPr>
          <p:nvPr>
            <p:ph type="dt" sz="half" idx="10"/>
          </p:nvPr>
        </p:nvSpPr>
        <p:spPr/>
        <p:txBody>
          <a:bodyPr/>
          <a:lstStyle/>
          <a:p>
            <a:endParaRPr lang="en-US">
              <a:solidFill>
                <a:prstClr val="white"/>
              </a:solidFill>
            </a:endParaRPr>
          </a:p>
        </p:txBody>
      </p:sp>
      <p:sp>
        <p:nvSpPr>
          <p:cNvPr id="4" name="Footer Placeholder 3"/>
          <p:cNvSpPr>
            <a:spLocks noGrp="1"/>
          </p:cNvSpPr>
          <p:nvPr>
            <p:ph type="ftr" sz="quarter" idx="11"/>
          </p:nvPr>
        </p:nvSpPr>
        <p:spPr/>
        <p:txBody>
          <a:bodyPr/>
          <a:lstStyle/>
          <a:p>
            <a:r>
              <a:rPr lang="en-US" smtClean="0">
                <a:solidFill>
                  <a:prstClr val="white"/>
                </a:solidFill>
              </a:rPr>
              <a:t>Confidential</a:t>
            </a:r>
            <a:endParaRPr lang="en-US">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A1F30EA2-2CCB-4C3F-A30A-6B3F953FE37A}"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4681350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smtClean="0"/>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endParaRPr>
            </a:p>
          </p:txBody>
        </p:sp>
      </p:grpSp>
      <p:sp>
        <p:nvSpPr>
          <p:cNvPr id="9" name="Date Placeholder 8"/>
          <p:cNvSpPr>
            <a:spLocks noGrp="1"/>
          </p:cNvSpPr>
          <p:nvPr>
            <p:ph type="dt" sz="half" idx="15"/>
          </p:nvPr>
        </p:nvSpPr>
        <p:spPr>
          <a:xfrm>
            <a:off x="5598212" y="6426104"/>
            <a:ext cx="995578" cy="210312"/>
          </a:xfrm>
          <a:prstGeom prst="rect">
            <a:avLst/>
          </a:prstGeom>
        </p:spPr>
        <p:txBody>
          <a:bodyPr/>
          <a:lstStyle/>
          <a:p>
            <a:fld id="{FB395617-A7D9-4AE8-82B6-3D0A191CDCBE}" type="datetime4">
              <a:rPr lang="en-US" smtClean="0">
                <a:solidFill>
                  <a:prstClr val="black"/>
                </a:solidFill>
              </a:rPr>
              <a:pPr/>
              <a:t>February 9, 2016</a:t>
            </a:fld>
            <a:endParaRPr>
              <a:solidFill>
                <a:prstClr val="black"/>
              </a:solidFill>
            </a:endParaRPr>
          </a:p>
        </p:txBody>
      </p:sp>
      <p:sp>
        <p:nvSpPr>
          <p:cNvPr id="12" name="Footer Placeholder 11"/>
          <p:cNvSpPr>
            <a:spLocks noGrp="1"/>
          </p:cNvSpPr>
          <p:nvPr>
            <p:ph type="ftr" sz="quarter" idx="16"/>
          </p:nvPr>
        </p:nvSpPr>
        <p:spPr>
          <a:xfrm>
            <a:off x="6934200" y="6426104"/>
            <a:ext cx="4025198" cy="210312"/>
          </a:xfrm>
          <a:prstGeom prst="rect">
            <a:avLst/>
          </a:prstGeom>
        </p:spPr>
        <p:txBody>
          <a:bodyPr/>
          <a:lstStyle/>
          <a:p>
            <a:r>
              <a:rPr lang="en-US" smtClean="0">
                <a:solidFill>
                  <a:prstClr val="black"/>
                </a:solidFill>
              </a:rPr>
              <a:t>Private | Confidential | Internal Use Only </a:t>
            </a:r>
            <a:endParaRPr>
              <a:solidFill>
                <a:prstClr val="black"/>
              </a:solidFill>
            </a:endParaRPr>
          </a:p>
        </p:txBody>
      </p:sp>
      <p:sp>
        <p:nvSpPr>
          <p:cNvPr id="13" name="Slide Number Placeholder 12"/>
          <p:cNvSpPr>
            <a:spLocks noGrp="1"/>
          </p:cNvSpPr>
          <p:nvPr>
            <p:ph type="sldNum" sz="quarter" idx="17"/>
          </p:nvPr>
        </p:nvSpPr>
        <p:spPr>
          <a:xfrm>
            <a:off x="11049000" y="6430868"/>
            <a:ext cx="533399" cy="232147"/>
          </a:xfrm>
          <a:prstGeom prst="rect">
            <a:avLst/>
          </a:prstGeom>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153068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2" name="Date Placeholder 1"/>
          <p:cNvSpPr>
            <a:spLocks noGrp="1"/>
          </p:cNvSpPr>
          <p:nvPr>
            <p:ph type="dt" sz="half" idx="10"/>
          </p:nvPr>
        </p:nvSpPr>
        <p:spPr/>
        <p:txBody>
          <a:bodyPr/>
          <a:lstStyle/>
          <a:p>
            <a:endParaRPr lang="en-US">
              <a:solidFill>
                <a:prstClr val="black"/>
              </a:solidFill>
            </a:endParaRPr>
          </a:p>
        </p:txBody>
      </p:sp>
      <p:sp>
        <p:nvSpPr>
          <p:cNvPr id="8" name="Footer Placeholder 7"/>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9" name="Slide Number Placeholder 8"/>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1181381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rP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6" name="Slide Number Placeholder 5"/>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2719007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rP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6" name="Slide Number Placeholder 5"/>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1332895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a:p>
        </p:txBody>
      </p:sp>
      <p:sp>
        <p:nvSpPr>
          <p:cNvPr id="3" name="Date Placeholder 2"/>
          <p:cNvSpPr>
            <a:spLocks noGrp="1"/>
          </p:cNvSpPr>
          <p:nvPr>
            <p:ph type="dt" sz="half" idx="10"/>
          </p:nvPr>
        </p:nvSpPr>
        <p:spPr/>
        <p:txBody>
          <a:bodyPr/>
          <a:lstStyle/>
          <a:p>
            <a:endParaRPr lang="en-US">
              <a:solidFill>
                <a:prstClr val="black"/>
              </a:solidFill>
            </a:endParaRPr>
          </a:p>
        </p:txBody>
      </p:sp>
      <p:sp>
        <p:nvSpPr>
          <p:cNvPr id="4" name="Footer Placeholder 3"/>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5" name="Slide Number Placeholder 4"/>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564544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3" name="Date Placeholder 2"/>
          <p:cNvSpPr>
            <a:spLocks noGrp="1"/>
          </p:cNvSpPr>
          <p:nvPr>
            <p:ph type="dt" sz="half" idx="10"/>
          </p:nvPr>
        </p:nvSpPr>
        <p:spPr/>
        <p:txBody>
          <a:bodyPr/>
          <a:lstStyle/>
          <a:p>
            <a:endParaRPr lang="en-US">
              <a:solidFill>
                <a:prstClr val="black"/>
              </a:solidFill>
            </a:endParaRPr>
          </a:p>
        </p:txBody>
      </p:sp>
      <p:sp>
        <p:nvSpPr>
          <p:cNvPr id="4" name="Footer Placeholder 3"/>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5" name="Slide Number Placeholder 4"/>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477769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solidFill>
            </a:endParaRPr>
          </a:p>
        </p:txBody>
      </p:sp>
      <p:sp>
        <p:nvSpPr>
          <p:cNvPr id="3" name="Footer Placeholder 2"/>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4" name="Slide Number Placeholder 3"/>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73782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7" name="Slide Number Placeholder 6"/>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2821963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Date Placeholder 6"/>
          <p:cNvSpPr>
            <a:spLocks noGrp="1"/>
          </p:cNvSpPr>
          <p:nvPr>
            <p:ph type="dt" sz="half" idx="10"/>
          </p:nvPr>
        </p:nvSpPr>
        <p:spPr/>
        <p:txBody>
          <a:bodyPr/>
          <a:lstStyle/>
          <a:p>
            <a:endParaRPr lang="en-US">
              <a:solidFill>
                <a:prstClr val="black"/>
              </a:solidFill>
            </a:endParaRPr>
          </a:p>
        </p:txBody>
      </p:sp>
      <p:sp>
        <p:nvSpPr>
          <p:cNvPr id="8" name="Footer Placeholder 7"/>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9" name="Slide Number Placeholder 8"/>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1931780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Date Placeholder 6"/>
          <p:cNvSpPr>
            <a:spLocks noGrp="1"/>
          </p:cNvSpPr>
          <p:nvPr>
            <p:ph type="dt" sz="half" idx="10"/>
          </p:nvPr>
        </p:nvSpPr>
        <p:spPr/>
        <p:txBody>
          <a:bodyPr/>
          <a:lstStyle/>
          <a:p>
            <a:endParaRPr lang="en-US">
              <a:solidFill>
                <a:prstClr val="black"/>
              </a:solidFill>
            </a:endParaRPr>
          </a:p>
        </p:txBody>
      </p:sp>
      <p:sp>
        <p:nvSpPr>
          <p:cNvPr id="8" name="Footer Placeholder 7"/>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9" name="Slide Number Placeholder 8"/>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2890258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r>
              <a:rPr lang="en-US" smtClean="0">
                <a:solidFill>
                  <a:prstClr val="black"/>
                </a:solidFill>
              </a:rPr>
              <a:t>Confidential</a:t>
            </a:r>
            <a:endParaRPr lang="en-US">
              <a:solidFill>
                <a:prstClr val="black"/>
              </a:solidFill>
            </a:endParaRPr>
          </a:p>
        </p:txBody>
      </p:sp>
      <p:sp>
        <p:nvSpPr>
          <p:cNvPr id="7" name="Slide Number Placeholder 6"/>
          <p:cNvSpPr>
            <a:spLocks noGrp="1"/>
          </p:cNvSpPr>
          <p:nvPr>
            <p:ph type="sldNum" sz="quarter" idx="12"/>
          </p:nvPr>
        </p:nvSpPr>
        <p:spPr/>
        <p:txBody>
          <a:bodyPr/>
          <a:lstStyle/>
          <a:p>
            <a:fld id="{A1F30EA2-2CCB-4C3F-A30A-6B3F953FE37A}" type="slidenum">
              <a:rPr lang="en-US" smtClean="0">
                <a:solidFill>
                  <a:srgbClr val="617D78"/>
                </a:solidFill>
              </a:rPr>
              <a:pPr/>
              <a:t>‹#›</a:t>
            </a:fld>
            <a:endParaRPr lang="en-US">
              <a:solidFill>
                <a:srgbClr val="617D78"/>
              </a:solidFill>
            </a:endParaRPr>
          </a:p>
        </p:txBody>
      </p:sp>
    </p:spTree>
    <p:extLst>
      <p:ext uri="{BB962C8B-B14F-4D97-AF65-F5344CB8AC3E}">
        <p14:creationId xmlns:p14="http://schemas.microsoft.com/office/powerpoint/2010/main" val="3143395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34"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34" Type="http://schemas.openxmlformats.org/officeDocument/2006/relationships/theme" Target="../theme/theme3.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slideLayout" Target="../slideLayouts/slideLayout78.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slideLayout" Target="../slideLayouts/slideLayout7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slideLayout" Target="../slideLayouts/slideLayout77.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slideLayout" Target="../slideLayouts/slideLayout76.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34" Type="http://schemas.openxmlformats.org/officeDocument/2006/relationships/slideLayout" Target="../slideLayouts/slideLayout112.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33" Type="http://schemas.openxmlformats.org/officeDocument/2006/relationships/slideLayout" Target="../slideLayouts/slideLayout111.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slideLayout" Target="../slideLayouts/slideLayout107.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slideLayout" Target="../slideLayouts/slideLayout110.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36" Type="http://schemas.openxmlformats.org/officeDocument/2006/relationships/theme" Target="../theme/theme4.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slideLayout" Target="../slideLayouts/slideLayout109.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 Id="rId35" Type="http://schemas.openxmlformats.org/officeDocument/2006/relationships/slideLayout" Target="../slideLayouts/slideLayout11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slideLayout" Target="../slideLayouts/slideLayout139.xml"/><Relationship Id="rId3" Type="http://schemas.openxmlformats.org/officeDocument/2006/relationships/slideLayout" Target="../slideLayouts/slideLayout116.xml"/><Relationship Id="rId21" Type="http://schemas.openxmlformats.org/officeDocument/2006/relationships/slideLayout" Target="../slideLayouts/slideLayout134.xml"/><Relationship Id="rId34" Type="http://schemas.openxmlformats.org/officeDocument/2006/relationships/theme" Target="../theme/theme5.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33" Type="http://schemas.openxmlformats.org/officeDocument/2006/relationships/slideLayout" Target="../slideLayouts/slideLayout146.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29" Type="http://schemas.openxmlformats.org/officeDocument/2006/relationships/slideLayout" Target="../slideLayouts/slideLayout142.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32" Type="http://schemas.openxmlformats.org/officeDocument/2006/relationships/slideLayout" Target="../slideLayouts/slideLayout145.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31" Type="http://schemas.openxmlformats.org/officeDocument/2006/relationships/slideLayout" Target="../slideLayouts/slideLayout144.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30" Type="http://schemas.openxmlformats.org/officeDocument/2006/relationships/slideLayout" Target="../slideLayouts/slideLayout14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4.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2" Type="http://schemas.openxmlformats.org/officeDocument/2006/relationships/slideLayout" Target="../slideLayouts/slideLayout148.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5" Type="http://schemas.openxmlformats.org/officeDocument/2006/relationships/slideLayout" Target="../slideLayouts/slideLayout151.xml"/><Relationship Id="rId4" Type="http://schemas.openxmlformats.org/officeDocument/2006/relationships/slideLayout" Target="../slideLayouts/slideLayout150.xml"/><Relationship Id="rId9"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smtClean="0"/>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Rectangle 6"/>
          <p:cNvSpPr/>
          <p:nvPr/>
        </p:nvSpPr>
        <p:spPr>
          <a:xfrm>
            <a:off x="608012" y="437706"/>
            <a:ext cx="10972800" cy="18288"/>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1843486068"/>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71" r:id="rId3"/>
    <p:sldLayoutId id="2147483672" r:id="rId4"/>
    <p:sldLayoutId id="2147483674" r:id="rId5"/>
    <p:sldLayoutId id="2147483675" r:id="rId6"/>
    <p:sldLayoutId id="2147483676" r:id="rId7"/>
    <p:sldLayoutId id="2147483678" r:id="rId8"/>
    <p:sldLayoutId id="2147483690" r:id="rId9"/>
    <p:sldLayoutId id="2147483728" r:id="rId10"/>
    <p:sldLayoutId id="2147483729" r:id="rId11"/>
    <p:sldLayoutId id="2147483799"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smtClean="0"/>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Rectangle 6"/>
          <p:cNvSpPr/>
          <p:nvPr/>
        </p:nvSpPr>
        <p:spPr>
          <a:xfrm>
            <a:off x="608012" y="437706"/>
            <a:ext cx="10972800" cy="18288"/>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65FD8143-BFA3-46F8-9B90-B0E5CFAF7F7C}" type="datetime4">
              <a:rPr lang="en-US" smtClean="0">
                <a:solidFill>
                  <a:prstClr val="black"/>
                </a:solidFill>
              </a:rPr>
              <a:pPr/>
              <a:t>February 9, 2016</a:t>
            </a:fld>
            <a:endParaRPr>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smtClean="0">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5"/>
                </a:solidFill>
              </a:defRPr>
            </a:lvl1pPr>
          </a:lstStyle>
          <a:p>
            <a:fld id="{B016F8AB-BCEA-4347-8BA6-BE776009BC89}" type="slidenum">
              <a:rPr>
                <a:solidFill>
                  <a:srgbClr val="617D78"/>
                </a:solidFill>
              </a:rPr>
              <a:pPr/>
              <a:t>‹#›</a:t>
            </a:fld>
            <a:endParaRPr dirty="0">
              <a:solidFill>
                <a:srgbClr val="617D78"/>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1250531211"/>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 id="2147483753" r:id="rId22"/>
    <p:sldLayoutId id="2147483754" r:id="rId23"/>
    <p:sldLayoutId id="2147483755" r:id="rId24"/>
    <p:sldLayoutId id="2147483756" r:id="rId25"/>
    <p:sldLayoutId id="2147483757" r:id="rId26"/>
    <p:sldLayoutId id="2147483758" r:id="rId27"/>
    <p:sldLayoutId id="2147483759" r:id="rId28"/>
    <p:sldLayoutId id="2147483760" r:id="rId29"/>
    <p:sldLayoutId id="2147483761" r:id="rId30"/>
    <p:sldLayoutId id="2147483762" r:id="rId31"/>
    <p:sldLayoutId id="2147483763" r:id="rId32"/>
    <p:sldLayoutId id="2147483764"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a:t>Click to edit Master title style</a:t>
            </a: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7" name="Rectangle 6"/>
          <p:cNvSpPr/>
          <p:nvPr/>
        </p:nvSpPr>
        <p:spPr>
          <a:xfrm>
            <a:off x="608012" y="437706"/>
            <a:ext cx="10972800" cy="18288"/>
          </a:xfrm>
          <a:prstGeom prst="rect">
            <a:avLst/>
          </a:prstGeom>
          <a:solidFill>
            <a:srgbClr val="00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65FD8143-BFA3-46F8-9B90-B0E5CFAF7F7C}" type="datetime4">
              <a:rPr lang="en-US" smtClean="0">
                <a:solidFill>
                  <a:prstClr val="black"/>
                </a:solidFill>
              </a:rPr>
              <a:pPr/>
              <a:t>February 9, 2016</a:t>
            </a:fld>
            <a:endParaRPr>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smtClean="0">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fld id="{B016F8AB-BCEA-4347-8BA6-BE776009BC89}" type="slidenum">
              <a:rPr lang="en-US" smtClean="0">
                <a:solidFill>
                  <a:srgbClr val="5F7A76"/>
                </a:solidFill>
              </a:rPr>
              <a:pPr/>
              <a:t>‹#›</a:t>
            </a:fld>
            <a:endParaRPr lang="en-US" dirty="0">
              <a:solidFill>
                <a:srgbClr val="5F7A76"/>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1530662324"/>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 id="2147483789" r:id="rId24"/>
    <p:sldLayoutId id="2147483790" r:id="rId25"/>
    <p:sldLayoutId id="2147483791" r:id="rId26"/>
    <p:sldLayoutId id="2147483792" r:id="rId27"/>
    <p:sldLayoutId id="2147483793" r:id="rId28"/>
    <p:sldLayoutId id="2147483794" r:id="rId29"/>
    <p:sldLayoutId id="2147483795" r:id="rId30"/>
    <p:sldLayoutId id="2147483796" r:id="rId31"/>
    <p:sldLayoutId id="2147483797" r:id="rId32"/>
    <p:sldLayoutId id="2147483798"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smtClean="0"/>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Rectangle 6"/>
          <p:cNvSpPr/>
          <p:nvPr/>
        </p:nvSpPr>
        <p:spPr>
          <a:xfrm>
            <a:off x="608012" y="437706"/>
            <a:ext cx="10972800" cy="18288"/>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endParaRPr lang="en-US">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smtClean="0">
                <a:solidFill>
                  <a:prstClr val="black"/>
                </a:solidFill>
              </a:rPr>
              <a:t>Confidential</a:t>
            </a:r>
            <a:endParaRPr lang="en-US">
              <a:solidFill>
                <a:prstClr val="black"/>
              </a:solidFill>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5"/>
                </a:solidFill>
              </a:defRPr>
            </a:lvl1pPr>
          </a:lstStyle>
          <a:p>
            <a:fld id="{A1F30EA2-2CCB-4C3F-A30A-6B3F953FE37A}" type="slidenum">
              <a:rPr lang="en-US" smtClean="0">
                <a:solidFill>
                  <a:srgbClr val="617D78"/>
                </a:solidFill>
              </a:rPr>
              <a:pPr/>
              <a:t>‹#›</a:t>
            </a:fld>
            <a:endParaRPr lang="en-US">
              <a:solidFill>
                <a:srgbClr val="617D78"/>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785617324"/>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823" r:id="rId23"/>
    <p:sldLayoutId id="2147483824" r:id="rId24"/>
    <p:sldLayoutId id="2147483825" r:id="rId25"/>
    <p:sldLayoutId id="2147483826" r:id="rId26"/>
    <p:sldLayoutId id="2147483827" r:id="rId27"/>
    <p:sldLayoutId id="2147483828" r:id="rId28"/>
    <p:sldLayoutId id="2147483829" r:id="rId29"/>
    <p:sldLayoutId id="2147483830" r:id="rId30"/>
    <p:sldLayoutId id="2147483831" r:id="rId31"/>
    <p:sldLayoutId id="2147483832" r:id="rId32"/>
    <p:sldLayoutId id="2147483833" r:id="rId33"/>
    <p:sldLayoutId id="2147483834" r:id="rId34"/>
    <p:sldLayoutId id="2147483835"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smtClean="0"/>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Rectangle 6"/>
          <p:cNvSpPr/>
          <p:nvPr/>
        </p:nvSpPr>
        <p:spPr>
          <a:xfrm>
            <a:off x="608012" y="437706"/>
            <a:ext cx="10972800" cy="18288"/>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65FD8143-BFA3-46F8-9B90-B0E5CFAF7F7C}" type="datetime4">
              <a:rPr lang="en-US" smtClean="0">
                <a:solidFill>
                  <a:prstClr val="black"/>
                </a:solidFill>
              </a:rPr>
              <a:pPr/>
              <a:t>February 9, 2016</a:t>
            </a:fld>
            <a:endParaRPr>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smtClean="0">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5"/>
                </a:solidFill>
              </a:defRPr>
            </a:lvl1pPr>
          </a:lstStyle>
          <a:p>
            <a:fld id="{B016F8AB-BCEA-4347-8BA6-BE776009BC89}" type="slidenum">
              <a:rPr>
                <a:solidFill>
                  <a:srgbClr val="617D78"/>
                </a:solidFill>
              </a:rPr>
              <a:pPr/>
              <a:t>‹#›</a:t>
            </a:fld>
            <a:endParaRPr dirty="0">
              <a:solidFill>
                <a:srgbClr val="617D78"/>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2979277960"/>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 id="2147483850" r:id="rId14"/>
    <p:sldLayoutId id="2147483851" r:id="rId15"/>
    <p:sldLayoutId id="2147483852" r:id="rId16"/>
    <p:sldLayoutId id="2147483853" r:id="rId17"/>
    <p:sldLayoutId id="2147483854" r:id="rId18"/>
    <p:sldLayoutId id="2147483855" r:id="rId19"/>
    <p:sldLayoutId id="2147483856" r:id="rId20"/>
    <p:sldLayoutId id="2147483857" r:id="rId21"/>
    <p:sldLayoutId id="2147483858" r:id="rId22"/>
    <p:sldLayoutId id="2147483859" r:id="rId23"/>
    <p:sldLayoutId id="2147483860" r:id="rId24"/>
    <p:sldLayoutId id="2147483861" r:id="rId25"/>
    <p:sldLayoutId id="2147483862" r:id="rId26"/>
    <p:sldLayoutId id="2147483863" r:id="rId27"/>
    <p:sldLayoutId id="2147483864" r:id="rId28"/>
    <p:sldLayoutId id="2147483865" r:id="rId29"/>
    <p:sldLayoutId id="2147483866" r:id="rId30"/>
    <p:sldLayoutId id="2147483867" r:id="rId31"/>
    <p:sldLayoutId id="2147483868" r:id="rId32"/>
    <p:sldLayoutId id="2147483869"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smtClean="0"/>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Rectangle 6"/>
          <p:cNvSpPr/>
          <p:nvPr/>
        </p:nvSpPr>
        <p:spPr>
          <a:xfrm>
            <a:off x="608012" y="437706"/>
            <a:ext cx="10972800" cy="18288"/>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65FD8143-BFA3-46F8-9B90-B0E5CFAF7F7C}" type="datetime4">
              <a:rPr lang="en-US" smtClean="0">
                <a:solidFill>
                  <a:prstClr val="black"/>
                </a:solidFill>
              </a:rPr>
              <a:pPr/>
              <a:t>February 9, 2016</a:t>
            </a:fld>
            <a:endParaRPr>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smtClean="0">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5"/>
                </a:solidFill>
              </a:defRPr>
            </a:lvl1pPr>
          </a:lstStyle>
          <a:p>
            <a:fld id="{B016F8AB-BCEA-4347-8BA6-BE776009BC89}" type="slidenum">
              <a:rPr>
                <a:solidFill>
                  <a:srgbClr val="617D78"/>
                </a:solidFill>
              </a:rPr>
              <a:pPr/>
              <a:t>‹#›</a:t>
            </a:fld>
            <a:endParaRPr dirty="0">
              <a:solidFill>
                <a:srgbClr val="617D78"/>
              </a:solidFill>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endParaRPr>
            </a:p>
          </p:txBody>
        </p:sp>
      </p:grpSp>
    </p:spTree>
    <p:extLst>
      <p:ext uri="{BB962C8B-B14F-4D97-AF65-F5344CB8AC3E}">
        <p14:creationId xmlns:p14="http://schemas.microsoft.com/office/powerpoint/2010/main" val="4038917161"/>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9"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01.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0.xml"/><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11.xml"/><Relationship Id="rId6" Type="http://schemas.openxmlformats.org/officeDocument/2006/relationships/image" Target="../media/image20.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11.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1.xml"/><Relationship Id="rId4" Type="http://schemas.openxmlformats.org/officeDocument/2006/relationships/image" Target="../media/image34.jpe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6784" y="2536371"/>
            <a:ext cx="10265388" cy="1545771"/>
          </a:xfrm>
        </p:spPr>
        <p:txBody>
          <a:bodyPr/>
          <a:lstStyle/>
          <a:p>
            <a:r>
              <a:rPr lang="ru-RU" sz="3600" dirty="0"/>
              <a:t>Построение ИТ-инфраструктуры нового поколения: предпосылки появления, особенности и методы реализации</a:t>
            </a:r>
            <a:endParaRPr lang="en-US" sz="3600" dirty="0"/>
          </a:p>
        </p:txBody>
      </p:sp>
      <p:sp>
        <p:nvSpPr>
          <p:cNvPr id="5" name="Text Placeholder 4"/>
          <p:cNvSpPr>
            <a:spLocks noGrp="1"/>
          </p:cNvSpPr>
          <p:nvPr>
            <p:ph type="body" sz="quarter" idx="13"/>
          </p:nvPr>
        </p:nvSpPr>
        <p:spPr>
          <a:xfrm>
            <a:off x="684213" y="5203372"/>
            <a:ext cx="9141619" cy="457200"/>
          </a:xfrm>
        </p:spPr>
        <p:txBody>
          <a:bodyPr/>
          <a:lstStyle/>
          <a:p>
            <a:r>
              <a:rPr lang="ru-RU" sz="2000" dirty="0"/>
              <a:t>Александр </a:t>
            </a:r>
            <a:r>
              <a:rPr lang="ru-RU" sz="2000" dirty="0" err="1"/>
              <a:t>Старыгин</a:t>
            </a:r>
            <a:r>
              <a:rPr lang="ru-RU" sz="2000" dirty="0"/>
              <a:t>, </a:t>
            </a:r>
            <a:br>
              <a:rPr lang="ru-RU" sz="2000" dirty="0"/>
            </a:br>
            <a:r>
              <a:rPr lang="ru-RU" sz="2000" dirty="0"/>
              <a:t>Директор Департамента подготовки технических решений </a:t>
            </a:r>
            <a:br>
              <a:rPr lang="ru-RU" sz="2000" dirty="0"/>
            </a:br>
            <a:endParaRPr lang="ru-RU" sz="2000" dirty="0"/>
          </a:p>
          <a:p>
            <a:r>
              <a:rPr lang="ru-RU" sz="2000" dirty="0" smtClean="0"/>
              <a:t>февраль 2016</a:t>
            </a:r>
            <a:endParaRPr lang="en-US" sz="2000" dirty="0"/>
          </a:p>
        </p:txBody>
      </p:sp>
    </p:spTree>
    <p:extLst>
      <p:ext uri="{BB962C8B-B14F-4D97-AF65-F5344CB8AC3E}">
        <p14:creationId xmlns:p14="http://schemas.microsoft.com/office/powerpoint/2010/main" val="4186897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27017" y="509362"/>
            <a:ext cx="10822941" cy="574516"/>
          </a:xfrm>
        </p:spPr>
        <p:txBody>
          <a:bodyPr/>
          <a:lstStyle/>
          <a:p>
            <a:r>
              <a:rPr lang="ru-RU" dirty="0" smtClean="0"/>
              <a:t>Этапы реализации</a:t>
            </a:r>
            <a:endParaRPr lang="en-US" dirty="0"/>
          </a:p>
        </p:txBody>
      </p:sp>
      <p:sp>
        <p:nvSpPr>
          <p:cNvPr id="4" name="TextBox 3"/>
          <p:cNvSpPr txBox="1"/>
          <p:nvPr/>
        </p:nvSpPr>
        <p:spPr>
          <a:xfrm>
            <a:off x="827313" y="1235746"/>
            <a:ext cx="5272169" cy="4794939"/>
          </a:xfrm>
          <a:prstGeom prst="rect">
            <a:avLst/>
          </a:prstGeom>
          <a:solidFill>
            <a:schemeClr val="bg1"/>
          </a:solidFill>
        </p:spPr>
        <p:txBody>
          <a:bodyPr wrap="square" lIns="0" tIns="0" rIns="0" bIns="0" rtlCol="0">
            <a:noAutofit/>
          </a:bodyPr>
          <a:lstStyle/>
          <a:p>
            <a:pPr marL="457200" indent="-457200">
              <a:lnSpc>
                <a:spcPct val="90000"/>
              </a:lnSpc>
              <a:buFont typeface="+mj-lt"/>
              <a:buAutoNum type="arabicPeriod"/>
            </a:pPr>
            <a:r>
              <a:rPr lang="ru-RU" sz="2000" b="1" dirty="0"/>
              <a:t>Общий пул </a:t>
            </a:r>
            <a:r>
              <a:rPr lang="ru-RU" sz="2000" b="1" dirty="0" smtClean="0"/>
              <a:t>ресурсов для широкого класса задач</a:t>
            </a:r>
            <a:br>
              <a:rPr lang="ru-RU" sz="2000" b="1" dirty="0" smtClean="0"/>
            </a:br>
            <a:r>
              <a:rPr lang="ru-RU" dirty="0" smtClean="0">
                <a:solidFill>
                  <a:schemeClr val="accent2">
                    <a:lumMod val="50000"/>
                  </a:schemeClr>
                </a:solidFill>
              </a:rPr>
              <a:t>достигается прежде всего благодаря разделению логическое и физического представления ресурсов;</a:t>
            </a:r>
            <a:br>
              <a:rPr lang="ru-RU" dirty="0" smtClean="0">
                <a:solidFill>
                  <a:schemeClr val="accent2">
                    <a:lumMod val="50000"/>
                  </a:schemeClr>
                </a:solidFill>
              </a:rPr>
            </a:br>
            <a:endParaRPr lang="ru-RU" dirty="0" smtClean="0">
              <a:solidFill>
                <a:schemeClr val="accent2">
                  <a:lumMod val="50000"/>
                </a:schemeClr>
              </a:solidFill>
            </a:endParaRPr>
          </a:p>
          <a:p>
            <a:pPr marL="457200" indent="-457200">
              <a:buClr>
                <a:schemeClr val="accent1">
                  <a:lumMod val="50000"/>
                </a:schemeClr>
              </a:buClr>
              <a:buSzPct val="120000"/>
              <a:buFont typeface="+mj-lt"/>
              <a:buAutoNum type="arabicPeriod"/>
            </a:pPr>
            <a:r>
              <a:rPr lang="ru-RU" sz="2000" b="1" dirty="0"/>
              <a:t>Конвергентные платформы</a:t>
            </a:r>
            <a:r>
              <a:rPr lang="ru-RU" dirty="0" smtClean="0"/>
              <a:t/>
            </a:r>
            <a:br>
              <a:rPr lang="ru-RU" dirty="0" smtClean="0"/>
            </a:br>
            <a:r>
              <a:rPr lang="ru-RU" dirty="0">
                <a:solidFill>
                  <a:schemeClr val="accent2">
                    <a:lumMod val="50000"/>
                  </a:schemeClr>
                </a:solidFill>
              </a:rPr>
              <a:t>использование программно-аппаратных комплексов с </a:t>
            </a:r>
            <a:r>
              <a:rPr lang="ru-RU" dirty="0" smtClean="0">
                <a:solidFill>
                  <a:schemeClr val="accent2">
                    <a:lumMod val="50000"/>
                  </a:schemeClr>
                </a:solidFill>
              </a:rPr>
              <a:t>единой системой </a:t>
            </a:r>
            <a:r>
              <a:rPr lang="ru-RU" dirty="0">
                <a:solidFill>
                  <a:schemeClr val="accent2">
                    <a:lumMod val="50000"/>
                  </a:schemeClr>
                </a:solidFill>
              </a:rPr>
              <a:t>управления ресурсами различной природы;</a:t>
            </a:r>
            <a:r>
              <a:rPr lang="ru-RU" dirty="0" smtClean="0">
                <a:solidFill>
                  <a:schemeClr val="accent2">
                    <a:lumMod val="50000"/>
                  </a:schemeClr>
                </a:solidFill>
              </a:rPr>
              <a:t/>
            </a:r>
            <a:br>
              <a:rPr lang="ru-RU" dirty="0" smtClean="0">
                <a:solidFill>
                  <a:schemeClr val="accent2">
                    <a:lumMod val="50000"/>
                  </a:schemeClr>
                </a:solidFill>
              </a:rPr>
            </a:br>
            <a:endParaRPr lang="ru-RU" dirty="0" smtClean="0">
              <a:solidFill>
                <a:schemeClr val="accent2">
                  <a:lumMod val="50000"/>
                </a:schemeClr>
              </a:solidFill>
            </a:endParaRPr>
          </a:p>
          <a:p>
            <a:pPr marL="457200" indent="-457200">
              <a:buClr>
                <a:schemeClr val="accent1">
                  <a:lumMod val="50000"/>
                </a:schemeClr>
              </a:buClr>
              <a:buSzPct val="120000"/>
              <a:buFont typeface="+mj-lt"/>
              <a:buAutoNum type="arabicPeriod"/>
            </a:pPr>
            <a:r>
              <a:rPr lang="ru-RU" sz="2000" b="1" dirty="0" smtClean="0"/>
              <a:t>Программно-определяемая инфраструктура</a:t>
            </a:r>
            <a:br>
              <a:rPr lang="ru-RU" sz="2000" b="1" dirty="0" smtClean="0"/>
            </a:br>
            <a:r>
              <a:rPr lang="ru-RU" dirty="0">
                <a:solidFill>
                  <a:schemeClr val="accent2">
                    <a:lumMod val="50000"/>
                  </a:schemeClr>
                </a:solidFill>
              </a:rPr>
              <a:t>обеспечивает </a:t>
            </a:r>
            <a:r>
              <a:rPr lang="ru-RU" dirty="0" smtClean="0">
                <a:solidFill>
                  <a:schemeClr val="accent2">
                    <a:lumMod val="50000"/>
                  </a:schemeClr>
                </a:solidFill>
              </a:rPr>
              <a:t>переход к </a:t>
            </a:r>
            <a:r>
              <a:rPr lang="ru-RU" dirty="0" err="1" smtClean="0">
                <a:solidFill>
                  <a:schemeClr val="accent2">
                    <a:lumMod val="50000"/>
                  </a:schemeClr>
                </a:solidFill>
              </a:rPr>
              <a:t>к</a:t>
            </a:r>
            <a:r>
              <a:rPr lang="ru-RU" dirty="0" smtClean="0">
                <a:solidFill>
                  <a:schemeClr val="accent2">
                    <a:lumMod val="50000"/>
                  </a:schemeClr>
                </a:solidFill>
              </a:rPr>
              <a:t> </a:t>
            </a:r>
            <a:r>
              <a:rPr lang="ru-RU" dirty="0">
                <a:solidFill>
                  <a:schemeClr val="accent2">
                    <a:lumMod val="50000"/>
                  </a:schemeClr>
                </a:solidFill>
              </a:rPr>
              <a:t>управлению </a:t>
            </a:r>
            <a:r>
              <a:rPr lang="ru-RU" dirty="0" smtClean="0">
                <a:solidFill>
                  <a:schemeClr val="accent2">
                    <a:lumMod val="50000"/>
                  </a:schemeClr>
                </a:solidFill>
              </a:rPr>
              <a:t>инфраструктурой на базе шаблонов </a:t>
            </a:r>
            <a:r>
              <a:rPr lang="ru-RU" dirty="0">
                <a:solidFill>
                  <a:schemeClr val="accent2">
                    <a:lumMod val="50000"/>
                  </a:schemeClr>
                </a:solidFill>
              </a:rPr>
              <a:t>конфигураций, сценариев </a:t>
            </a:r>
            <a:r>
              <a:rPr lang="ru-RU" dirty="0" smtClean="0">
                <a:solidFill>
                  <a:schemeClr val="accent2">
                    <a:lumMod val="50000"/>
                  </a:schemeClr>
                </a:solidFill>
              </a:rPr>
              <a:t>развертывания; библиотеки </a:t>
            </a:r>
            <a:r>
              <a:rPr lang="ru-RU" dirty="0">
                <a:solidFill>
                  <a:schemeClr val="accent2">
                    <a:lumMod val="50000"/>
                  </a:schemeClr>
                </a:solidFill>
              </a:rPr>
              <a:t>типовых решений</a:t>
            </a:r>
            <a:r>
              <a:rPr lang="ru-RU" dirty="0" smtClean="0">
                <a:solidFill>
                  <a:schemeClr val="accent2">
                    <a:lumMod val="50000"/>
                  </a:schemeClr>
                </a:solidFill>
              </a:rPr>
              <a:t>;</a:t>
            </a:r>
            <a:br>
              <a:rPr lang="ru-RU" dirty="0" smtClean="0">
                <a:solidFill>
                  <a:schemeClr val="accent2">
                    <a:lumMod val="50000"/>
                  </a:schemeClr>
                </a:solidFill>
              </a:rPr>
            </a:br>
            <a:endParaRPr lang="ru-RU" dirty="0" smtClean="0">
              <a:solidFill>
                <a:schemeClr val="accent2">
                  <a:lumMod val="50000"/>
                </a:schemeClr>
              </a:solidFill>
            </a:endParaRPr>
          </a:p>
        </p:txBody>
      </p:sp>
      <p:sp>
        <p:nvSpPr>
          <p:cNvPr id="5" name="TextBox 4"/>
          <p:cNvSpPr txBox="1"/>
          <p:nvPr/>
        </p:nvSpPr>
        <p:spPr>
          <a:xfrm>
            <a:off x="6640285" y="1796143"/>
            <a:ext cx="5272169" cy="4267199"/>
          </a:xfrm>
          <a:prstGeom prst="rect">
            <a:avLst/>
          </a:prstGeom>
          <a:solidFill>
            <a:schemeClr val="bg1"/>
          </a:solidFill>
        </p:spPr>
        <p:txBody>
          <a:bodyPr wrap="square" lIns="0" tIns="0" rIns="0" bIns="0" rtlCol="0">
            <a:noAutofit/>
          </a:bodyPr>
          <a:lstStyle/>
          <a:p>
            <a:pPr marL="457200" indent="-457200">
              <a:lnSpc>
                <a:spcPct val="90000"/>
              </a:lnSpc>
              <a:buFont typeface="+mj-lt"/>
              <a:buAutoNum type="arabicPeriod" startAt="4"/>
            </a:pPr>
            <a:r>
              <a:rPr lang="ru-RU" sz="2000" b="1" dirty="0"/>
              <a:t>Программно-определяемый сервис приложений</a:t>
            </a:r>
            <a:r>
              <a:rPr lang="ru-RU" sz="2000" b="1" dirty="0" smtClean="0"/>
              <a:t/>
            </a:r>
            <a:br>
              <a:rPr lang="ru-RU" sz="2000" b="1" dirty="0" smtClean="0"/>
            </a:br>
            <a:r>
              <a:rPr lang="ru-RU" dirty="0" smtClean="0">
                <a:solidFill>
                  <a:schemeClr val="accent2">
                    <a:lumMod val="50000"/>
                  </a:schemeClr>
                </a:solidFill>
              </a:rPr>
              <a:t>использование модульной архитектуры на основе технологии </a:t>
            </a:r>
            <a:r>
              <a:rPr lang="ru-RU" dirty="0" err="1">
                <a:solidFill>
                  <a:schemeClr val="accent2">
                    <a:lumMod val="50000"/>
                  </a:schemeClr>
                </a:solidFill>
              </a:rPr>
              <a:t>OpenStack</a:t>
            </a:r>
            <a:r>
              <a:rPr lang="ru-RU" dirty="0">
                <a:solidFill>
                  <a:schemeClr val="accent2">
                    <a:lumMod val="50000"/>
                  </a:schemeClr>
                </a:solidFill>
              </a:rPr>
              <a:t> </a:t>
            </a:r>
            <a:r>
              <a:rPr lang="ru-RU" dirty="0" smtClean="0">
                <a:solidFill>
                  <a:schemeClr val="accent2">
                    <a:lumMod val="50000"/>
                  </a:schemeClr>
                </a:solidFill>
              </a:rPr>
              <a:t> </a:t>
            </a:r>
            <a:r>
              <a:rPr lang="ru-RU" dirty="0">
                <a:solidFill>
                  <a:schemeClr val="accent2">
                    <a:lumMod val="50000"/>
                  </a:schemeClr>
                </a:solidFill>
              </a:rPr>
              <a:t>где каждый компонент обменивается с другими компонентами посредством интерфейсов </a:t>
            </a:r>
            <a:r>
              <a:rPr lang="ru-RU" dirty="0" err="1">
                <a:solidFill>
                  <a:schemeClr val="accent2">
                    <a:lumMod val="50000"/>
                  </a:schemeClr>
                </a:solidFill>
              </a:rPr>
              <a:t>RESTful</a:t>
            </a:r>
            <a:r>
              <a:rPr lang="ru-RU" dirty="0">
                <a:solidFill>
                  <a:schemeClr val="accent2">
                    <a:lumMod val="50000"/>
                  </a:schemeClr>
                </a:solidFill>
              </a:rPr>
              <a:t> API;</a:t>
            </a:r>
            <a:r>
              <a:rPr lang="ru-RU" dirty="0" smtClean="0">
                <a:solidFill>
                  <a:schemeClr val="accent2">
                    <a:lumMod val="50000"/>
                  </a:schemeClr>
                </a:solidFill>
              </a:rPr>
              <a:t/>
            </a:r>
            <a:br>
              <a:rPr lang="ru-RU" dirty="0" smtClean="0">
                <a:solidFill>
                  <a:schemeClr val="accent2">
                    <a:lumMod val="50000"/>
                  </a:schemeClr>
                </a:solidFill>
              </a:rPr>
            </a:br>
            <a:endParaRPr lang="ru-RU" dirty="0" smtClean="0">
              <a:solidFill>
                <a:schemeClr val="accent2">
                  <a:lumMod val="50000"/>
                </a:schemeClr>
              </a:solidFill>
            </a:endParaRPr>
          </a:p>
          <a:p>
            <a:pPr marL="457200" indent="-457200">
              <a:buClr>
                <a:schemeClr val="accent1">
                  <a:lumMod val="50000"/>
                </a:schemeClr>
              </a:buClr>
              <a:buSzPct val="120000"/>
              <a:buFont typeface="+mj-lt"/>
              <a:buAutoNum type="arabicPeriod" startAt="4"/>
            </a:pPr>
            <a:r>
              <a:rPr lang="ru-RU" sz="2000" b="1" dirty="0"/>
              <a:t>ИТ, где всё определяется </a:t>
            </a:r>
            <a:r>
              <a:rPr lang="ru-RU" sz="2000" b="1" dirty="0" err="1"/>
              <a:t>программно</a:t>
            </a:r>
            <a:r>
              <a:rPr lang="ru-RU" dirty="0" smtClean="0"/>
              <a:t/>
            </a:r>
            <a:br>
              <a:rPr lang="ru-RU" dirty="0" smtClean="0"/>
            </a:br>
            <a:r>
              <a:rPr lang="ru-RU" dirty="0" smtClean="0">
                <a:solidFill>
                  <a:schemeClr val="accent2">
                    <a:lumMod val="50000"/>
                  </a:schemeClr>
                </a:solidFill>
              </a:rPr>
              <a:t>использование средств координации и интеграции систем от разных производителей в среду </a:t>
            </a:r>
            <a:r>
              <a:rPr lang="ru-RU" dirty="0" err="1">
                <a:solidFill>
                  <a:schemeClr val="accent2">
                    <a:lumMod val="50000"/>
                  </a:schemeClr>
                </a:solidFill>
              </a:rPr>
              <a:t>OpenStack</a:t>
            </a:r>
            <a:r>
              <a:rPr lang="ru-RU" dirty="0" smtClean="0">
                <a:solidFill>
                  <a:schemeClr val="accent2">
                    <a:lumMod val="50000"/>
                  </a:schemeClr>
                </a:solidFill>
              </a:rPr>
              <a:t>;</a:t>
            </a:r>
            <a:br>
              <a:rPr lang="ru-RU" dirty="0" smtClean="0">
                <a:solidFill>
                  <a:schemeClr val="accent2">
                    <a:lumMod val="50000"/>
                  </a:schemeClr>
                </a:solidFill>
              </a:rPr>
            </a:br>
            <a:endParaRPr lang="ru-RU" dirty="0" smtClean="0">
              <a:solidFill>
                <a:schemeClr val="accent2">
                  <a:lumMod val="50000"/>
                </a:schemeClr>
              </a:solidFill>
            </a:endParaRPr>
          </a:p>
        </p:txBody>
      </p:sp>
    </p:spTree>
    <p:extLst>
      <p:ext uri="{BB962C8B-B14F-4D97-AF65-F5344CB8AC3E}">
        <p14:creationId xmlns:p14="http://schemas.microsoft.com/office/powerpoint/2010/main" val="3299875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097" y="2557272"/>
            <a:ext cx="9351423" cy="2286000"/>
          </a:xfrm>
        </p:spPr>
        <p:txBody>
          <a:bodyPr/>
          <a:lstStyle/>
          <a:p>
            <a:r>
              <a:rPr lang="ru-RU" sz="6000" dirty="0"/>
              <a:t>Спасибо за внимание!</a:t>
            </a:r>
            <a:endParaRPr lang="en-US" sz="6000" dirty="0"/>
          </a:p>
        </p:txBody>
      </p:sp>
      <p:sp>
        <p:nvSpPr>
          <p:cNvPr id="3" name="Text Placeholder 2"/>
          <p:cNvSpPr>
            <a:spLocks noGrp="1"/>
          </p:cNvSpPr>
          <p:nvPr>
            <p:ph type="body" sz="quarter" idx="13"/>
          </p:nvPr>
        </p:nvSpPr>
        <p:spPr/>
        <p:txBody>
          <a:bodyPr/>
          <a:lstStyle/>
          <a:p>
            <a:r>
              <a:rPr lang="en-US" dirty="0" smtClean="0"/>
              <a:t>Alexander.Starygin@hpe.com</a:t>
            </a:r>
            <a:endParaRPr lang="en-US" dirty="0"/>
          </a:p>
        </p:txBody>
      </p:sp>
      <p:sp>
        <p:nvSpPr>
          <p:cNvPr id="4" name="Slide Number Placeholder 3"/>
          <p:cNvSpPr>
            <a:spLocks noGrp="1"/>
          </p:cNvSpPr>
          <p:nvPr>
            <p:ph type="sldNum" sz="quarter" idx="17"/>
          </p:nvPr>
        </p:nvSpPr>
        <p:spPr/>
        <p:txBody>
          <a:bodyPr/>
          <a:lstStyle/>
          <a:p>
            <a:fld id="{B016F8AB-BCEA-4347-8BA6-BE776009BC89}" type="slidenum">
              <a:rPr lang="en-US" smtClean="0"/>
              <a:pPr/>
              <a:t>11</a:t>
            </a:fld>
            <a:endParaRPr lang="en-US"/>
          </a:p>
        </p:txBody>
      </p:sp>
    </p:spTree>
    <p:extLst>
      <p:ext uri="{BB962C8B-B14F-4D97-AF65-F5344CB8AC3E}">
        <p14:creationId xmlns:p14="http://schemas.microsoft.com/office/powerpoint/2010/main" val="3405949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4077" y="509303"/>
            <a:ext cx="11498511" cy="574367"/>
          </a:xfrm>
        </p:spPr>
        <p:txBody>
          <a:bodyPr/>
          <a:lstStyle/>
          <a:p>
            <a:r>
              <a:rPr lang="ru-RU" dirty="0" smtClean="0"/>
              <a:t>Смена модели потребления</a:t>
            </a:r>
            <a:endParaRPr lang="en-US" dirty="0"/>
          </a:p>
        </p:txBody>
      </p:sp>
      <p:grpSp>
        <p:nvGrpSpPr>
          <p:cNvPr id="14" name="Group 13"/>
          <p:cNvGrpSpPr/>
          <p:nvPr/>
        </p:nvGrpSpPr>
        <p:grpSpPr>
          <a:xfrm>
            <a:off x="3826446" y="1861457"/>
            <a:ext cx="2156177" cy="2113901"/>
            <a:chOff x="3826446" y="1861457"/>
            <a:chExt cx="2156177" cy="2113901"/>
          </a:xfrm>
        </p:grpSpPr>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07974" y="1861457"/>
              <a:ext cx="1687286" cy="1687286"/>
            </a:xfrm>
            <a:prstGeom prst="rect">
              <a:avLst/>
            </a:prstGeom>
            <a:solidFill>
              <a:schemeClr val="tx1"/>
            </a:solidFill>
            <a:ln>
              <a:noFill/>
            </a:ln>
          </p:spPr>
        </p:pic>
        <p:sp>
          <p:nvSpPr>
            <p:cNvPr id="69" name="Rectangle 9"/>
            <p:cNvSpPr>
              <a:spLocks noChangeArrowheads="1"/>
            </p:cNvSpPr>
            <p:nvPr/>
          </p:nvSpPr>
          <p:spPr bwMode="auto">
            <a:xfrm>
              <a:off x="3826446" y="3400714"/>
              <a:ext cx="2156177" cy="574644"/>
            </a:xfrm>
            <a:prstGeom prst="rect">
              <a:avLst/>
            </a:prstGeom>
            <a:noFill/>
            <a:ln>
              <a:noFill/>
            </a:ln>
          </p:spPr>
          <p:txBody>
            <a:bodyPr vert="horz" wrap="square" lIns="9143" tIns="0" rIns="9143"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8"/>
              <a:r>
                <a:rPr lang="ru-RU" altLang="en-US" dirty="0">
                  <a:solidFill>
                    <a:prstClr val="black"/>
                  </a:solidFill>
                  <a:latin typeface="+mn-lt"/>
                </a:rPr>
                <a:t>Персонификация товаров и услуг</a:t>
              </a:r>
              <a:endParaRPr lang="en-US" altLang="en-US" dirty="0">
                <a:solidFill>
                  <a:prstClr val="black"/>
                </a:solidFill>
                <a:latin typeface="+mn-lt"/>
              </a:endParaRPr>
            </a:p>
          </p:txBody>
        </p:sp>
      </p:grpSp>
      <p:grpSp>
        <p:nvGrpSpPr>
          <p:cNvPr id="13" name="Group 12"/>
          <p:cNvGrpSpPr/>
          <p:nvPr/>
        </p:nvGrpSpPr>
        <p:grpSpPr>
          <a:xfrm>
            <a:off x="829636" y="1873649"/>
            <a:ext cx="2566707" cy="2963677"/>
            <a:chOff x="829636" y="1873649"/>
            <a:chExt cx="2566707" cy="2963677"/>
          </a:xfrm>
        </p:grpSpPr>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1277" y="1873649"/>
              <a:ext cx="1675094" cy="1675094"/>
            </a:xfrm>
            <a:prstGeom prst="rect">
              <a:avLst/>
            </a:prstGeom>
            <a:ln>
              <a:noFill/>
            </a:ln>
          </p:spPr>
        </p:pic>
        <p:sp>
          <p:nvSpPr>
            <p:cNvPr id="92" name="Rectangle 9"/>
            <p:cNvSpPr>
              <a:spLocks noChangeArrowheads="1"/>
            </p:cNvSpPr>
            <p:nvPr/>
          </p:nvSpPr>
          <p:spPr bwMode="auto">
            <a:xfrm>
              <a:off x="829636" y="3400714"/>
              <a:ext cx="2566707" cy="1436612"/>
            </a:xfrm>
            <a:prstGeom prst="rect">
              <a:avLst/>
            </a:prstGeom>
            <a:noFill/>
            <a:ln>
              <a:noFill/>
            </a:ln>
          </p:spPr>
          <p:txBody>
            <a:bodyPr vert="horz" wrap="square" lIns="9143" tIns="0" rIns="9143"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8"/>
              <a:r>
                <a:rPr lang="ru-RU" altLang="en-US" dirty="0">
                  <a:solidFill>
                    <a:prstClr val="black"/>
                  </a:solidFill>
                  <a:latin typeface="+mn-lt"/>
                </a:rPr>
                <a:t>Предпочтения Заказчиков  быстро меняются. Налицо </a:t>
              </a:r>
              <a:br>
                <a:rPr lang="ru-RU" altLang="en-US" dirty="0">
                  <a:solidFill>
                    <a:prstClr val="black"/>
                  </a:solidFill>
                  <a:latin typeface="+mn-lt"/>
                </a:rPr>
              </a:br>
              <a:r>
                <a:rPr lang="ru-RU" altLang="en-US" dirty="0">
                  <a:solidFill>
                    <a:prstClr val="black"/>
                  </a:solidFill>
                  <a:latin typeface="+mn-lt"/>
                </a:rPr>
                <a:t>иное отношение к «сбережению» </a:t>
              </a:r>
              <a:endParaRPr lang="en-US" altLang="en-US" dirty="0">
                <a:solidFill>
                  <a:prstClr val="black"/>
                </a:solidFill>
                <a:latin typeface="+mn-lt"/>
              </a:endParaRPr>
            </a:p>
          </p:txBody>
        </p:sp>
      </p:grpSp>
      <p:grpSp>
        <p:nvGrpSpPr>
          <p:cNvPr id="15" name="Group 14"/>
          <p:cNvGrpSpPr/>
          <p:nvPr/>
        </p:nvGrpSpPr>
        <p:grpSpPr>
          <a:xfrm>
            <a:off x="6248400" y="1862761"/>
            <a:ext cx="2641601" cy="2974565"/>
            <a:chOff x="6248400" y="1862761"/>
            <a:chExt cx="2641601" cy="2974565"/>
          </a:xfrm>
        </p:grpSpPr>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47676" y="1862761"/>
              <a:ext cx="1685981" cy="1685981"/>
            </a:xfrm>
            <a:prstGeom prst="rect">
              <a:avLst/>
            </a:prstGeom>
            <a:solidFill>
              <a:schemeClr val="tx1"/>
            </a:solidFill>
            <a:ln>
              <a:noFill/>
            </a:ln>
          </p:spPr>
        </p:pic>
        <p:sp>
          <p:nvSpPr>
            <p:cNvPr id="112" name="Rectangle 9"/>
            <p:cNvSpPr>
              <a:spLocks noChangeArrowheads="1"/>
            </p:cNvSpPr>
            <p:nvPr/>
          </p:nvSpPr>
          <p:spPr bwMode="auto">
            <a:xfrm>
              <a:off x="6248400" y="3400714"/>
              <a:ext cx="2641601" cy="1436612"/>
            </a:xfrm>
            <a:prstGeom prst="rect">
              <a:avLst/>
            </a:prstGeom>
            <a:noFill/>
            <a:ln>
              <a:noFill/>
            </a:ln>
          </p:spPr>
          <p:txBody>
            <a:bodyPr vert="horz" wrap="square" lIns="9143" tIns="0" rIns="9143"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8"/>
              <a:r>
                <a:rPr lang="ru-RU" altLang="en-US" dirty="0">
                  <a:solidFill>
                    <a:prstClr val="black"/>
                  </a:solidFill>
                  <a:latin typeface="+mn-lt"/>
                </a:rPr>
                <a:t>Цифровой бизнес: анализ использования продукции, управление ожиданиями клиентов, </a:t>
              </a:r>
              <a:r>
                <a:rPr lang="ru-RU" altLang="en-US" dirty="0" err="1">
                  <a:solidFill>
                    <a:prstClr val="black"/>
                  </a:solidFill>
                  <a:latin typeface="+mn-lt"/>
                </a:rPr>
                <a:t>проактивность</a:t>
              </a:r>
              <a:endParaRPr lang="en-US" altLang="en-US" dirty="0">
                <a:solidFill>
                  <a:prstClr val="black"/>
                </a:solidFill>
                <a:latin typeface="+mn-lt"/>
              </a:endParaRPr>
            </a:p>
          </p:txBody>
        </p:sp>
      </p:grpSp>
      <p:grpSp>
        <p:nvGrpSpPr>
          <p:cNvPr id="16" name="Group 15"/>
          <p:cNvGrpSpPr/>
          <p:nvPr/>
        </p:nvGrpSpPr>
        <p:grpSpPr>
          <a:xfrm>
            <a:off x="9366955" y="1850570"/>
            <a:ext cx="2585156" cy="2412110"/>
            <a:chOff x="9366955" y="1850570"/>
            <a:chExt cx="2585156" cy="2412110"/>
          </a:xfrm>
        </p:grpSpPr>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460989" y="1850570"/>
              <a:ext cx="1709057" cy="1709057"/>
            </a:xfrm>
            <a:prstGeom prst="rect">
              <a:avLst/>
            </a:prstGeom>
            <a:solidFill>
              <a:schemeClr val="tx1"/>
            </a:solidFill>
            <a:ln>
              <a:noFill/>
            </a:ln>
          </p:spPr>
        </p:pic>
        <p:sp>
          <p:nvSpPr>
            <p:cNvPr id="114" name="Rectangle 9"/>
            <p:cNvSpPr>
              <a:spLocks noChangeArrowheads="1"/>
            </p:cNvSpPr>
            <p:nvPr/>
          </p:nvSpPr>
          <p:spPr bwMode="auto">
            <a:xfrm>
              <a:off x="9366955" y="3400714"/>
              <a:ext cx="2585156" cy="861966"/>
            </a:xfrm>
            <a:prstGeom prst="rect">
              <a:avLst/>
            </a:prstGeom>
            <a:noFill/>
            <a:ln>
              <a:noFill/>
            </a:ln>
          </p:spPr>
          <p:txBody>
            <a:bodyPr vert="horz" wrap="square" lIns="9143" tIns="0" rIns="9143"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148"/>
              <a:r>
                <a:rPr lang="ru-RU" altLang="en-US" dirty="0">
                  <a:solidFill>
                    <a:prstClr val="black"/>
                  </a:solidFill>
                  <a:latin typeface="+mn-lt"/>
                </a:rPr>
                <a:t>Востребованность коммунальной модели «</a:t>
              </a:r>
              <a:r>
                <a:rPr lang="ru-RU" kern="0" noProof="1">
                  <a:solidFill>
                    <a:prstClr val="black"/>
                  </a:solidFill>
                  <a:latin typeface="+mn-lt"/>
                  <a:cs typeface="HP Simplified" pitchFamily="34" charset="0"/>
                </a:rPr>
                <a:t>Все-как-сервис</a:t>
              </a:r>
              <a:r>
                <a:rPr lang="ru-RU" altLang="en-US" dirty="0">
                  <a:solidFill>
                    <a:prstClr val="black"/>
                  </a:solidFill>
                  <a:latin typeface="+mn-lt"/>
                </a:rPr>
                <a:t>»</a:t>
              </a:r>
              <a:endParaRPr lang="en-US" altLang="en-US" dirty="0">
                <a:solidFill>
                  <a:prstClr val="black"/>
                </a:solidFill>
                <a:latin typeface="+mn-lt"/>
              </a:endParaRPr>
            </a:p>
          </p:txBody>
        </p:sp>
      </p:grpSp>
    </p:spTree>
    <p:extLst>
      <p:ext uri="{BB962C8B-B14F-4D97-AF65-F5344CB8AC3E}">
        <p14:creationId xmlns:p14="http://schemas.microsoft.com/office/powerpoint/2010/main" val="233309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100511"/>
            <a:ext cx="12192000" cy="2286000"/>
          </a:xfrm>
          <a:prstGeom prst="rect">
            <a:avLst/>
          </a:prstGeom>
        </p:spPr>
      </p:pic>
      <p:sp>
        <p:nvSpPr>
          <p:cNvPr id="2" name="Title 1"/>
          <p:cNvSpPr>
            <a:spLocks noGrp="1"/>
          </p:cNvSpPr>
          <p:nvPr>
            <p:ph type="title"/>
          </p:nvPr>
        </p:nvSpPr>
        <p:spPr>
          <a:xfrm>
            <a:off x="609440" y="519236"/>
            <a:ext cx="11016608" cy="852364"/>
          </a:xfrm>
        </p:spPr>
        <p:txBody>
          <a:bodyPr/>
          <a:lstStyle/>
          <a:p>
            <a:r>
              <a:rPr lang="ru-RU" dirty="0" smtClean="0">
                <a:latin typeface="Arial" panose="020B0604020202020204" pitchFamily="34" charset="0"/>
                <a:cs typeface="Arial" panose="020B0604020202020204" pitchFamily="34" charset="0"/>
              </a:rPr>
              <a:t>Экономика идей </a:t>
            </a:r>
            <a:endParaRPr lang="en-US" dirty="0">
              <a:latin typeface="Arial" panose="020B0604020202020204" pitchFamily="34" charset="0"/>
              <a:cs typeface="Arial" panose="020B0604020202020204" pitchFamily="34" charset="0"/>
            </a:endParaRPr>
          </a:p>
        </p:txBody>
      </p:sp>
      <p:sp>
        <p:nvSpPr>
          <p:cNvPr id="22" name="Rectangle 21"/>
          <p:cNvSpPr/>
          <p:nvPr/>
        </p:nvSpPr>
        <p:spPr>
          <a:xfrm>
            <a:off x="608012" y="437706"/>
            <a:ext cx="10972800" cy="18288"/>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solidFill>
                <a:prstClr val="white"/>
              </a:solidFill>
              <a:cs typeface="Arial" panose="020B0604020202020204" pitchFamily="34" charset="0"/>
            </a:endParaRPr>
          </a:p>
        </p:txBody>
      </p:sp>
      <p:grpSp>
        <p:nvGrpSpPr>
          <p:cNvPr id="23" name="Group 22"/>
          <p:cNvGrpSpPr/>
          <p:nvPr/>
        </p:nvGrpSpPr>
        <p:grpSpPr>
          <a:xfrm>
            <a:off x="610272" y="6248401"/>
            <a:ext cx="969471" cy="390524"/>
            <a:chOff x="3578225" y="1146175"/>
            <a:chExt cx="5038725" cy="2111375"/>
          </a:xfrm>
        </p:grpSpPr>
        <p:sp>
          <p:nvSpPr>
            <p:cNvPr id="24"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cs typeface="Arial" panose="020B0604020202020204" pitchFamily="34" charset="0"/>
              </a:endParaRPr>
            </a:p>
          </p:txBody>
        </p:sp>
        <p:sp>
          <p:nvSpPr>
            <p:cNvPr id="25"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solidFill>
                  <a:prstClr val="black"/>
                </a:solidFill>
                <a:cs typeface="Arial" panose="020B0604020202020204" pitchFamily="34" charset="0"/>
              </a:endParaRPr>
            </a:p>
          </p:txBody>
        </p:sp>
      </p:grpSp>
      <p:sp>
        <p:nvSpPr>
          <p:cNvPr id="37" name="Rectangle 36"/>
          <p:cNvSpPr/>
          <p:nvPr/>
        </p:nvSpPr>
        <p:spPr bwMode="gray">
          <a:xfrm>
            <a:off x="255161" y="3564407"/>
            <a:ext cx="5394524" cy="1225308"/>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ru-RU" sz="2000" dirty="0"/>
              <a:t>Многообразие </a:t>
            </a:r>
            <a:r>
              <a:rPr lang="ru-RU" sz="2000" dirty="0" smtClean="0"/>
              <a:t>технологических </a:t>
            </a:r>
            <a:r>
              <a:rPr lang="ru-RU" sz="2000" dirty="0"/>
              <a:t>инноваций, </a:t>
            </a:r>
            <a:r>
              <a:rPr lang="ru-RU" sz="2000" dirty="0" smtClean="0"/>
              <a:t>открывающих </a:t>
            </a:r>
            <a:r>
              <a:rPr lang="ru-RU" sz="2000" dirty="0"/>
              <a:t>новые возможности для </a:t>
            </a:r>
            <a:r>
              <a:rPr lang="ru-RU" sz="2000" dirty="0" smtClean="0"/>
              <a:t/>
            </a:r>
            <a:br>
              <a:rPr lang="ru-RU" sz="2000" dirty="0" smtClean="0"/>
            </a:br>
            <a:r>
              <a:rPr lang="ru-RU" sz="2000" dirty="0" smtClean="0"/>
              <a:t>реализации идей </a:t>
            </a:r>
            <a:endParaRPr lang="en-US" sz="2000" dirty="0">
              <a:solidFill>
                <a:prstClr val="white"/>
              </a:solidFill>
              <a:cs typeface="Arial" panose="020B0604020202020204" pitchFamily="34" charset="0"/>
            </a:endParaRPr>
          </a:p>
        </p:txBody>
      </p:sp>
      <p:sp>
        <p:nvSpPr>
          <p:cNvPr id="20" name="Rectangle 19"/>
          <p:cNvSpPr/>
          <p:nvPr/>
        </p:nvSpPr>
        <p:spPr bwMode="gray">
          <a:xfrm>
            <a:off x="223373" y="4888981"/>
            <a:ext cx="5426311" cy="1250562"/>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181">
              <a:defRPr/>
            </a:pPr>
            <a:r>
              <a:rPr lang="ru-RU" sz="2000" kern="0">
                <a:solidFill>
                  <a:prstClr val="white"/>
                </a:solidFill>
                <a:cs typeface="Arial" panose="020B0604020202020204" pitchFamily="34" charset="0"/>
              </a:rPr>
              <a:t>Возможность сравнительно легко получить доступ к ИТ-инфраструктуре и ИТ-ресурсам корпоративного класса</a:t>
            </a:r>
            <a:endParaRPr lang="en-US" sz="2000" kern="0" dirty="0">
              <a:solidFill>
                <a:prstClr val="white"/>
              </a:solidFill>
              <a:cs typeface="Arial" panose="020B0604020202020204" pitchFamily="34" charset="0"/>
            </a:endParaRPr>
          </a:p>
        </p:txBody>
      </p:sp>
      <p:sp>
        <p:nvSpPr>
          <p:cNvPr id="26" name="Rectangle 25"/>
          <p:cNvSpPr/>
          <p:nvPr/>
        </p:nvSpPr>
        <p:spPr bwMode="gray">
          <a:xfrm>
            <a:off x="7249885" y="4234530"/>
            <a:ext cx="4809309" cy="1338955"/>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ru-RU" sz="2400" dirty="0" smtClean="0"/>
              <a:t>Путь </a:t>
            </a:r>
            <a:r>
              <a:rPr lang="ru-RU" sz="2400" dirty="0"/>
              <a:t>от идеи до ее реализации радикально сократился</a:t>
            </a:r>
            <a:endParaRPr lang="en-US" sz="2400" dirty="0">
              <a:solidFill>
                <a:prstClr val="white"/>
              </a:solidFill>
              <a:cs typeface="Arial" panose="020B0604020202020204" pitchFamily="34" charset="0"/>
            </a:endParaRPr>
          </a:p>
        </p:txBody>
      </p:sp>
      <p:sp>
        <p:nvSpPr>
          <p:cNvPr id="3" name="Striped Right Arrow 2"/>
          <p:cNvSpPr/>
          <p:nvPr/>
        </p:nvSpPr>
        <p:spPr bwMode="ltGray">
          <a:xfrm>
            <a:off x="5867400" y="4191001"/>
            <a:ext cx="1251857" cy="1328057"/>
          </a:xfrm>
          <a:prstGeom prst="stripedRightArrow">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Tree>
    <p:extLst>
      <p:ext uri="{BB962C8B-B14F-4D97-AF65-F5344CB8AC3E}">
        <p14:creationId xmlns:p14="http://schemas.microsoft.com/office/powerpoint/2010/main" val="3273425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20" grpId="0" animBg="1"/>
      <p:bldP spid="26" grpId="0" animBg="1"/>
      <p:bldP spid="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521208"/>
            <a:ext cx="11482154" cy="411480"/>
          </a:xfrm>
        </p:spPr>
        <p:txBody>
          <a:bodyPr/>
          <a:lstStyle/>
          <a:p>
            <a:r>
              <a:rPr lang="ru-RU" altLang="en-US" dirty="0" smtClean="0"/>
              <a:t>ИТ как производная модели экономики</a:t>
            </a:r>
            <a:endParaRPr lang="en-US" altLang="en-US" dirty="0"/>
          </a:p>
        </p:txBody>
      </p:sp>
      <p:pic>
        <p:nvPicPr>
          <p:cNvPr id="9" name="Picture 8"/>
          <p:cNvPicPr>
            <a:picLocks noChangeAspect="1"/>
          </p:cNvPicPr>
          <p:nvPr/>
        </p:nvPicPr>
        <p:blipFill rotWithShape="1">
          <a:blip r:embed="rId3"/>
          <a:srcRect l="18071" t="32341" r="76111" b="53104"/>
          <a:stretch/>
        </p:blipFill>
        <p:spPr>
          <a:xfrm>
            <a:off x="3149835" y="1411329"/>
            <a:ext cx="2228327" cy="1746343"/>
          </a:xfrm>
          <a:prstGeom prst="rect">
            <a:avLst/>
          </a:prstGeom>
          <a:noFill/>
        </p:spPr>
      </p:pic>
      <p:pic>
        <p:nvPicPr>
          <p:cNvPr id="58" name="Picture 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99324" y="2327532"/>
            <a:ext cx="980318" cy="1960638"/>
          </a:xfrm>
          <a:prstGeom prst="rect">
            <a:avLst/>
          </a:prstGeom>
        </p:spPr>
      </p:pic>
      <p:cxnSp>
        <p:nvCxnSpPr>
          <p:cNvPr id="108" name="Straight Connector 107"/>
          <p:cNvCxnSpPr/>
          <p:nvPr/>
        </p:nvCxnSpPr>
        <p:spPr>
          <a:xfrm>
            <a:off x="6299884" y="4367405"/>
            <a:ext cx="0" cy="410310"/>
          </a:xfrm>
          <a:prstGeom prst="line">
            <a:avLst/>
          </a:prstGeom>
          <a:ln w="76200">
            <a:solidFill>
              <a:srgbClr val="00B388"/>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6094834" y="4367405"/>
            <a:ext cx="0" cy="41031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H="1" flipV="1">
            <a:off x="6258688" y="4774322"/>
            <a:ext cx="2011680" cy="3393"/>
          </a:xfrm>
          <a:prstGeom prst="line">
            <a:avLst/>
          </a:prstGeom>
          <a:ln w="76200">
            <a:solidFill>
              <a:srgbClr val="00B388"/>
            </a:solidFill>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flipV="1">
            <a:off x="8234547" y="4332826"/>
            <a:ext cx="0" cy="457200"/>
          </a:xfrm>
          <a:prstGeom prst="straightConnector1">
            <a:avLst/>
          </a:prstGeom>
          <a:ln w="76200">
            <a:solidFill>
              <a:srgbClr val="00B388"/>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H="1" flipV="1">
            <a:off x="4115238" y="4758219"/>
            <a:ext cx="2011680" cy="3393"/>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flipV="1">
            <a:off x="4155343" y="4341760"/>
            <a:ext cx="0" cy="457200"/>
          </a:xfrm>
          <a:prstGeom prst="straightConnector1">
            <a:avLst/>
          </a:prstGeom>
          <a:ln w="762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 name="Pentagon 15"/>
          <p:cNvSpPr/>
          <p:nvPr/>
        </p:nvSpPr>
        <p:spPr bwMode="ltGray">
          <a:xfrm>
            <a:off x="6216080" y="5006760"/>
            <a:ext cx="1436728" cy="625642"/>
          </a:xfrm>
          <a:prstGeom prst="homePlate">
            <a:avLst/>
          </a:prstGeom>
          <a:solidFill>
            <a:srgbClr val="00B388"/>
          </a:solidFill>
          <a:ln w="1905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solidFill>
                <a:prstClr val="white"/>
              </a:solidFill>
            </a:endParaRPr>
          </a:p>
        </p:txBody>
      </p:sp>
      <p:sp>
        <p:nvSpPr>
          <p:cNvPr id="114" name="Pentagon 113"/>
          <p:cNvSpPr/>
          <p:nvPr/>
        </p:nvSpPr>
        <p:spPr bwMode="ltGray">
          <a:xfrm flipH="1">
            <a:off x="4758910" y="5006760"/>
            <a:ext cx="1436728" cy="625642"/>
          </a:xfrm>
          <a:prstGeom prst="homePlate">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solidFill>
                <a:prstClr val="white"/>
              </a:solidFill>
            </a:endParaRPr>
          </a:p>
        </p:txBody>
      </p:sp>
      <p:sp>
        <p:nvSpPr>
          <p:cNvPr id="17" name="Rectangle 16"/>
          <p:cNvSpPr/>
          <p:nvPr/>
        </p:nvSpPr>
        <p:spPr>
          <a:xfrm>
            <a:off x="4706112" y="4998719"/>
            <a:ext cx="3060192" cy="590675"/>
          </a:xfrm>
          <a:prstGeom prst="rect">
            <a:avLst/>
          </a:prstGeom>
        </p:spPr>
        <p:txBody>
          <a:bodyPr wrap="square">
            <a:spAutoFit/>
          </a:bodyPr>
          <a:lstStyle/>
          <a:p>
            <a:pPr algn="ctr" defTabSz="914126">
              <a:lnSpc>
                <a:spcPct val="90000"/>
              </a:lnSpc>
            </a:pPr>
            <a:r>
              <a:rPr lang="ru-RU" altLang="en-US" sz="1799" dirty="0" smtClean="0">
                <a:solidFill>
                  <a:prstClr val="white"/>
                </a:solidFill>
                <a:latin typeface="Metric Bold"/>
                <a:cs typeface="Arial" panose="020B0604020202020204" pitchFamily="34" charset="0"/>
              </a:rPr>
              <a:t>Как согласовать  требования</a:t>
            </a:r>
            <a:r>
              <a:rPr lang="en-US" altLang="en-US" sz="1799" dirty="0" smtClean="0">
                <a:solidFill>
                  <a:prstClr val="white"/>
                </a:solidFill>
                <a:latin typeface="Metric Bold"/>
                <a:cs typeface="Arial" panose="020B0604020202020204" pitchFamily="34" charset="0"/>
              </a:rPr>
              <a:t>?</a:t>
            </a:r>
            <a:endParaRPr lang="en-US" altLang="en-US" sz="1799" dirty="0">
              <a:solidFill>
                <a:prstClr val="white"/>
              </a:solidFill>
              <a:latin typeface="Metric Bold"/>
            </a:endParaRPr>
          </a:p>
        </p:txBody>
      </p:sp>
      <p:pic>
        <p:nvPicPr>
          <p:cNvPr id="115" name="Picture 114"/>
          <p:cNvPicPr>
            <a:picLocks noChangeAspect="1"/>
          </p:cNvPicPr>
          <p:nvPr/>
        </p:nvPicPr>
        <p:blipFill rotWithShape="1">
          <a:blip r:embed="rId3"/>
          <a:srcRect l="27743" t="32341" r="66688" b="52754"/>
          <a:stretch/>
        </p:blipFill>
        <p:spPr>
          <a:xfrm>
            <a:off x="6919378" y="1494418"/>
            <a:ext cx="2029078" cy="1701178"/>
          </a:xfrm>
          <a:prstGeom prst="rect">
            <a:avLst/>
          </a:prstGeom>
        </p:spPr>
      </p:pic>
      <p:sp>
        <p:nvSpPr>
          <p:cNvPr id="42" name="Rectangle 41"/>
          <p:cNvSpPr/>
          <p:nvPr/>
        </p:nvSpPr>
        <p:spPr bwMode="ltGray">
          <a:xfrm>
            <a:off x="444574" y="3095898"/>
            <a:ext cx="3254828" cy="1915886"/>
          </a:xfrm>
          <a:prstGeom prst="rect">
            <a:avLst/>
          </a:prstGeom>
          <a:solidFill>
            <a:schemeClr val="bg1"/>
          </a:solidFill>
          <a:ln w="889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49">
              <a:lnSpc>
                <a:spcPct val="90000"/>
              </a:lnSpc>
            </a:pPr>
            <a:r>
              <a:rPr lang="ru-RU" sz="1600" b="1" dirty="0" smtClean="0">
                <a:solidFill>
                  <a:prstClr val="black"/>
                </a:solidFill>
                <a:latin typeface="Metric Bold"/>
                <a:sym typeface="HP Simplified Light" panose="020B0404020204020204" pitchFamily="34" charset="0"/>
              </a:rPr>
              <a:t>Традиционные приложения</a:t>
            </a:r>
            <a:endParaRPr lang="en-US" sz="1600" b="1" dirty="0">
              <a:solidFill>
                <a:prstClr val="black"/>
              </a:solidFill>
              <a:latin typeface="Metric Bold"/>
              <a:sym typeface="HP Simplified Light" panose="020B0404020204020204" pitchFamily="34" charset="0"/>
            </a:endParaRPr>
          </a:p>
          <a:p>
            <a:pPr marL="285664" indent="-226945" defTabSz="685251" eaLnBrk="0" fontAlgn="base" hangingPunct="0">
              <a:spcBef>
                <a:spcPct val="0"/>
              </a:spcBef>
              <a:spcAft>
                <a:spcPct val="0"/>
              </a:spcAft>
              <a:buFont typeface="HP Simplified Light" panose="020B0404020204020204" pitchFamily="34" charset="0"/>
              <a:buChar char="–"/>
            </a:pPr>
            <a:r>
              <a:rPr lang="ru-RU" sz="1400" dirty="0">
                <a:solidFill>
                  <a:prstClr val="black"/>
                </a:solidFill>
                <a:sym typeface="HP Simplified Light" panose="020B0404020204020204" pitchFamily="34" charset="0"/>
              </a:rPr>
              <a:t>а</a:t>
            </a:r>
            <a:r>
              <a:rPr lang="ru-RU" sz="1400" dirty="0" smtClean="0">
                <a:solidFill>
                  <a:prstClr val="black"/>
                </a:solidFill>
                <a:sym typeface="HP Simplified Light" panose="020B0404020204020204" pitchFamily="34" charset="0"/>
              </a:rPr>
              <a:t>ппаратные ресурсы выделяются администратором;</a:t>
            </a:r>
          </a:p>
          <a:p>
            <a:pPr marL="285664" indent="-226945" defTabSz="685251" eaLnBrk="0" fontAlgn="base" hangingPunct="0">
              <a:spcBef>
                <a:spcPct val="0"/>
              </a:spcBef>
              <a:spcAft>
                <a:spcPct val="0"/>
              </a:spcAft>
              <a:buFont typeface="HP Simplified Light" panose="020B0404020204020204" pitchFamily="34" charset="0"/>
              <a:buChar char="–"/>
            </a:pPr>
            <a:r>
              <a:rPr lang="ru-RU" sz="1400" dirty="0">
                <a:solidFill>
                  <a:prstClr val="black"/>
                </a:solidFill>
                <a:sym typeface="HP Simplified Light" panose="020B0404020204020204" pitchFamily="34" charset="0"/>
              </a:rPr>
              <a:t>п</a:t>
            </a:r>
            <a:r>
              <a:rPr lang="ru-RU" sz="1400" dirty="0" smtClean="0">
                <a:solidFill>
                  <a:prstClr val="black"/>
                </a:solidFill>
                <a:sym typeface="HP Simplified Light" panose="020B0404020204020204" pitchFamily="34" charset="0"/>
              </a:rPr>
              <a:t>риложения устанавливаются и управляются администратором;</a:t>
            </a:r>
            <a:endParaRPr lang="en-US" sz="1400" dirty="0">
              <a:solidFill>
                <a:prstClr val="black"/>
              </a:solidFill>
              <a:sym typeface="HP Simplified Light" panose="020B0404020204020204" pitchFamily="34" charset="0"/>
            </a:endParaRPr>
          </a:p>
          <a:p>
            <a:pPr marL="285664" indent="-226945" defTabSz="685251" eaLnBrk="0" fontAlgn="base" hangingPunct="0">
              <a:spcBef>
                <a:spcPct val="0"/>
              </a:spcBef>
              <a:spcAft>
                <a:spcPct val="0"/>
              </a:spcAft>
              <a:buFont typeface="HP Simplified Light" panose="020B0404020204020204" pitchFamily="34" charset="0"/>
              <a:buChar char="–"/>
            </a:pPr>
            <a:r>
              <a:rPr lang="ru-RU" sz="1400" dirty="0" smtClean="0">
                <a:solidFill>
                  <a:prstClr val="black"/>
                </a:solidFill>
                <a:sym typeface="HP Simplified Light" panose="020B0404020204020204" pitchFamily="34" charset="0"/>
              </a:rPr>
              <a:t>фокус на снижение затрат на обслуживание;</a:t>
            </a:r>
            <a:endParaRPr lang="en-US" sz="1400" dirty="0">
              <a:solidFill>
                <a:prstClr val="black"/>
              </a:solidFill>
              <a:sym typeface="HP Simplified Light" panose="020B0404020204020204" pitchFamily="34" charset="0"/>
            </a:endParaRPr>
          </a:p>
        </p:txBody>
      </p:sp>
      <p:sp>
        <p:nvSpPr>
          <p:cNvPr id="43" name="Rectangle 42"/>
          <p:cNvSpPr/>
          <p:nvPr/>
        </p:nvSpPr>
        <p:spPr bwMode="ltGray">
          <a:xfrm>
            <a:off x="8656320" y="2999232"/>
            <a:ext cx="3279648" cy="1920678"/>
          </a:xfrm>
          <a:prstGeom prst="rect">
            <a:avLst/>
          </a:prstGeom>
          <a:solidFill>
            <a:schemeClr val="bg1"/>
          </a:solidFill>
          <a:ln w="889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6949">
              <a:lnSpc>
                <a:spcPct val="90000"/>
              </a:lnSpc>
            </a:pPr>
            <a:r>
              <a:rPr lang="ru-RU" sz="1600" b="1" dirty="0" smtClean="0">
                <a:solidFill>
                  <a:prstClr val="black"/>
                </a:solidFill>
                <a:latin typeface="Metric Bold"/>
                <a:sym typeface="HP Simplified Light" panose="020B0404020204020204" pitchFamily="34" charset="0"/>
              </a:rPr>
              <a:t>Облачные приложения</a:t>
            </a:r>
            <a:endParaRPr lang="en-US" sz="1600" b="1" dirty="0">
              <a:solidFill>
                <a:prstClr val="black"/>
              </a:solidFill>
              <a:latin typeface="Metric Bold"/>
              <a:sym typeface="HP Simplified Light" panose="020B0404020204020204" pitchFamily="34" charset="0"/>
            </a:endParaRPr>
          </a:p>
          <a:p>
            <a:pPr marL="285664" indent="-285664" defTabSz="456949" eaLnBrk="0" fontAlgn="base" hangingPunct="0">
              <a:spcBef>
                <a:spcPct val="0"/>
              </a:spcBef>
              <a:spcAft>
                <a:spcPct val="0"/>
              </a:spcAft>
              <a:buFont typeface="Metric Regular" panose="020B0503030202060203" pitchFamily="34" charset="0"/>
              <a:buChar char="–"/>
            </a:pPr>
            <a:r>
              <a:rPr lang="ru-RU" sz="1400" dirty="0" smtClean="0">
                <a:solidFill>
                  <a:prstClr val="black"/>
                </a:solidFill>
                <a:sym typeface="HP Simplified Light" panose="020B0404020204020204" pitchFamily="34" charset="0"/>
              </a:rPr>
              <a:t>Выделяемые аппаратные ресурсы определяются приложением;</a:t>
            </a:r>
            <a:endParaRPr lang="en-US" sz="1400" dirty="0">
              <a:solidFill>
                <a:prstClr val="black"/>
              </a:solidFill>
              <a:sym typeface="HP Simplified Light" panose="020B0404020204020204" pitchFamily="34" charset="0"/>
            </a:endParaRPr>
          </a:p>
          <a:p>
            <a:pPr marL="285664" indent="-285664" defTabSz="456949" eaLnBrk="0" fontAlgn="base" hangingPunct="0">
              <a:spcBef>
                <a:spcPct val="0"/>
              </a:spcBef>
              <a:spcAft>
                <a:spcPct val="0"/>
              </a:spcAft>
              <a:buFont typeface="Metric Regular" panose="020B0503030202060203" pitchFamily="34" charset="0"/>
              <a:buChar char="–"/>
            </a:pPr>
            <a:r>
              <a:rPr lang="ru-RU" sz="1400" dirty="0" smtClean="0">
                <a:solidFill>
                  <a:prstClr val="black"/>
                </a:solidFill>
                <a:sym typeface="HP Simplified Light" panose="020B0404020204020204" pitchFamily="34" charset="0"/>
              </a:rPr>
              <a:t>Фокус на гибкости распределения ресурсов;</a:t>
            </a:r>
            <a:endParaRPr lang="en-US" sz="1400" dirty="0">
              <a:solidFill>
                <a:prstClr val="black"/>
              </a:solidFill>
              <a:sym typeface="HP Simplified Light" panose="020B0404020204020204" pitchFamily="34" charset="0"/>
            </a:endParaRPr>
          </a:p>
        </p:txBody>
      </p:sp>
      <p:sp>
        <p:nvSpPr>
          <p:cNvPr id="105" name="Title 51"/>
          <p:cNvSpPr txBox="1">
            <a:spLocks/>
          </p:cNvSpPr>
          <p:nvPr/>
        </p:nvSpPr>
        <p:spPr bwMode="black">
          <a:xfrm>
            <a:off x="367937" y="1908048"/>
            <a:ext cx="2643488" cy="627887"/>
          </a:xfrm>
          <a:prstGeom prst="rect">
            <a:avLst/>
          </a:prstGeom>
          <a:ln>
            <a:noFill/>
          </a:ln>
        </p:spPr>
        <p:txBody>
          <a:bodyPr vert="horz" wrap="square" lIns="0" tIns="0" rIns="0" bIns="0" rtlCol="0" anchor="t"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lgn="ctr">
              <a:lnSpc>
                <a:spcPct val="90000"/>
              </a:lnSpc>
            </a:pPr>
            <a:r>
              <a:rPr lang="ru-RU" sz="2000" dirty="0" smtClean="0">
                <a:solidFill>
                  <a:prstClr val="black"/>
                </a:solidFill>
                <a:latin typeface="Arial" panose="020B0604020202020204"/>
                <a:sym typeface="HP Simplified Light" panose="020B0404020204020204" pitchFamily="34" charset="0"/>
              </a:rPr>
              <a:t>Традиционный бизнес</a:t>
            </a:r>
            <a:r>
              <a:rPr lang="en-US" sz="2000" dirty="0">
                <a:solidFill>
                  <a:prstClr val="white">
                    <a:lumMod val="65000"/>
                  </a:prstClr>
                </a:solidFill>
                <a:latin typeface="Arial" panose="020B0604020202020204"/>
                <a:sym typeface="HP Simplified Light" panose="020B0404020204020204" pitchFamily="34" charset="0"/>
              </a:rPr>
              <a:t/>
            </a:r>
            <a:br>
              <a:rPr lang="en-US" sz="2000" dirty="0">
                <a:solidFill>
                  <a:prstClr val="white">
                    <a:lumMod val="65000"/>
                  </a:prstClr>
                </a:solidFill>
                <a:latin typeface="Arial" panose="020B0604020202020204"/>
                <a:sym typeface="HP Simplified Light" panose="020B0404020204020204" pitchFamily="34" charset="0"/>
              </a:rPr>
            </a:br>
            <a:endParaRPr lang="en-US" sz="2000" dirty="0">
              <a:solidFill>
                <a:prstClr val="white">
                  <a:lumMod val="65000"/>
                </a:prstClr>
              </a:solidFill>
              <a:latin typeface="Arial" panose="020B0604020202020204"/>
              <a:sym typeface="HP Simplified Light" panose="020B0404020204020204" pitchFamily="34" charset="0"/>
            </a:endParaRPr>
          </a:p>
        </p:txBody>
      </p:sp>
      <p:sp>
        <p:nvSpPr>
          <p:cNvPr id="104" name="Title 51"/>
          <p:cNvSpPr txBox="1">
            <a:spLocks/>
          </p:cNvSpPr>
          <p:nvPr/>
        </p:nvSpPr>
        <p:spPr bwMode="black">
          <a:xfrm>
            <a:off x="9258647" y="1926335"/>
            <a:ext cx="2396905" cy="360971"/>
          </a:xfrm>
          <a:prstGeom prst="rect">
            <a:avLst/>
          </a:prstGeom>
          <a:ln>
            <a:noFill/>
          </a:ln>
        </p:spPr>
        <p:txBody>
          <a:bodyPr vert="horz" wrap="square" lIns="0" tIns="0" rIns="0" bIns="0" rtlCol="0" anchor="t"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lgn="ctr">
              <a:lnSpc>
                <a:spcPct val="90000"/>
              </a:lnSpc>
            </a:pPr>
            <a:r>
              <a:rPr lang="ru-RU" sz="2000" dirty="0" smtClean="0">
                <a:solidFill>
                  <a:prstClr val="black"/>
                </a:solidFill>
                <a:latin typeface="Arial" panose="020B0604020202020204"/>
                <a:sym typeface="HP Simplified Light" panose="020B0404020204020204" pitchFamily="34" charset="0"/>
              </a:rPr>
              <a:t>Экономика идей</a:t>
            </a:r>
            <a:endParaRPr lang="en-US" sz="2000" dirty="0">
              <a:solidFill>
                <a:prstClr val="black"/>
              </a:solidFill>
              <a:latin typeface="Arial" panose="020B0604020202020204"/>
              <a:sym typeface="HP Simplified Light" panose="020B0404020204020204" pitchFamily="34" charset="0"/>
            </a:endParaRPr>
          </a:p>
        </p:txBody>
      </p:sp>
    </p:spTree>
    <p:extLst>
      <p:ext uri="{BB962C8B-B14F-4D97-AF65-F5344CB8AC3E}">
        <p14:creationId xmlns:p14="http://schemas.microsoft.com/office/powerpoint/2010/main" val="51413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0456" y="508491"/>
            <a:ext cx="10822941" cy="574516"/>
          </a:xfrm>
        </p:spPr>
        <p:txBody>
          <a:bodyPr/>
          <a:lstStyle/>
          <a:p>
            <a:r>
              <a:rPr lang="ru-RU" dirty="0" smtClean="0">
                <a:latin typeface="+mj-lt"/>
              </a:rPr>
              <a:t>Мнения аналитиков. Выбор терминологии</a:t>
            </a:r>
            <a:endParaRPr lang="en-US" dirty="0">
              <a:latin typeface="+mj-lt"/>
            </a:endParaRPr>
          </a:p>
        </p:txBody>
      </p:sp>
      <p:grpSp>
        <p:nvGrpSpPr>
          <p:cNvPr id="7" name="Group 6"/>
          <p:cNvGrpSpPr/>
          <p:nvPr/>
        </p:nvGrpSpPr>
        <p:grpSpPr>
          <a:xfrm>
            <a:off x="919223" y="2335900"/>
            <a:ext cx="10441652" cy="995209"/>
            <a:chOff x="487570" y="897466"/>
            <a:chExt cx="7831239" cy="746407"/>
          </a:xfrm>
        </p:grpSpPr>
        <p:sp>
          <p:nvSpPr>
            <p:cNvPr id="2" name="TextBox 1"/>
            <p:cNvSpPr txBox="1"/>
            <p:nvPr/>
          </p:nvSpPr>
          <p:spPr>
            <a:xfrm>
              <a:off x="2197408" y="897466"/>
              <a:ext cx="6121401" cy="746407"/>
            </a:xfrm>
            <a:prstGeom prst="rect">
              <a:avLst/>
            </a:prstGeom>
            <a:noFill/>
          </p:spPr>
          <p:txBody>
            <a:bodyPr wrap="square" rtlCol="0">
              <a:spAutoFit/>
            </a:bodyPr>
            <a:lstStyle/>
            <a:p>
              <a:pPr defTabSz="573555">
                <a:spcAft>
                  <a:spcPts val="533"/>
                </a:spcAft>
                <a:buSzPct val="100000"/>
              </a:pPr>
              <a:r>
                <a:rPr lang="ru-RU" sz="2133" b="1" dirty="0">
                  <a:solidFill>
                    <a:srgbClr val="000000"/>
                  </a:solidFill>
                  <a:cs typeface="HP Simplified" pitchFamily="34" charset="0"/>
                </a:rPr>
                <a:t>Бимодальное ИТ </a:t>
              </a:r>
              <a:br>
                <a:rPr lang="ru-RU" sz="2133" b="1" dirty="0">
                  <a:solidFill>
                    <a:srgbClr val="000000"/>
                  </a:solidFill>
                  <a:cs typeface="HP Simplified" pitchFamily="34" charset="0"/>
                </a:rPr>
              </a:br>
              <a:r>
                <a:rPr lang="ru-RU" sz="1867" dirty="0">
                  <a:solidFill>
                    <a:srgbClr val="000000"/>
                  </a:solidFill>
                  <a:cs typeface="HP Simplified" pitchFamily="34" charset="0"/>
                </a:rPr>
                <a:t>Рассматривает две части ИТ, одна фокусируется на стабильности, другая – на быстрых и эффективных модернизациях </a:t>
              </a:r>
              <a:endParaRPr lang="en-US" sz="1867" dirty="0">
                <a:solidFill>
                  <a:srgbClr val="000000"/>
                </a:solidFill>
                <a:cs typeface="HP Simplified" pitchFamily="34" charset="0"/>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7570" y="1071880"/>
              <a:ext cx="1319328" cy="299720"/>
            </a:xfrm>
            <a:prstGeom prst="rect">
              <a:avLst/>
            </a:prstGeom>
          </p:spPr>
        </p:pic>
      </p:grpSp>
      <p:grpSp>
        <p:nvGrpSpPr>
          <p:cNvPr id="13" name="Group 12"/>
          <p:cNvGrpSpPr/>
          <p:nvPr/>
        </p:nvGrpSpPr>
        <p:grpSpPr>
          <a:xfrm>
            <a:off x="569135" y="1369570"/>
            <a:ext cx="10780452" cy="987107"/>
            <a:chOff x="233470" y="1815254"/>
            <a:chExt cx="8085339" cy="740330"/>
          </a:xfrm>
        </p:grpSpPr>
        <p:sp>
          <p:nvSpPr>
            <p:cNvPr id="8" name="TextBox 7"/>
            <p:cNvSpPr txBox="1"/>
            <p:nvPr/>
          </p:nvSpPr>
          <p:spPr>
            <a:xfrm>
              <a:off x="2197408" y="1854199"/>
              <a:ext cx="6121401" cy="530915"/>
            </a:xfrm>
            <a:prstGeom prst="rect">
              <a:avLst/>
            </a:prstGeom>
            <a:noFill/>
          </p:spPr>
          <p:txBody>
            <a:bodyPr wrap="square" rtlCol="0">
              <a:spAutoFit/>
            </a:bodyPr>
            <a:lstStyle/>
            <a:p>
              <a:pPr defTabSz="573555">
                <a:spcAft>
                  <a:spcPts val="533"/>
                </a:spcAft>
                <a:buSzPct val="100000"/>
              </a:pPr>
              <a:r>
                <a:rPr lang="en-US" sz="2133" b="1" dirty="0">
                  <a:solidFill>
                    <a:srgbClr val="000000"/>
                  </a:solidFill>
                  <a:cs typeface="HP Simplified" pitchFamily="34" charset="0"/>
                </a:rPr>
                <a:t>3</a:t>
              </a:r>
              <a:r>
                <a:rPr lang="ru-RU" sz="2133" b="1" baseline="30000" dirty="0">
                  <a:solidFill>
                    <a:srgbClr val="000000"/>
                  </a:solidFill>
                  <a:cs typeface="HP Simplified" pitchFamily="34" charset="0"/>
                </a:rPr>
                <a:t>-</a:t>
              </a:r>
              <a:r>
                <a:rPr lang="ru-RU" sz="2133" b="1" baseline="30000" dirty="0" err="1">
                  <a:solidFill>
                    <a:srgbClr val="000000"/>
                  </a:solidFill>
                  <a:cs typeface="HP Simplified" pitchFamily="34" charset="0"/>
                </a:rPr>
                <a:t>тья</a:t>
              </a:r>
              <a:r>
                <a:rPr lang="ru-RU" sz="2133" b="1" dirty="0">
                  <a:solidFill>
                    <a:srgbClr val="000000"/>
                  </a:solidFill>
                  <a:cs typeface="HP Simplified" pitchFamily="34" charset="0"/>
                </a:rPr>
                <a:t> эра Платформ. Этап инноваций </a:t>
              </a:r>
              <a:br>
                <a:rPr lang="ru-RU" sz="2133" b="1" dirty="0">
                  <a:solidFill>
                    <a:srgbClr val="000000"/>
                  </a:solidFill>
                  <a:cs typeface="HP Simplified" pitchFamily="34" charset="0"/>
                </a:rPr>
              </a:br>
              <a:r>
                <a:rPr lang="ru-RU" sz="1867" dirty="0">
                  <a:solidFill>
                    <a:srgbClr val="000000"/>
                  </a:solidFill>
                  <a:cs typeface="HP Simplified" pitchFamily="34" charset="0"/>
                </a:rPr>
                <a:t>Архитектура платформы определяется новым поколением технологий</a:t>
              </a:r>
              <a:endParaRPr lang="en-US" sz="1867" dirty="0">
                <a:solidFill>
                  <a:srgbClr val="000000"/>
                </a:solidFill>
                <a:cs typeface="HP Simplified"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3470" y="1815254"/>
              <a:ext cx="1827529" cy="740330"/>
            </a:xfrm>
            <a:prstGeom prst="rect">
              <a:avLst/>
            </a:prstGeom>
          </p:spPr>
        </p:pic>
      </p:grpSp>
      <p:grpSp>
        <p:nvGrpSpPr>
          <p:cNvPr id="14" name="Group 13"/>
          <p:cNvGrpSpPr/>
          <p:nvPr/>
        </p:nvGrpSpPr>
        <p:grpSpPr>
          <a:xfrm>
            <a:off x="685996" y="3511022"/>
            <a:ext cx="10686165" cy="1340991"/>
            <a:chOff x="304185" y="2642408"/>
            <a:chExt cx="8014624" cy="1005743"/>
          </a:xfrm>
        </p:grpSpPr>
        <p:sp>
          <p:nvSpPr>
            <p:cNvPr id="10" name="TextBox 9"/>
            <p:cNvSpPr txBox="1"/>
            <p:nvPr/>
          </p:nvSpPr>
          <p:spPr>
            <a:xfrm>
              <a:off x="2197408" y="2662382"/>
              <a:ext cx="6121401" cy="931216"/>
            </a:xfrm>
            <a:prstGeom prst="rect">
              <a:avLst/>
            </a:prstGeom>
            <a:noFill/>
          </p:spPr>
          <p:txBody>
            <a:bodyPr wrap="square" rtlCol="0">
              <a:spAutoFit/>
            </a:bodyPr>
            <a:lstStyle/>
            <a:p>
              <a:pPr defTabSz="573555">
                <a:spcAft>
                  <a:spcPts val="533"/>
                </a:spcAft>
                <a:buSzPct val="100000"/>
              </a:pPr>
              <a:r>
                <a:rPr lang="ru-RU" sz="1867" dirty="0">
                  <a:solidFill>
                    <a:srgbClr val="000000"/>
                  </a:solidFill>
                  <a:cs typeface="HP Simplified" pitchFamily="34" charset="0"/>
                </a:rPr>
                <a:t>Не вводит специальных терминов, но отмечает, что </a:t>
              </a:r>
              <a:r>
                <a:rPr lang="ru-RU" sz="1867" b="1" dirty="0">
                  <a:solidFill>
                    <a:srgbClr val="000000"/>
                  </a:solidFill>
                  <a:cs typeface="HP Simplified" pitchFamily="34" charset="0"/>
                </a:rPr>
                <a:t>новые технологии устанавливают новые способы работы </a:t>
              </a:r>
              <a:r>
                <a:rPr lang="ru-RU" sz="1867" dirty="0">
                  <a:solidFill>
                    <a:srgbClr val="000000"/>
                  </a:solidFill>
                  <a:cs typeface="HP Simplified" pitchFamily="34" charset="0"/>
                </a:rPr>
                <a:t>с заказчиками, партнерами, сотрудниками </a:t>
              </a:r>
              <a:r>
                <a:rPr lang="ru-RU" sz="1867" b="1" dirty="0">
                  <a:solidFill>
                    <a:srgbClr val="000000"/>
                  </a:solidFill>
                  <a:cs typeface="HP Simplified" pitchFamily="34" charset="0"/>
                </a:rPr>
                <a:t>и формируют новую платформу </a:t>
              </a:r>
              <a:r>
                <a:rPr lang="ru-RU" sz="1867" dirty="0">
                  <a:solidFill>
                    <a:srgbClr val="000000"/>
                  </a:solidFill>
                  <a:cs typeface="HP Simplified" pitchFamily="34" charset="0"/>
                </a:rPr>
                <a:t>для реализации этих способов</a:t>
              </a:r>
            </a:p>
          </p:txBody>
        </p:sp>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4185" y="2642408"/>
              <a:ext cx="1686098" cy="1005743"/>
            </a:xfrm>
            <a:prstGeom prst="rect">
              <a:avLst/>
            </a:prstGeom>
          </p:spPr>
        </p:pic>
      </p:grpSp>
      <p:grpSp>
        <p:nvGrpSpPr>
          <p:cNvPr id="15" name="Group 14"/>
          <p:cNvGrpSpPr/>
          <p:nvPr/>
        </p:nvGrpSpPr>
        <p:grpSpPr>
          <a:xfrm>
            <a:off x="506198" y="5081970"/>
            <a:ext cx="10865967" cy="1282530"/>
            <a:chOff x="169334" y="3820622"/>
            <a:chExt cx="8149475" cy="961898"/>
          </a:xfrm>
        </p:grpSpPr>
        <p:sp>
          <p:nvSpPr>
            <p:cNvPr id="12" name="TextBox 11"/>
            <p:cNvSpPr txBox="1"/>
            <p:nvPr/>
          </p:nvSpPr>
          <p:spPr>
            <a:xfrm>
              <a:off x="2197408" y="3820622"/>
              <a:ext cx="6121401" cy="961898"/>
            </a:xfrm>
            <a:prstGeom prst="rect">
              <a:avLst/>
            </a:prstGeom>
            <a:solidFill>
              <a:schemeClr val="bg1"/>
            </a:solidFill>
          </p:spPr>
          <p:txBody>
            <a:bodyPr wrap="square" rtlCol="0">
              <a:spAutoFit/>
            </a:bodyPr>
            <a:lstStyle/>
            <a:p>
              <a:pPr defTabSz="573555">
                <a:spcAft>
                  <a:spcPts val="533"/>
                </a:spcAft>
                <a:buSzPct val="100000"/>
              </a:pPr>
              <a:r>
                <a:rPr lang="ru-RU" sz="2133" b="1" dirty="0">
                  <a:solidFill>
                    <a:srgbClr val="000000"/>
                  </a:solidFill>
                  <a:cs typeface="HP Simplified" pitchFamily="34" charset="0"/>
                </a:rPr>
                <a:t>От Гибридного Облака к Гибридному ИТ</a:t>
              </a:r>
              <a:r>
                <a:rPr lang="ru-RU" sz="1867" b="1" dirty="0">
                  <a:solidFill>
                    <a:srgbClr val="000000"/>
                  </a:solidFill>
                  <a:cs typeface="HP Simplified" pitchFamily="34" charset="0"/>
                </a:rPr>
                <a:t/>
              </a:r>
              <a:br>
                <a:rPr lang="ru-RU" sz="1867" b="1" dirty="0">
                  <a:solidFill>
                    <a:srgbClr val="000000"/>
                  </a:solidFill>
                  <a:cs typeface="HP Simplified" pitchFamily="34" charset="0"/>
                </a:rPr>
              </a:br>
              <a:r>
                <a:rPr lang="ru-RU" sz="1867" dirty="0">
                  <a:solidFill>
                    <a:srgbClr val="000000"/>
                  </a:solidFill>
                  <a:cs typeface="HP Simplified" pitchFamily="34" charset="0"/>
                </a:rPr>
                <a:t>Рассматривает замещение программно-аппаратных комплексов виртуальными и виртуализацию ЦОД как важнейший метод увеличения гибкости корпоративного ИТ</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9334" y="4199593"/>
              <a:ext cx="1955800" cy="264033"/>
            </a:xfrm>
            <a:prstGeom prst="rect">
              <a:avLst/>
            </a:prstGeom>
          </p:spPr>
        </p:pic>
      </p:grpSp>
    </p:spTree>
    <p:extLst>
      <p:ext uri="{BB962C8B-B14F-4D97-AF65-F5344CB8AC3E}">
        <p14:creationId xmlns:p14="http://schemas.microsoft.com/office/powerpoint/2010/main" val="3519575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Arrow Connector 19"/>
          <p:cNvCxnSpPr/>
          <p:nvPr/>
        </p:nvCxnSpPr>
        <p:spPr>
          <a:xfrm>
            <a:off x="474135" y="3977668"/>
            <a:ext cx="10198707" cy="0"/>
          </a:xfrm>
          <a:prstGeom prst="straightConnector1">
            <a:avLst/>
          </a:prstGeom>
          <a:ln w="12700" cmpd="sng">
            <a:solidFill>
              <a:schemeClr val="bg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6" name="Content Placeholder 2"/>
          <p:cNvSpPr txBox="1">
            <a:spLocks/>
          </p:cNvSpPr>
          <p:nvPr/>
        </p:nvSpPr>
        <p:spPr bwMode="black">
          <a:xfrm>
            <a:off x="477062" y="3109727"/>
            <a:ext cx="3602567" cy="620184"/>
          </a:xfrm>
          <a:prstGeom prst="rect">
            <a:avLst/>
          </a:prstGeom>
          <a:noFill/>
        </p:spPr>
        <p:txBody>
          <a:bodyPr vert="horz" wrap="square" lIns="0" tIns="0" rIns="0" bIns="0" rtlCol="0" anchor="ctr">
            <a:noAutofit/>
          </a:bodyPr>
          <a:lstStyle/>
          <a:p>
            <a:pPr>
              <a:buSzPct val="100000"/>
              <a:defRPr/>
            </a:pPr>
            <a:r>
              <a:rPr lang="ru-RU" sz="2133" b="1" dirty="0">
                <a:solidFill>
                  <a:srgbClr val="425563"/>
                </a:solidFill>
                <a:cs typeface="HP Simplified" pitchFamily="34" charset="0"/>
              </a:rPr>
              <a:t>Показатели эффективности ИТ</a:t>
            </a:r>
            <a:endParaRPr lang="en-US" sz="2133" b="1" dirty="0">
              <a:solidFill>
                <a:srgbClr val="425563"/>
              </a:solidFill>
              <a:cs typeface="HP Simplified" pitchFamily="34" charset="0"/>
            </a:endParaRPr>
          </a:p>
        </p:txBody>
      </p:sp>
      <p:sp>
        <p:nvSpPr>
          <p:cNvPr id="17" name="Content Placeholder 2"/>
          <p:cNvSpPr txBox="1">
            <a:spLocks/>
          </p:cNvSpPr>
          <p:nvPr/>
        </p:nvSpPr>
        <p:spPr bwMode="black">
          <a:xfrm>
            <a:off x="477062" y="4230312"/>
            <a:ext cx="3602567" cy="575733"/>
          </a:xfrm>
          <a:prstGeom prst="rect">
            <a:avLst/>
          </a:prstGeom>
          <a:noFill/>
        </p:spPr>
        <p:txBody>
          <a:bodyPr vert="horz" wrap="square" lIns="0" tIns="0" rIns="0" bIns="0" rtlCol="0" anchor="ctr">
            <a:noAutofit/>
          </a:bodyPr>
          <a:lstStyle/>
          <a:p>
            <a:pPr>
              <a:buSzPct val="100000"/>
              <a:defRPr/>
            </a:pPr>
            <a:r>
              <a:rPr lang="ru-RU" sz="2133" b="1" dirty="0">
                <a:solidFill>
                  <a:srgbClr val="425563"/>
                </a:solidFill>
                <a:cs typeface="HP Simplified" pitchFamily="34" charset="0"/>
              </a:rPr>
              <a:t>Потребители ИТ</a:t>
            </a:r>
            <a:endParaRPr lang="en-US" sz="2133" b="1" dirty="0">
              <a:solidFill>
                <a:srgbClr val="425563"/>
              </a:solidFill>
              <a:cs typeface="HP Simplified" pitchFamily="34" charset="0"/>
            </a:endParaRPr>
          </a:p>
        </p:txBody>
      </p:sp>
      <p:grpSp>
        <p:nvGrpSpPr>
          <p:cNvPr id="18" name="Group 17"/>
          <p:cNvGrpSpPr/>
          <p:nvPr/>
        </p:nvGrpSpPr>
        <p:grpSpPr>
          <a:xfrm>
            <a:off x="4189794" y="4091457"/>
            <a:ext cx="3531807" cy="853440"/>
            <a:chOff x="3142343" y="3160033"/>
            <a:chExt cx="2648855" cy="640080"/>
          </a:xfrm>
        </p:grpSpPr>
        <p:sp>
          <p:nvSpPr>
            <p:cNvPr id="9" name="Round Diagonal Corner Rectangle 8"/>
            <p:cNvSpPr/>
            <p:nvPr/>
          </p:nvSpPr>
          <p:spPr>
            <a:xfrm flipH="1">
              <a:off x="3142343" y="3160033"/>
              <a:ext cx="2648855" cy="640080"/>
            </a:xfrm>
            <a:prstGeom prst="round2Diag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bg1"/>
                </a:solidFill>
              </a:endParaRPr>
            </a:p>
          </p:txBody>
        </p:sp>
        <p:sp>
          <p:nvSpPr>
            <p:cNvPr id="32" name="TextBox 31"/>
            <p:cNvSpPr txBox="1"/>
            <p:nvPr/>
          </p:nvSpPr>
          <p:spPr>
            <a:xfrm>
              <a:off x="3761984" y="3299640"/>
              <a:ext cx="1995349" cy="284742"/>
            </a:xfrm>
            <a:prstGeom prst="rect">
              <a:avLst/>
            </a:prstGeom>
            <a:noFill/>
          </p:spPr>
          <p:txBody>
            <a:bodyPr wrap="square" rtlCol="0">
              <a:spAutoFit/>
            </a:bodyPr>
            <a:lstStyle/>
            <a:p>
              <a:pPr defTabSz="573555">
                <a:spcAft>
                  <a:spcPts val="800"/>
                </a:spcAft>
                <a:buSzPct val="100000"/>
              </a:pPr>
              <a:r>
                <a:rPr lang="ru-RU" sz="1867" b="1" dirty="0">
                  <a:solidFill>
                    <a:schemeClr val="bg1"/>
                  </a:solidFill>
                  <a:cs typeface="HP Simplified" pitchFamily="34" charset="0"/>
                </a:rPr>
                <a:t>Сотрудники</a:t>
              </a:r>
              <a:endParaRPr lang="en-US" sz="1867" b="1" dirty="0">
                <a:solidFill>
                  <a:schemeClr val="bg1"/>
                </a:solidFill>
                <a:cs typeface="HP Simplified" pitchFamily="34" charset="0"/>
              </a:endParaRPr>
            </a:p>
          </p:txBody>
        </p:sp>
      </p:grpSp>
      <p:sp>
        <p:nvSpPr>
          <p:cNvPr id="13" name="Content Placeholder 2"/>
          <p:cNvSpPr txBox="1">
            <a:spLocks/>
          </p:cNvSpPr>
          <p:nvPr/>
        </p:nvSpPr>
        <p:spPr bwMode="black">
          <a:xfrm>
            <a:off x="477062" y="2032340"/>
            <a:ext cx="3602567" cy="575733"/>
          </a:xfrm>
          <a:prstGeom prst="rect">
            <a:avLst/>
          </a:prstGeom>
          <a:noFill/>
        </p:spPr>
        <p:txBody>
          <a:bodyPr vert="horz" wrap="square" lIns="0" tIns="0" rIns="0" bIns="0" rtlCol="0" anchor="ctr">
            <a:noAutofit/>
          </a:bodyPr>
          <a:lstStyle/>
          <a:p>
            <a:pPr>
              <a:buSzPct val="100000"/>
              <a:defRPr/>
            </a:pPr>
            <a:r>
              <a:rPr lang="ru-RU" sz="2133" b="1" dirty="0">
                <a:solidFill>
                  <a:srgbClr val="425563"/>
                </a:solidFill>
                <a:cs typeface="HP Simplified" pitchFamily="34" charset="0"/>
              </a:rPr>
              <a:t>Показатели </a:t>
            </a:r>
            <a:br>
              <a:rPr lang="ru-RU" sz="2133" b="1" dirty="0">
                <a:solidFill>
                  <a:srgbClr val="425563"/>
                </a:solidFill>
                <a:cs typeface="HP Simplified" pitchFamily="34" charset="0"/>
              </a:rPr>
            </a:br>
            <a:r>
              <a:rPr lang="ru-RU" sz="2133" b="1" dirty="0">
                <a:solidFill>
                  <a:srgbClr val="425563"/>
                </a:solidFill>
                <a:cs typeface="HP Simplified" pitchFamily="34" charset="0"/>
              </a:rPr>
              <a:t>ценности ИТ для бизнеса</a:t>
            </a:r>
            <a:endParaRPr lang="en-US" sz="2133" b="1" dirty="0">
              <a:solidFill>
                <a:srgbClr val="425563"/>
              </a:solidFill>
              <a:cs typeface="HP Simplified" pitchFamily="34" charset="0"/>
            </a:endParaRPr>
          </a:p>
        </p:txBody>
      </p:sp>
      <p:grpSp>
        <p:nvGrpSpPr>
          <p:cNvPr id="11" name="Group 10"/>
          <p:cNvGrpSpPr/>
          <p:nvPr/>
        </p:nvGrpSpPr>
        <p:grpSpPr>
          <a:xfrm>
            <a:off x="4079630" y="1388138"/>
            <a:ext cx="7742256" cy="370416"/>
            <a:chOff x="3059720" y="1148872"/>
            <a:chExt cx="5500963" cy="277812"/>
          </a:xfrm>
        </p:grpSpPr>
        <p:sp>
          <p:nvSpPr>
            <p:cNvPr id="14" name="Subtitle 4"/>
            <p:cNvSpPr txBox="1">
              <a:spLocks/>
            </p:cNvSpPr>
            <p:nvPr/>
          </p:nvSpPr>
          <p:spPr bwMode="black">
            <a:xfrm>
              <a:off x="3059720" y="1148872"/>
              <a:ext cx="2647234" cy="277812"/>
            </a:xfrm>
            <a:prstGeom prst="rect">
              <a:avLst/>
            </a:prstGeom>
          </p:spPr>
          <p:txBody>
            <a:bodyPr vert="horz" wrap="square" lIns="0" tIns="0" rIns="0" bIns="0" rtlCol="0">
              <a:noAutofit/>
            </a:bodyPr>
            <a:lstStyle/>
            <a:p>
              <a:pPr algn="ctr">
                <a:spcAft>
                  <a:spcPts val="533"/>
                </a:spcAft>
                <a:buSzPct val="100000"/>
                <a:defRPr/>
              </a:pPr>
              <a:r>
                <a:rPr lang="ru-RU" sz="2400" b="1" dirty="0" smtClean="0">
                  <a:solidFill>
                    <a:srgbClr val="425563"/>
                  </a:solidFill>
                  <a:cs typeface="HP Simplified" pitchFamily="34" charset="0"/>
                </a:rPr>
                <a:t>Традиционные ИТ</a:t>
              </a:r>
              <a:endParaRPr lang="en-US" sz="2400" b="1" dirty="0">
                <a:solidFill>
                  <a:srgbClr val="425563"/>
                </a:solidFill>
                <a:cs typeface="HP Simplified" pitchFamily="34" charset="0"/>
              </a:endParaRPr>
            </a:p>
          </p:txBody>
        </p:sp>
        <p:sp>
          <p:nvSpPr>
            <p:cNvPr id="42" name="Subtitle 4"/>
            <p:cNvSpPr txBox="1">
              <a:spLocks/>
            </p:cNvSpPr>
            <p:nvPr/>
          </p:nvSpPr>
          <p:spPr bwMode="black">
            <a:xfrm>
              <a:off x="6139807" y="1148872"/>
              <a:ext cx="2420876" cy="277812"/>
            </a:xfrm>
            <a:prstGeom prst="rect">
              <a:avLst/>
            </a:prstGeom>
          </p:spPr>
          <p:txBody>
            <a:bodyPr vert="horz" wrap="square" lIns="0" tIns="0" rIns="0" bIns="0" rtlCol="0">
              <a:noAutofit/>
            </a:bodyPr>
            <a:lstStyle/>
            <a:p>
              <a:pPr algn="ctr">
                <a:spcAft>
                  <a:spcPts val="533"/>
                </a:spcAft>
                <a:buSzPct val="100000"/>
                <a:defRPr/>
              </a:pPr>
              <a:r>
                <a:rPr lang="ru-RU" sz="2400" b="1" dirty="0" smtClean="0">
                  <a:solidFill>
                    <a:srgbClr val="425563"/>
                  </a:solidFill>
                  <a:cs typeface="HP Simplified" pitchFamily="34" charset="0"/>
                </a:rPr>
                <a:t>ИТ экономики идей</a:t>
              </a:r>
              <a:endParaRPr lang="en-US" sz="2400" b="1" dirty="0">
                <a:solidFill>
                  <a:srgbClr val="425563"/>
                </a:solidFill>
                <a:cs typeface="HP Simplified" pitchFamily="34" charset="0"/>
              </a:endParaRPr>
            </a:p>
          </p:txBody>
        </p:sp>
      </p:grpSp>
      <p:cxnSp>
        <p:nvCxnSpPr>
          <p:cNvPr id="57" name="Straight Arrow Connector 56"/>
          <p:cNvCxnSpPr/>
          <p:nvPr/>
        </p:nvCxnSpPr>
        <p:spPr>
          <a:xfrm>
            <a:off x="474135" y="5059588"/>
            <a:ext cx="10198707" cy="0"/>
          </a:xfrm>
          <a:prstGeom prst="straightConnector1">
            <a:avLst/>
          </a:prstGeom>
          <a:ln w="12700" cmpd="sng">
            <a:solidFill>
              <a:schemeClr val="bg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a:off x="1170984" y="6172399"/>
            <a:ext cx="10198707" cy="0"/>
          </a:xfrm>
          <a:prstGeom prst="straightConnector1">
            <a:avLst/>
          </a:prstGeom>
          <a:ln w="12700" cmpd="sng">
            <a:solidFill>
              <a:schemeClr val="bg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1" name="Content Placeholder 2"/>
          <p:cNvSpPr txBox="1">
            <a:spLocks/>
          </p:cNvSpPr>
          <p:nvPr/>
        </p:nvSpPr>
        <p:spPr bwMode="black">
          <a:xfrm>
            <a:off x="477062" y="5336968"/>
            <a:ext cx="3602567" cy="575733"/>
          </a:xfrm>
          <a:prstGeom prst="rect">
            <a:avLst/>
          </a:prstGeom>
          <a:noFill/>
        </p:spPr>
        <p:txBody>
          <a:bodyPr vert="horz" wrap="square" lIns="0" tIns="0" rIns="0" bIns="0" rtlCol="0" anchor="ctr">
            <a:noAutofit/>
          </a:bodyPr>
          <a:lstStyle/>
          <a:p>
            <a:pPr>
              <a:buSzPct val="100000"/>
              <a:defRPr/>
            </a:pPr>
            <a:r>
              <a:rPr lang="ru-RU" sz="2133" b="1" dirty="0">
                <a:solidFill>
                  <a:srgbClr val="425563"/>
                </a:solidFill>
                <a:cs typeface="HP Simplified" pitchFamily="34" charset="0"/>
              </a:rPr>
              <a:t>Планирование </a:t>
            </a:r>
            <a:br>
              <a:rPr lang="ru-RU" sz="2133" b="1" dirty="0">
                <a:solidFill>
                  <a:srgbClr val="425563"/>
                </a:solidFill>
                <a:cs typeface="HP Simplified" pitchFamily="34" charset="0"/>
              </a:rPr>
            </a:br>
            <a:r>
              <a:rPr lang="ru-RU" sz="2133" b="1" dirty="0">
                <a:solidFill>
                  <a:srgbClr val="425563"/>
                </a:solidFill>
                <a:cs typeface="HP Simplified" pitchFamily="34" charset="0"/>
              </a:rPr>
              <a:t>развития ИТ</a:t>
            </a:r>
            <a:endParaRPr lang="en-US" sz="2133" b="1" dirty="0">
              <a:solidFill>
                <a:srgbClr val="425563"/>
              </a:solidFill>
              <a:cs typeface="HP Simplified" pitchFamily="34" charset="0"/>
            </a:endParaRPr>
          </a:p>
        </p:txBody>
      </p:sp>
      <p:sp>
        <p:nvSpPr>
          <p:cNvPr id="83" name="Title 2"/>
          <p:cNvSpPr txBox="1">
            <a:spLocks/>
          </p:cNvSpPr>
          <p:nvPr/>
        </p:nvSpPr>
        <p:spPr bwMode="black">
          <a:xfrm>
            <a:off x="577088" y="485014"/>
            <a:ext cx="11514667" cy="759025"/>
          </a:xfrm>
          <a:prstGeom prst="rect">
            <a:avLst/>
          </a:prstGeom>
          <a:ln>
            <a:noFill/>
          </a:ln>
        </p:spPr>
        <p:txBody>
          <a:bodyPr vert="horz" wrap="square" lIns="0" tIns="0" rIns="0" bIns="0" rtlCol="0" anchor="t"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r>
              <a:rPr lang="ru-RU" sz="3200" dirty="0">
                <a:latin typeface="+mj-lt"/>
              </a:rPr>
              <a:t>Критическая масса </a:t>
            </a:r>
            <a:r>
              <a:rPr lang="ru-RU" sz="3200" dirty="0" smtClean="0">
                <a:latin typeface="+mj-lt"/>
              </a:rPr>
              <a:t>изменений</a:t>
            </a:r>
            <a:endParaRPr lang="en-US" sz="3200" dirty="0">
              <a:latin typeface="+mj-lt"/>
            </a:endParaRPr>
          </a:p>
        </p:txBody>
      </p:sp>
      <p:grpSp>
        <p:nvGrpSpPr>
          <p:cNvPr id="15" name="Group 14"/>
          <p:cNvGrpSpPr/>
          <p:nvPr/>
        </p:nvGrpSpPr>
        <p:grpSpPr>
          <a:xfrm>
            <a:off x="8041078" y="4091458"/>
            <a:ext cx="3927485" cy="853440"/>
            <a:chOff x="6030808" y="3160033"/>
            <a:chExt cx="2945614" cy="640080"/>
          </a:xfrm>
        </p:grpSpPr>
        <p:sp>
          <p:nvSpPr>
            <p:cNvPr id="5" name="Round Diagonal Corner Rectangle 4"/>
            <p:cNvSpPr/>
            <p:nvPr/>
          </p:nvSpPr>
          <p:spPr>
            <a:xfrm flipH="1">
              <a:off x="6393667" y="3160033"/>
              <a:ext cx="2502503" cy="640080"/>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chemeClr val="bg1"/>
                </a:solidFill>
              </a:endParaRPr>
            </a:p>
          </p:txBody>
        </p:sp>
        <p:sp>
          <p:nvSpPr>
            <p:cNvPr id="25" name="Right Arrow 24"/>
            <p:cNvSpPr/>
            <p:nvPr/>
          </p:nvSpPr>
          <p:spPr>
            <a:xfrm>
              <a:off x="6030808" y="3172618"/>
              <a:ext cx="239486" cy="614911"/>
            </a:xfrm>
            <a:prstGeom prst="rightArrow">
              <a:avLst>
                <a:gd name="adj1" fmla="val 50000"/>
                <a:gd name="adj2" fmla="val 106944"/>
              </a:avLst>
            </a:prstGeom>
            <a:solidFill>
              <a:srgbClr val="00B38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chemeClr val="bg1"/>
                </a:solidFill>
              </a:endParaRPr>
            </a:p>
          </p:txBody>
        </p:sp>
        <p:sp>
          <p:nvSpPr>
            <p:cNvPr id="33" name="TextBox 32"/>
            <p:cNvSpPr txBox="1"/>
            <p:nvPr/>
          </p:nvSpPr>
          <p:spPr>
            <a:xfrm>
              <a:off x="6954593" y="3187246"/>
              <a:ext cx="2021829" cy="500233"/>
            </a:xfrm>
            <a:prstGeom prst="rect">
              <a:avLst/>
            </a:prstGeom>
            <a:noFill/>
          </p:spPr>
          <p:txBody>
            <a:bodyPr wrap="square" rtlCol="0">
              <a:spAutoFit/>
            </a:bodyPr>
            <a:lstStyle/>
            <a:p>
              <a:pPr defTabSz="573555">
                <a:spcAft>
                  <a:spcPts val="800"/>
                </a:spcAft>
                <a:buSzPct val="100000"/>
              </a:pPr>
              <a:r>
                <a:rPr lang="ru-RU" sz="1867" b="1" dirty="0">
                  <a:solidFill>
                    <a:schemeClr val="bg1"/>
                  </a:solidFill>
                  <a:cs typeface="HP Simplified" pitchFamily="34" charset="0"/>
                </a:rPr>
                <a:t>Клиенты, Партнеры, Сотрудники</a:t>
              </a:r>
              <a:endParaRPr lang="en-US" sz="1867" b="1" dirty="0">
                <a:solidFill>
                  <a:schemeClr val="bg1"/>
                </a:solidFill>
                <a:cs typeface="HP Simplified" pitchFamily="34" charset="0"/>
              </a:endParaRPr>
            </a:p>
          </p:txBody>
        </p:sp>
        <p:pic>
          <p:nvPicPr>
            <p:cNvPr id="65" name="Picture 6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10866" y="3242734"/>
              <a:ext cx="441964" cy="488175"/>
            </a:xfrm>
            <a:prstGeom prst="rect">
              <a:avLst/>
            </a:prstGeom>
          </p:spPr>
        </p:pic>
      </p:grpSp>
      <p:pic>
        <p:nvPicPr>
          <p:cNvPr id="85" name="Picture 8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37365" y="4179152"/>
            <a:ext cx="641035" cy="648813"/>
          </a:xfrm>
          <a:prstGeom prst="rect">
            <a:avLst/>
          </a:prstGeom>
        </p:spPr>
      </p:pic>
      <p:grpSp>
        <p:nvGrpSpPr>
          <p:cNvPr id="3" name="Group 2"/>
          <p:cNvGrpSpPr/>
          <p:nvPr/>
        </p:nvGrpSpPr>
        <p:grpSpPr>
          <a:xfrm>
            <a:off x="8041077" y="1893484"/>
            <a:ext cx="3970299" cy="853440"/>
            <a:chOff x="6030808" y="1511553"/>
            <a:chExt cx="2977724" cy="640080"/>
          </a:xfrm>
        </p:grpSpPr>
        <p:sp>
          <p:nvSpPr>
            <p:cNvPr id="8" name="Round Diagonal Corner Rectangle 7"/>
            <p:cNvSpPr/>
            <p:nvPr/>
          </p:nvSpPr>
          <p:spPr>
            <a:xfrm flipH="1">
              <a:off x="6393667" y="1511553"/>
              <a:ext cx="2502503" cy="640080"/>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bg1"/>
                </a:solidFill>
              </a:endParaRPr>
            </a:p>
          </p:txBody>
        </p:sp>
        <p:sp>
          <p:nvSpPr>
            <p:cNvPr id="22" name="Right Arrow 21"/>
            <p:cNvSpPr/>
            <p:nvPr/>
          </p:nvSpPr>
          <p:spPr>
            <a:xfrm>
              <a:off x="6030808" y="1524138"/>
              <a:ext cx="239486" cy="614911"/>
            </a:xfrm>
            <a:prstGeom prst="rightArrow">
              <a:avLst>
                <a:gd name="adj1" fmla="val 50000"/>
                <a:gd name="adj2" fmla="val 106944"/>
              </a:avLst>
            </a:prstGeom>
            <a:solidFill>
              <a:srgbClr val="00B38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bg1"/>
                </a:solidFill>
              </a:endParaRPr>
            </a:p>
          </p:txBody>
        </p:sp>
        <p:sp>
          <p:nvSpPr>
            <p:cNvPr id="27" name="TextBox 26"/>
            <p:cNvSpPr txBox="1"/>
            <p:nvPr/>
          </p:nvSpPr>
          <p:spPr>
            <a:xfrm>
              <a:off x="6993467" y="1569983"/>
              <a:ext cx="2015065" cy="500233"/>
            </a:xfrm>
            <a:prstGeom prst="rect">
              <a:avLst/>
            </a:prstGeom>
            <a:noFill/>
          </p:spPr>
          <p:txBody>
            <a:bodyPr wrap="square" rtlCol="0">
              <a:spAutoFit/>
            </a:bodyPr>
            <a:lstStyle/>
            <a:p>
              <a:pPr defTabSz="573555">
                <a:spcAft>
                  <a:spcPts val="800"/>
                </a:spcAft>
                <a:buSzPct val="100000"/>
              </a:pPr>
              <a:r>
                <a:rPr lang="ru-RU" sz="1867" b="1" dirty="0">
                  <a:solidFill>
                    <a:schemeClr val="bg1"/>
                  </a:solidFill>
                  <a:cs typeface="HP Simplified" pitchFamily="34" charset="0"/>
                </a:rPr>
                <a:t>Доход, бренд, опыт работы с клиентами</a:t>
              </a:r>
              <a:endParaRPr lang="en-US" sz="1867" b="1" dirty="0">
                <a:solidFill>
                  <a:schemeClr val="bg1"/>
                </a:solidFill>
                <a:cs typeface="HP Simplified" pitchFamily="34" charset="0"/>
              </a:endParaRPr>
            </a:p>
          </p:txBody>
        </p:sp>
        <p:pic>
          <p:nvPicPr>
            <p:cNvPr id="86" name="Picture 85"/>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6538373" y="1615641"/>
              <a:ext cx="338002" cy="442707"/>
            </a:xfrm>
            <a:prstGeom prst="rect">
              <a:avLst/>
            </a:prstGeom>
            <a:noFill/>
          </p:spPr>
        </p:pic>
      </p:grpSp>
      <p:grpSp>
        <p:nvGrpSpPr>
          <p:cNvPr id="2" name="Group 1"/>
          <p:cNvGrpSpPr/>
          <p:nvPr/>
        </p:nvGrpSpPr>
        <p:grpSpPr>
          <a:xfrm>
            <a:off x="4189791" y="1893484"/>
            <a:ext cx="3622120" cy="853440"/>
            <a:chOff x="3142343" y="1511553"/>
            <a:chExt cx="2716590" cy="640080"/>
          </a:xfrm>
        </p:grpSpPr>
        <p:sp>
          <p:nvSpPr>
            <p:cNvPr id="12" name="Round Diagonal Corner Rectangle 11"/>
            <p:cNvSpPr/>
            <p:nvPr/>
          </p:nvSpPr>
          <p:spPr>
            <a:xfrm flipH="1">
              <a:off x="3142343" y="1511553"/>
              <a:ext cx="2648854" cy="640080"/>
            </a:xfrm>
            <a:prstGeom prst="round2Diag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bg1"/>
                </a:solidFill>
              </a:endParaRPr>
            </a:p>
          </p:txBody>
        </p:sp>
        <p:sp>
          <p:nvSpPr>
            <p:cNvPr id="26" name="TextBox 25"/>
            <p:cNvSpPr txBox="1"/>
            <p:nvPr/>
          </p:nvSpPr>
          <p:spPr>
            <a:xfrm>
              <a:off x="3733801" y="1544721"/>
              <a:ext cx="2125132" cy="500233"/>
            </a:xfrm>
            <a:prstGeom prst="rect">
              <a:avLst/>
            </a:prstGeom>
            <a:noFill/>
          </p:spPr>
          <p:txBody>
            <a:bodyPr wrap="square" rtlCol="0">
              <a:spAutoFit/>
            </a:bodyPr>
            <a:lstStyle/>
            <a:p>
              <a:pPr defTabSz="573555">
                <a:spcAft>
                  <a:spcPts val="800"/>
                </a:spcAft>
                <a:buSzPct val="100000"/>
              </a:pPr>
              <a:r>
                <a:rPr lang="ru-RU" sz="1867" b="1" dirty="0">
                  <a:solidFill>
                    <a:schemeClr val="bg1"/>
                  </a:solidFill>
                  <a:cs typeface="HP Simplified" pitchFamily="34" charset="0"/>
                </a:rPr>
                <a:t>Соотношение цена / производительность</a:t>
              </a:r>
              <a:endParaRPr lang="en-US" sz="1867" b="1" dirty="0">
                <a:solidFill>
                  <a:schemeClr val="bg1"/>
                </a:solidFill>
                <a:cs typeface="HP Simplified" pitchFamily="34" charset="0"/>
              </a:endParaRPr>
            </a:p>
          </p:txBody>
        </p:sp>
        <p:pic>
          <p:nvPicPr>
            <p:cNvPr id="89" name="Picture 88"/>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rot="16200000">
              <a:off x="3369333" y="1899940"/>
              <a:ext cx="190853" cy="189755"/>
            </a:xfrm>
            <a:prstGeom prst="rect">
              <a:avLst/>
            </a:prstGeom>
            <a:noFill/>
          </p:spPr>
        </p:pic>
        <p:pic>
          <p:nvPicPr>
            <p:cNvPr id="90" name="Picture 89"/>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3271917" y="1556912"/>
              <a:ext cx="368749" cy="374761"/>
            </a:xfrm>
            <a:prstGeom prst="rect">
              <a:avLst/>
            </a:prstGeom>
            <a:noFill/>
          </p:spPr>
        </p:pic>
      </p:grpSp>
      <p:grpSp>
        <p:nvGrpSpPr>
          <p:cNvPr id="4" name="Group 3"/>
          <p:cNvGrpSpPr/>
          <p:nvPr/>
        </p:nvGrpSpPr>
        <p:grpSpPr>
          <a:xfrm>
            <a:off x="4189791" y="2993099"/>
            <a:ext cx="3531808" cy="853440"/>
            <a:chOff x="3142343" y="2336264"/>
            <a:chExt cx="2648856" cy="640080"/>
          </a:xfrm>
        </p:grpSpPr>
        <p:sp>
          <p:nvSpPr>
            <p:cNvPr id="10" name="Round Diagonal Corner Rectangle 9"/>
            <p:cNvSpPr/>
            <p:nvPr/>
          </p:nvSpPr>
          <p:spPr>
            <a:xfrm flipH="1">
              <a:off x="3142343" y="2336264"/>
              <a:ext cx="2648856" cy="640080"/>
            </a:xfrm>
            <a:prstGeom prst="round2Diag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chemeClr val="bg1"/>
                </a:solidFill>
              </a:endParaRPr>
            </a:p>
          </p:txBody>
        </p:sp>
        <p:sp>
          <p:nvSpPr>
            <p:cNvPr id="30" name="TextBox 29"/>
            <p:cNvSpPr txBox="1"/>
            <p:nvPr/>
          </p:nvSpPr>
          <p:spPr>
            <a:xfrm>
              <a:off x="3804801" y="2498948"/>
              <a:ext cx="1960999" cy="284742"/>
            </a:xfrm>
            <a:prstGeom prst="rect">
              <a:avLst/>
            </a:prstGeom>
            <a:noFill/>
          </p:spPr>
          <p:txBody>
            <a:bodyPr wrap="square" rtlCol="0">
              <a:spAutoFit/>
            </a:bodyPr>
            <a:lstStyle/>
            <a:p>
              <a:pPr defTabSz="573555">
                <a:spcAft>
                  <a:spcPts val="800"/>
                </a:spcAft>
                <a:buSzPct val="100000"/>
              </a:pPr>
              <a:r>
                <a:rPr lang="ru-RU" sz="1867" b="1" dirty="0">
                  <a:solidFill>
                    <a:schemeClr val="bg1"/>
                  </a:solidFill>
                  <a:cs typeface="HP Simplified" pitchFamily="34" charset="0"/>
                </a:rPr>
                <a:t>Надежность</a:t>
              </a:r>
              <a:endParaRPr lang="en-US" sz="1867" b="1" dirty="0">
                <a:solidFill>
                  <a:schemeClr val="bg1"/>
                </a:solidFill>
                <a:cs typeface="HP Simplified" pitchFamily="34" charset="0"/>
              </a:endParaRPr>
            </a:p>
          </p:txBody>
        </p:sp>
        <p:pic>
          <p:nvPicPr>
            <p:cNvPr id="91" name="Picture 9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30400" y="2430595"/>
              <a:ext cx="394933" cy="456538"/>
            </a:xfrm>
            <a:prstGeom prst="rect">
              <a:avLst/>
            </a:prstGeom>
          </p:spPr>
        </p:pic>
      </p:grpSp>
      <p:grpSp>
        <p:nvGrpSpPr>
          <p:cNvPr id="19" name="Group 18"/>
          <p:cNvGrpSpPr/>
          <p:nvPr/>
        </p:nvGrpSpPr>
        <p:grpSpPr>
          <a:xfrm>
            <a:off x="4189792" y="5198111"/>
            <a:ext cx="3536808" cy="853440"/>
            <a:chOff x="3142343" y="3990025"/>
            <a:chExt cx="2652606" cy="640080"/>
          </a:xfrm>
        </p:grpSpPr>
        <p:sp>
          <p:nvSpPr>
            <p:cNvPr id="60" name="Round Diagonal Corner Rectangle 59"/>
            <p:cNvSpPr/>
            <p:nvPr/>
          </p:nvSpPr>
          <p:spPr>
            <a:xfrm flipH="1">
              <a:off x="3142343" y="3990025"/>
              <a:ext cx="2648853" cy="640080"/>
            </a:xfrm>
            <a:prstGeom prst="round2Diag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solidFill>
                  <a:schemeClr val="bg1"/>
                </a:solidFill>
              </a:endParaRPr>
            </a:p>
          </p:txBody>
        </p:sp>
        <p:sp>
          <p:nvSpPr>
            <p:cNvPr id="63" name="TextBox 62"/>
            <p:cNvSpPr txBox="1"/>
            <p:nvPr/>
          </p:nvSpPr>
          <p:spPr>
            <a:xfrm>
              <a:off x="3753517" y="4143484"/>
              <a:ext cx="2041432" cy="284742"/>
            </a:xfrm>
            <a:prstGeom prst="rect">
              <a:avLst/>
            </a:prstGeom>
            <a:noFill/>
          </p:spPr>
          <p:txBody>
            <a:bodyPr wrap="square" rtlCol="0">
              <a:spAutoFit/>
            </a:bodyPr>
            <a:lstStyle/>
            <a:p>
              <a:pPr defTabSz="573555">
                <a:spcAft>
                  <a:spcPts val="800"/>
                </a:spcAft>
                <a:buSzPct val="100000"/>
              </a:pPr>
              <a:r>
                <a:rPr lang="ru-RU" sz="1867" b="1" dirty="0">
                  <a:solidFill>
                    <a:schemeClr val="bg1"/>
                  </a:solidFill>
                  <a:cs typeface="HP Simplified" pitchFamily="34" charset="0"/>
                </a:rPr>
                <a:t>Долгосрочный план</a:t>
              </a:r>
              <a:endParaRPr lang="en-US" sz="1867" b="1" dirty="0">
                <a:solidFill>
                  <a:schemeClr val="bg1"/>
                </a:solidFill>
                <a:cs typeface="HP Simplified" pitchFamily="34" charset="0"/>
              </a:endParaRPr>
            </a:p>
          </p:txBody>
        </p:sp>
        <p:pic>
          <p:nvPicPr>
            <p:cNvPr id="92" name="Picture 91"/>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3261879" y="4113170"/>
              <a:ext cx="496096" cy="388004"/>
            </a:xfrm>
            <a:prstGeom prst="rect">
              <a:avLst/>
            </a:prstGeom>
            <a:noFill/>
          </p:spPr>
        </p:pic>
      </p:grpSp>
      <p:grpSp>
        <p:nvGrpSpPr>
          <p:cNvPr id="21" name="Group 20"/>
          <p:cNvGrpSpPr/>
          <p:nvPr/>
        </p:nvGrpSpPr>
        <p:grpSpPr>
          <a:xfrm>
            <a:off x="8041081" y="5198114"/>
            <a:ext cx="3904908" cy="853440"/>
            <a:chOff x="6030808" y="3990025"/>
            <a:chExt cx="2928681" cy="640080"/>
          </a:xfrm>
        </p:grpSpPr>
        <p:sp>
          <p:nvSpPr>
            <p:cNvPr id="59" name="Round Diagonal Corner Rectangle 58"/>
            <p:cNvSpPr/>
            <p:nvPr/>
          </p:nvSpPr>
          <p:spPr>
            <a:xfrm flipH="1">
              <a:off x="6393667" y="3990025"/>
              <a:ext cx="2502503" cy="640080"/>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solidFill>
                  <a:schemeClr val="bg1"/>
                </a:solidFill>
              </a:endParaRPr>
            </a:p>
          </p:txBody>
        </p:sp>
        <p:sp>
          <p:nvSpPr>
            <p:cNvPr id="62" name="Right Arrow 61"/>
            <p:cNvSpPr/>
            <p:nvPr/>
          </p:nvSpPr>
          <p:spPr>
            <a:xfrm>
              <a:off x="6030808" y="4002610"/>
              <a:ext cx="239486" cy="614911"/>
            </a:xfrm>
            <a:prstGeom prst="rightArrow">
              <a:avLst>
                <a:gd name="adj1" fmla="val 50000"/>
                <a:gd name="adj2" fmla="val 106944"/>
              </a:avLst>
            </a:prstGeom>
            <a:solidFill>
              <a:srgbClr val="00B38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solidFill>
                  <a:schemeClr val="bg1"/>
                </a:solidFill>
              </a:endParaRPr>
            </a:p>
          </p:txBody>
        </p:sp>
        <p:sp>
          <p:nvSpPr>
            <p:cNvPr id="64" name="TextBox 63"/>
            <p:cNvSpPr txBox="1"/>
            <p:nvPr/>
          </p:nvSpPr>
          <p:spPr>
            <a:xfrm>
              <a:off x="7009434" y="4055137"/>
              <a:ext cx="1950055" cy="438581"/>
            </a:xfrm>
            <a:prstGeom prst="rect">
              <a:avLst/>
            </a:prstGeom>
            <a:noFill/>
          </p:spPr>
          <p:txBody>
            <a:bodyPr wrap="square" rtlCol="0">
              <a:spAutoFit/>
            </a:bodyPr>
            <a:lstStyle/>
            <a:p>
              <a:pPr defTabSz="573555">
                <a:spcAft>
                  <a:spcPts val="800"/>
                </a:spcAft>
                <a:buSzPct val="100000"/>
              </a:pPr>
              <a:r>
                <a:rPr lang="ru-RU" sz="1600" b="1" dirty="0">
                  <a:solidFill>
                    <a:schemeClr val="bg1"/>
                  </a:solidFill>
                  <a:cs typeface="HP Simplified" pitchFamily="34" charset="0"/>
                </a:rPr>
                <a:t>Краткосрочные </a:t>
              </a:r>
              <a:r>
                <a:rPr lang="ru-RU" sz="1600" b="1" dirty="0" err="1">
                  <a:solidFill>
                    <a:schemeClr val="bg1"/>
                  </a:solidFill>
                  <a:cs typeface="HP Simplified" pitchFamily="34" charset="0"/>
                </a:rPr>
                <a:t>инно-вационные</a:t>
              </a:r>
              <a:r>
                <a:rPr lang="ru-RU" sz="1600" b="1" dirty="0">
                  <a:solidFill>
                    <a:schemeClr val="bg1"/>
                  </a:solidFill>
                  <a:cs typeface="HP Simplified" pitchFamily="34" charset="0"/>
                </a:rPr>
                <a:t> проекты</a:t>
              </a:r>
              <a:endParaRPr lang="en-US" sz="1600" b="1" dirty="0">
                <a:solidFill>
                  <a:schemeClr val="bg1"/>
                </a:solidFill>
                <a:cs typeface="HP Simplified" pitchFamily="34" charset="0"/>
              </a:endParaRPr>
            </a:p>
          </p:txBody>
        </p:sp>
        <p:pic>
          <p:nvPicPr>
            <p:cNvPr id="93" name="Picture 92"/>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6486472" y="4061314"/>
              <a:ext cx="551019" cy="478096"/>
            </a:xfrm>
            <a:prstGeom prst="rect">
              <a:avLst/>
            </a:prstGeom>
          </p:spPr>
        </p:pic>
      </p:grpSp>
      <p:grpSp>
        <p:nvGrpSpPr>
          <p:cNvPr id="7" name="Group 6"/>
          <p:cNvGrpSpPr/>
          <p:nvPr/>
        </p:nvGrpSpPr>
        <p:grpSpPr>
          <a:xfrm>
            <a:off x="8041077" y="2993099"/>
            <a:ext cx="3904907" cy="853440"/>
            <a:chOff x="6030808" y="2336264"/>
            <a:chExt cx="2928680" cy="640080"/>
          </a:xfrm>
        </p:grpSpPr>
        <p:sp>
          <p:nvSpPr>
            <p:cNvPr id="6" name="Round Diagonal Corner Rectangle 5"/>
            <p:cNvSpPr/>
            <p:nvPr/>
          </p:nvSpPr>
          <p:spPr>
            <a:xfrm flipH="1">
              <a:off x="6393667" y="2336264"/>
              <a:ext cx="2502504" cy="640080"/>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67" dirty="0">
                <a:solidFill>
                  <a:schemeClr val="bg1"/>
                </a:solidFill>
              </a:endParaRPr>
            </a:p>
          </p:txBody>
        </p:sp>
        <p:sp>
          <p:nvSpPr>
            <p:cNvPr id="24" name="Right Arrow 23"/>
            <p:cNvSpPr/>
            <p:nvPr/>
          </p:nvSpPr>
          <p:spPr>
            <a:xfrm>
              <a:off x="6030808" y="2348849"/>
              <a:ext cx="239486" cy="614911"/>
            </a:xfrm>
            <a:prstGeom prst="rightArrow">
              <a:avLst>
                <a:gd name="adj1" fmla="val 50000"/>
                <a:gd name="adj2" fmla="val 106944"/>
              </a:avLst>
            </a:prstGeom>
            <a:solidFill>
              <a:srgbClr val="00B38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chemeClr val="bg1"/>
                </a:solidFill>
              </a:endParaRPr>
            </a:p>
          </p:txBody>
        </p:sp>
        <p:sp>
          <p:nvSpPr>
            <p:cNvPr id="31" name="TextBox 30"/>
            <p:cNvSpPr txBox="1"/>
            <p:nvPr/>
          </p:nvSpPr>
          <p:spPr>
            <a:xfrm>
              <a:off x="7086599" y="2506914"/>
              <a:ext cx="1872889" cy="284742"/>
            </a:xfrm>
            <a:prstGeom prst="rect">
              <a:avLst/>
            </a:prstGeom>
            <a:noFill/>
          </p:spPr>
          <p:txBody>
            <a:bodyPr wrap="square" rtlCol="0">
              <a:spAutoFit/>
            </a:bodyPr>
            <a:lstStyle/>
            <a:p>
              <a:pPr defTabSz="573555">
                <a:spcAft>
                  <a:spcPts val="800"/>
                </a:spcAft>
                <a:buSzPct val="100000"/>
              </a:pPr>
              <a:r>
                <a:rPr lang="ru-RU" sz="1867" b="1" dirty="0">
                  <a:solidFill>
                    <a:schemeClr val="bg1"/>
                  </a:solidFill>
                  <a:cs typeface="HP Simplified" pitchFamily="34" charset="0"/>
                </a:rPr>
                <a:t>Гибкость</a:t>
              </a:r>
              <a:endParaRPr lang="en-US" sz="1867" b="1" dirty="0">
                <a:solidFill>
                  <a:schemeClr val="bg1"/>
                </a:solidFill>
                <a:cs typeface="HP Simplified" pitchFamily="34" charset="0"/>
              </a:endParaRPr>
            </a:p>
          </p:txBody>
        </p:sp>
        <p:pic>
          <p:nvPicPr>
            <p:cNvPr id="54" name="Picture 53"/>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6493933" y="2448570"/>
              <a:ext cx="557869" cy="420124"/>
            </a:xfrm>
            <a:prstGeom prst="rect">
              <a:avLst/>
            </a:prstGeom>
            <a:noFill/>
          </p:spPr>
        </p:pic>
      </p:grpSp>
      <p:cxnSp>
        <p:nvCxnSpPr>
          <p:cNvPr id="50" name="Straight Arrow Connector 49"/>
          <p:cNvCxnSpPr/>
          <p:nvPr/>
        </p:nvCxnSpPr>
        <p:spPr>
          <a:xfrm>
            <a:off x="541191" y="2837716"/>
            <a:ext cx="10198707" cy="0"/>
          </a:xfrm>
          <a:prstGeom prst="straightConnector1">
            <a:avLst/>
          </a:prstGeom>
          <a:ln w="12700" cmpd="sng">
            <a:solidFill>
              <a:schemeClr val="bg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619711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61"/>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9"/>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3" grpId="0"/>
      <p:bldP spid="6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1" name="Group 450"/>
          <p:cNvGrpSpPr/>
          <p:nvPr/>
        </p:nvGrpSpPr>
        <p:grpSpPr>
          <a:xfrm>
            <a:off x="462844" y="1219201"/>
            <a:ext cx="6465253" cy="5512627"/>
            <a:chOff x="1769586" y="44381"/>
            <a:chExt cx="5576263" cy="5038906"/>
          </a:xfrm>
        </p:grpSpPr>
        <p:grpSp>
          <p:nvGrpSpPr>
            <p:cNvPr id="452" name="Group 451"/>
            <p:cNvGrpSpPr/>
            <p:nvPr/>
          </p:nvGrpSpPr>
          <p:grpSpPr>
            <a:xfrm>
              <a:off x="6507047" y="1019477"/>
              <a:ext cx="139341" cy="156912"/>
              <a:chOff x="6569619" y="815326"/>
              <a:chExt cx="122970" cy="138476"/>
            </a:xfrm>
          </p:grpSpPr>
          <p:sp>
            <p:nvSpPr>
              <p:cNvPr id="811" name="Freeform 810"/>
              <p:cNvSpPr>
                <a:spLocks/>
              </p:cNvSpPr>
              <p:nvPr/>
            </p:nvSpPr>
            <p:spPr bwMode="auto">
              <a:xfrm>
                <a:off x="6580245" y="815326"/>
                <a:ext cx="103233" cy="98274"/>
              </a:xfrm>
              <a:custGeom>
                <a:avLst/>
                <a:gdLst>
                  <a:gd name="T0" fmla="*/ 271 w 271"/>
                  <a:gd name="T1" fmla="*/ 114 h 263"/>
                  <a:gd name="T2" fmla="*/ 208 w 271"/>
                  <a:gd name="T3" fmla="*/ 114 h 263"/>
                  <a:gd name="T4" fmla="*/ 208 w 271"/>
                  <a:gd name="T5" fmla="*/ 0 h 263"/>
                  <a:gd name="T6" fmla="*/ 63 w 271"/>
                  <a:gd name="T7" fmla="*/ 0 h 263"/>
                  <a:gd name="T8" fmla="*/ 63 w 271"/>
                  <a:gd name="T9" fmla="*/ 114 h 263"/>
                  <a:gd name="T10" fmla="*/ 0 w 271"/>
                  <a:gd name="T11" fmla="*/ 114 h 263"/>
                  <a:gd name="T12" fmla="*/ 135 w 271"/>
                  <a:gd name="T13" fmla="*/ 263 h 263"/>
                  <a:gd name="T14" fmla="*/ 271 w 271"/>
                  <a:gd name="T15" fmla="*/ 114 h 2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1" h="263">
                    <a:moveTo>
                      <a:pt x="271" y="114"/>
                    </a:moveTo>
                    <a:lnTo>
                      <a:pt x="208" y="114"/>
                    </a:lnTo>
                    <a:lnTo>
                      <a:pt x="208" y="0"/>
                    </a:lnTo>
                    <a:lnTo>
                      <a:pt x="63" y="0"/>
                    </a:lnTo>
                    <a:lnTo>
                      <a:pt x="63" y="114"/>
                    </a:lnTo>
                    <a:lnTo>
                      <a:pt x="0" y="114"/>
                    </a:lnTo>
                    <a:lnTo>
                      <a:pt x="135" y="263"/>
                    </a:lnTo>
                    <a:lnTo>
                      <a:pt x="271" y="114"/>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812" name="Freeform 811"/>
              <p:cNvSpPr>
                <a:spLocks/>
              </p:cNvSpPr>
              <p:nvPr/>
            </p:nvSpPr>
            <p:spPr bwMode="auto">
              <a:xfrm>
                <a:off x="6569619" y="901687"/>
                <a:ext cx="122970" cy="52115"/>
              </a:xfrm>
              <a:custGeom>
                <a:avLst/>
                <a:gdLst>
                  <a:gd name="T0" fmla="*/ 251 w 322"/>
                  <a:gd name="T1" fmla="*/ 0 h 138"/>
                  <a:gd name="T2" fmla="*/ 251 w 322"/>
                  <a:gd name="T3" fmla="*/ 66 h 138"/>
                  <a:gd name="T4" fmla="*/ 72 w 322"/>
                  <a:gd name="T5" fmla="*/ 66 h 138"/>
                  <a:gd name="T6" fmla="*/ 72 w 322"/>
                  <a:gd name="T7" fmla="*/ 0 h 138"/>
                  <a:gd name="T8" fmla="*/ 0 w 322"/>
                  <a:gd name="T9" fmla="*/ 0 h 138"/>
                  <a:gd name="T10" fmla="*/ 0 w 322"/>
                  <a:gd name="T11" fmla="*/ 103 h 138"/>
                  <a:gd name="T12" fmla="*/ 0 w 322"/>
                  <a:gd name="T13" fmla="*/ 103 h 138"/>
                  <a:gd name="T14" fmla="*/ 1 w 322"/>
                  <a:gd name="T15" fmla="*/ 109 h 138"/>
                  <a:gd name="T16" fmla="*/ 3 w 322"/>
                  <a:gd name="T17" fmla="*/ 117 h 138"/>
                  <a:gd name="T18" fmla="*/ 7 w 322"/>
                  <a:gd name="T19" fmla="*/ 122 h 138"/>
                  <a:gd name="T20" fmla="*/ 11 w 322"/>
                  <a:gd name="T21" fmla="*/ 127 h 138"/>
                  <a:gd name="T22" fmla="*/ 16 w 322"/>
                  <a:gd name="T23" fmla="*/ 132 h 138"/>
                  <a:gd name="T24" fmla="*/ 23 w 322"/>
                  <a:gd name="T25" fmla="*/ 135 h 138"/>
                  <a:gd name="T26" fmla="*/ 29 w 322"/>
                  <a:gd name="T27" fmla="*/ 137 h 138"/>
                  <a:gd name="T28" fmla="*/ 37 w 322"/>
                  <a:gd name="T29" fmla="*/ 138 h 138"/>
                  <a:gd name="T30" fmla="*/ 286 w 322"/>
                  <a:gd name="T31" fmla="*/ 138 h 138"/>
                  <a:gd name="T32" fmla="*/ 286 w 322"/>
                  <a:gd name="T33" fmla="*/ 138 h 138"/>
                  <a:gd name="T34" fmla="*/ 294 w 322"/>
                  <a:gd name="T35" fmla="*/ 137 h 138"/>
                  <a:gd name="T36" fmla="*/ 300 w 322"/>
                  <a:gd name="T37" fmla="*/ 135 h 138"/>
                  <a:gd name="T38" fmla="*/ 306 w 322"/>
                  <a:gd name="T39" fmla="*/ 132 h 138"/>
                  <a:gd name="T40" fmla="*/ 311 w 322"/>
                  <a:gd name="T41" fmla="*/ 127 h 138"/>
                  <a:gd name="T42" fmla="*/ 315 w 322"/>
                  <a:gd name="T43" fmla="*/ 122 h 138"/>
                  <a:gd name="T44" fmla="*/ 320 w 322"/>
                  <a:gd name="T45" fmla="*/ 117 h 138"/>
                  <a:gd name="T46" fmla="*/ 321 w 322"/>
                  <a:gd name="T47" fmla="*/ 109 h 138"/>
                  <a:gd name="T48" fmla="*/ 322 w 322"/>
                  <a:gd name="T49" fmla="*/ 103 h 138"/>
                  <a:gd name="T50" fmla="*/ 322 w 322"/>
                  <a:gd name="T51" fmla="*/ 0 h 138"/>
                  <a:gd name="T52" fmla="*/ 251 w 322"/>
                  <a:gd name="T53"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2" h="138">
                    <a:moveTo>
                      <a:pt x="251" y="0"/>
                    </a:moveTo>
                    <a:lnTo>
                      <a:pt x="251" y="66"/>
                    </a:lnTo>
                    <a:lnTo>
                      <a:pt x="72" y="66"/>
                    </a:lnTo>
                    <a:lnTo>
                      <a:pt x="72" y="0"/>
                    </a:lnTo>
                    <a:lnTo>
                      <a:pt x="0" y="0"/>
                    </a:lnTo>
                    <a:lnTo>
                      <a:pt x="0" y="103"/>
                    </a:lnTo>
                    <a:lnTo>
                      <a:pt x="0" y="103"/>
                    </a:lnTo>
                    <a:lnTo>
                      <a:pt x="1" y="109"/>
                    </a:lnTo>
                    <a:lnTo>
                      <a:pt x="3" y="117"/>
                    </a:lnTo>
                    <a:lnTo>
                      <a:pt x="7" y="122"/>
                    </a:lnTo>
                    <a:lnTo>
                      <a:pt x="11" y="127"/>
                    </a:lnTo>
                    <a:lnTo>
                      <a:pt x="16" y="132"/>
                    </a:lnTo>
                    <a:lnTo>
                      <a:pt x="23" y="135"/>
                    </a:lnTo>
                    <a:lnTo>
                      <a:pt x="29" y="137"/>
                    </a:lnTo>
                    <a:lnTo>
                      <a:pt x="37" y="138"/>
                    </a:lnTo>
                    <a:lnTo>
                      <a:pt x="286" y="138"/>
                    </a:lnTo>
                    <a:lnTo>
                      <a:pt x="286" y="138"/>
                    </a:lnTo>
                    <a:lnTo>
                      <a:pt x="294" y="137"/>
                    </a:lnTo>
                    <a:lnTo>
                      <a:pt x="300" y="135"/>
                    </a:lnTo>
                    <a:lnTo>
                      <a:pt x="306" y="132"/>
                    </a:lnTo>
                    <a:lnTo>
                      <a:pt x="311" y="127"/>
                    </a:lnTo>
                    <a:lnTo>
                      <a:pt x="315" y="122"/>
                    </a:lnTo>
                    <a:lnTo>
                      <a:pt x="320" y="117"/>
                    </a:lnTo>
                    <a:lnTo>
                      <a:pt x="321" y="109"/>
                    </a:lnTo>
                    <a:lnTo>
                      <a:pt x="322" y="103"/>
                    </a:lnTo>
                    <a:lnTo>
                      <a:pt x="322" y="0"/>
                    </a:lnTo>
                    <a:lnTo>
                      <a:pt x="251" y="0"/>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sp>
          <p:nvSpPr>
            <p:cNvPr id="453" name="Freeform 452"/>
            <p:cNvSpPr>
              <a:spLocks/>
            </p:cNvSpPr>
            <p:nvPr/>
          </p:nvSpPr>
          <p:spPr bwMode="auto">
            <a:xfrm>
              <a:off x="1769586" y="2245461"/>
              <a:ext cx="295885" cy="273333"/>
            </a:xfrm>
            <a:custGeom>
              <a:avLst/>
              <a:gdLst>
                <a:gd name="T0" fmla="*/ 0 w 688"/>
                <a:gd name="T1" fmla="*/ 109 h 649"/>
                <a:gd name="T2" fmla="*/ 192 w 688"/>
                <a:gd name="T3" fmla="*/ 649 h 649"/>
                <a:gd name="T4" fmla="*/ 688 w 688"/>
                <a:gd name="T5" fmla="*/ 356 h 649"/>
                <a:gd name="T6" fmla="*/ 544 w 688"/>
                <a:gd name="T7" fmla="*/ 304 h 649"/>
                <a:gd name="T8" fmla="*/ 601 w 688"/>
                <a:gd name="T9" fmla="*/ 144 h 649"/>
                <a:gd name="T10" fmla="*/ 198 w 688"/>
                <a:gd name="T11" fmla="*/ 0 h 649"/>
                <a:gd name="T12" fmla="*/ 141 w 688"/>
                <a:gd name="T13" fmla="*/ 159 h 649"/>
                <a:gd name="T14" fmla="*/ 0 w 688"/>
                <a:gd name="T15" fmla="*/ 109 h 6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8" h="649">
                  <a:moveTo>
                    <a:pt x="0" y="109"/>
                  </a:moveTo>
                  <a:lnTo>
                    <a:pt x="192" y="649"/>
                  </a:lnTo>
                  <a:lnTo>
                    <a:pt x="688" y="356"/>
                  </a:lnTo>
                  <a:lnTo>
                    <a:pt x="544" y="304"/>
                  </a:lnTo>
                  <a:lnTo>
                    <a:pt x="601" y="144"/>
                  </a:lnTo>
                  <a:lnTo>
                    <a:pt x="198" y="0"/>
                  </a:lnTo>
                  <a:lnTo>
                    <a:pt x="141" y="159"/>
                  </a:lnTo>
                  <a:lnTo>
                    <a:pt x="0" y="109"/>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54" name="Freeform 453"/>
            <p:cNvSpPr>
              <a:spLocks/>
            </p:cNvSpPr>
            <p:nvPr/>
          </p:nvSpPr>
          <p:spPr bwMode="auto">
            <a:xfrm>
              <a:off x="1862481" y="2169535"/>
              <a:ext cx="194389" cy="119794"/>
            </a:xfrm>
            <a:custGeom>
              <a:avLst/>
              <a:gdLst>
                <a:gd name="T0" fmla="*/ 402 w 452"/>
                <a:gd name="T1" fmla="*/ 283 h 283"/>
                <a:gd name="T2" fmla="*/ 452 w 452"/>
                <a:gd name="T3" fmla="*/ 145 h 283"/>
                <a:gd name="T4" fmla="*/ 49 w 452"/>
                <a:gd name="T5" fmla="*/ 0 h 283"/>
                <a:gd name="T6" fmla="*/ 0 w 452"/>
                <a:gd name="T7" fmla="*/ 137 h 283"/>
                <a:gd name="T8" fmla="*/ 402 w 452"/>
                <a:gd name="T9" fmla="*/ 283 h 283"/>
              </a:gdLst>
              <a:ahLst/>
              <a:cxnLst>
                <a:cxn ang="0">
                  <a:pos x="T0" y="T1"/>
                </a:cxn>
                <a:cxn ang="0">
                  <a:pos x="T2" y="T3"/>
                </a:cxn>
                <a:cxn ang="0">
                  <a:pos x="T4" y="T5"/>
                </a:cxn>
                <a:cxn ang="0">
                  <a:pos x="T6" y="T7"/>
                </a:cxn>
                <a:cxn ang="0">
                  <a:pos x="T8" y="T9"/>
                </a:cxn>
              </a:cxnLst>
              <a:rect l="0" t="0" r="r" b="b"/>
              <a:pathLst>
                <a:path w="452" h="283">
                  <a:moveTo>
                    <a:pt x="402" y="283"/>
                  </a:moveTo>
                  <a:lnTo>
                    <a:pt x="452" y="145"/>
                  </a:lnTo>
                  <a:lnTo>
                    <a:pt x="49" y="0"/>
                  </a:lnTo>
                  <a:lnTo>
                    <a:pt x="0" y="137"/>
                  </a:lnTo>
                  <a:lnTo>
                    <a:pt x="402" y="283"/>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55" name="Freeform 454"/>
            <p:cNvSpPr>
              <a:spLocks/>
            </p:cNvSpPr>
            <p:nvPr/>
          </p:nvSpPr>
          <p:spPr bwMode="auto">
            <a:xfrm>
              <a:off x="1890005" y="2091921"/>
              <a:ext cx="196110" cy="118106"/>
            </a:xfrm>
            <a:custGeom>
              <a:avLst/>
              <a:gdLst>
                <a:gd name="T0" fmla="*/ 0 w 454"/>
                <a:gd name="T1" fmla="*/ 139 h 283"/>
                <a:gd name="T2" fmla="*/ 404 w 454"/>
                <a:gd name="T3" fmla="*/ 283 h 283"/>
                <a:gd name="T4" fmla="*/ 454 w 454"/>
                <a:gd name="T5" fmla="*/ 145 h 283"/>
                <a:gd name="T6" fmla="*/ 50 w 454"/>
                <a:gd name="T7" fmla="*/ 0 h 283"/>
                <a:gd name="T8" fmla="*/ 0 w 454"/>
                <a:gd name="T9" fmla="*/ 139 h 283"/>
              </a:gdLst>
              <a:ahLst/>
              <a:cxnLst>
                <a:cxn ang="0">
                  <a:pos x="T0" y="T1"/>
                </a:cxn>
                <a:cxn ang="0">
                  <a:pos x="T2" y="T3"/>
                </a:cxn>
                <a:cxn ang="0">
                  <a:pos x="T4" y="T5"/>
                </a:cxn>
                <a:cxn ang="0">
                  <a:pos x="T6" y="T7"/>
                </a:cxn>
                <a:cxn ang="0">
                  <a:pos x="T8" y="T9"/>
                </a:cxn>
              </a:cxnLst>
              <a:rect l="0" t="0" r="r" b="b"/>
              <a:pathLst>
                <a:path w="454" h="283">
                  <a:moveTo>
                    <a:pt x="0" y="139"/>
                  </a:moveTo>
                  <a:lnTo>
                    <a:pt x="404" y="283"/>
                  </a:lnTo>
                  <a:lnTo>
                    <a:pt x="454" y="145"/>
                  </a:lnTo>
                  <a:lnTo>
                    <a:pt x="50" y="0"/>
                  </a:lnTo>
                  <a:lnTo>
                    <a:pt x="0" y="139"/>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56" name="Freeform 455"/>
            <p:cNvSpPr>
              <a:spLocks noEditPoints="1"/>
            </p:cNvSpPr>
            <p:nvPr/>
          </p:nvSpPr>
          <p:spPr bwMode="auto">
            <a:xfrm>
              <a:off x="6472031" y="1915372"/>
              <a:ext cx="344052" cy="337447"/>
            </a:xfrm>
            <a:custGeom>
              <a:avLst/>
              <a:gdLst>
                <a:gd name="T0" fmla="*/ 771 w 800"/>
                <a:gd name="T1" fmla="*/ 435 h 803"/>
                <a:gd name="T2" fmla="*/ 765 w 800"/>
                <a:gd name="T3" fmla="*/ 381 h 803"/>
                <a:gd name="T4" fmla="*/ 736 w 800"/>
                <a:gd name="T5" fmla="*/ 340 h 803"/>
                <a:gd name="T6" fmla="*/ 784 w 800"/>
                <a:gd name="T7" fmla="*/ 290 h 803"/>
                <a:gd name="T8" fmla="*/ 717 w 800"/>
                <a:gd name="T9" fmla="*/ 248 h 803"/>
                <a:gd name="T10" fmla="*/ 685 w 800"/>
                <a:gd name="T11" fmla="*/ 202 h 803"/>
                <a:gd name="T12" fmla="*/ 682 w 800"/>
                <a:gd name="T13" fmla="*/ 116 h 803"/>
                <a:gd name="T14" fmla="*/ 621 w 800"/>
                <a:gd name="T15" fmla="*/ 140 h 803"/>
                <a:gd name="T16" fmla="*/ 592 w 800"/>
                <a:gd name="T17" fmla="*/ 99 h 803"/>
                <a:gd name="T18" fmla="*/ 551 w 800"/>
                <a:gd name="T19" fmla="*/ 52 h 803"/>
                <a:gd name="T20" fmla="*/ 493 w 800"/>
                <a:gd name="T21" fmla="*/ 73 h 803"/>
                <a:gd name="T22" fmla="*/ 468 w 800"/>
                <a:gd name="T23" fmla="*/ 27 h 803"/>
                <a:gd name="T24" fmla="*/ 408 w 800"/>
                <a:gd name="T25" fmla="*/ 43 h 803"/>
                <a:gd name="T26" fmla="*/ 361 w 800"/>
                <a:gd name="T27" fmla="*/ 61 h 803"/>
                <a:gd name="T28" fmla="*/ 323 w 800"/>
                <a:gd name="T29" fmla="*/ 8 h 803"/>
                <a:gd name="T30" fmla="*/ 272 w 800"/>
                <a:gd name="T31" fmla="*/ 77 h 803"/>
                <a:gd name="T32" fmla="*/ 220 w 800"/>
                <a:gd name="T33" fmla="*/ 97 h 803"/>
                <a:gd name="T34" fmla="*/ 155 w 800"/>
                <a:gd name="T35" fmla="*/ 110 h 803"/>
                <a:gd name="T36" fmla="*/ 155 w 800"/>
                <a:gd name="T37" fmla="*/ 162 h 803"/>
                <a:gd name="T38" fmla="*/ 108 w 800"/>
                <a:gd name="T39" fmla="*/ 181 h 803"/>
                <a:gd name="T40" fmla="*/ 72 w 800"/>
                <a:gd name="T41" fmla="*/ 223 h 803"/>
                <a:gd name="T42" fmla="*/ 80 w 800"/>
                <a:gd name="T43" fmla="*/ 278 h 803"/>
                <a:gd name="T44" fmla="*/ 13 w 800"/>
                <a:gd name="T45" fmla="*/ 294 h 803"/>
                <a:gd name="T46" fmla="*/ 48 w 800"/>
                <a:gd name="T47" fmla="*/ 364 h 803"/>
                <a:gd name="T48" fmla="*/ 54 w 800"/>
                <a:gd name="T49" fmla="*/ 414 h 803"/>
                <a:gd name="T50" fmla="*/ 3 w 800"/>
                <a:gd name="T51" fmla="*/ 468 h 803"/>
                <a:gd name="T52" fmla="*/ 69 w 800"/>
                <a:gd name="T53" fmla="*/ 503 h 803"/>
                <a:gd name="T54" fmla="*/ 76 w 800"/>
                <a:gd name="T55" fmla="*/ 558 h 803"/>
                <a:gd name="T56" fmla="*/ 87 w 800"/>
                <a:gd name="T57" fmla="*/ 618 h 803"/>
                <a:gd name="T58" fmla="*/ 138 w 800"/>
                <a:gd name="T59" fmla="*/ 623 h 803"/>
                <a:gd name="T60" fmla="*/ 149 w 800"/>
                <a:gd name="T61" fmla="*/ 678 h 803"/>
                <a:gd name="T62" fmla="*/ 197 w 800"/>
                <a:gd name="T63" fmla="*/ 706 h 803"/>
                <a:gd name="T64" fmla="*/ 246 w 800"/>
                <a:gd name="T65" fmla="*/ 708 h 803"/>
                <a:gd name="T66" fmla="*/ 256 w 800"/>
                <a:gd name="T67" fmla="*/ 777 h 803"/>
                <a:gd name="T68" fmla="*/ 320 w 800"/>
                <a:gd name="T69" fmla="*/ 759 h 803"/>
                <a:gd name="T70" fmla="*/ 367 w 800"/>
                <a:gd name="T71" fmla="*/ 742 h 803"/>
                <a:gd name="T72" fmla="*/ 401 w 800"/>
                <a:gd name="T73" fmla="*/ 803 h 803"/>
                <a:gd name="T74" fmla="*/ 460 w 800"/>
                <a:gd name="T75" fmla="*/ 750 h 803"/>
                <a:gd name="T76" fmla="*/ 513 w 800"/>
                <a:gd name="T77" fmla="*/ 732 h 803"/>
                <a:gd name="T78" fmla="*/ 596 w 800"/>
                <a:gd name="T79" fmla="*/ 751 h 803"/>
                <a:gd name="T80" fmla="*/ 591 w 800"/>
                <a:gd name="T81" fmla="*/ 686 h 803"/>
                <a:gd name="T82" fmla="*/ 645 w 800"/>
                <a:gd name="T83" fmla="*/ 672 h 803"/>
                <a:gd name="T84" fmla="*/ 688 w 800"/>
                <a:gd name="T85" fmla="*/ 638 h 803"/>
                <a:gd name="T86" fmla="*/ 690 w 800"/>
                <a:gd name="T87" fmla="*/ 581 h 803"/>
                <a:gd name="T88" fmla="*/ 741 w 800"/>
                <a:gd name="T89" fmla="*/ 570 h 803"/>
                <a:gd name="T90" fmla="*/ 742 w 800"/>
                <a:gd name="T91" fmla="*/ 508 h 803"/>
                <a:gd name="T92" fmla="*/ 672 w 800"/>
                <a:gd name="T93" fmla="*/ 430 h 803"/>
                <a:gd name="T94" fmla="*/ 638 w 800"/>
                <a:gd name="T95" fmla="*/ 534 h 803"/>
                <a:gd name="T96" fmla="*/ 490 w 800"/>
                <a:gd name="T97" fmla="*/ 659 h 803"/>
                <a:gd name="T98" fmla="*/ 369 w 800"/>
                <a:gd name="T99" fmla="*/ 672 h 803"/>
                <a:gd name="T100" fmla="*/ 266 w 800"/>
                <a:gd name="T101" fmla="*/ 640 h 803"/>
                <a:gd name="T102" fmla="*/ 141 w 800"/>
                <a:gd name="T103" fmla="*/ 491 h 803"/>
                <a:gd name="T104" fmla="*/ 128 w 800"/>
                <a:gd name="T105" fmla="*/ 370 h 803"/>
                <a:gd name="T106" fmla="*/ 160 w 800"/>
                <a:gd name="T107" fmla="*/ 266 h 803"/>
                <a:gd name="T108" fmla="*/ 309 w 800"/>
                <a:gd name="T109" fmla="*/ 142 h 803"/>
                <a:gd name="T110" fmla="*/ 430 w 800"/>
                <a:gd name="T111" fmla="*/ 128 h 803"/>
                <a:gd name="T112" fmla="*/ 534 w 800"/>
                <a:gd name="T113" fmla="*/ 161 h 803"/>
                <a:gd name="T114" fmla="*/ 658 w 800"/>
                <a:gd name="T115" fmla="*/ 309 h 803"/>
                <a:gd name="T116" fmla="*/ 672 w 800"/>
                <a:gd name="T117" fmla="*/ 430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0" h="803">
                  <a:moveTo>
                    <a:pt x="736" y="465"/>
                  </a:moveTo>
                  <a:lnTo>
                    <a:pt x="736" y="465"/>
                  </a:lnTo>
                  <a:lnTo>
                    <a:pt x="738" y="458"/>
                  </a:lnTo>
                  <a:lnTo>
                    <a:pt x="741" y="452"/>
                  </a:lnTo>
                  <a:lnTo>
                    <a:pt x="745" y="446"/>
                  </a:lnTo>
                  <a:lnTo>
                    <a:pt x="751" y="442"/>
                  </a:lnTo>
                  <a:lnTo>
                    <a:pt x="756" y="439"/>
                  </a:lnTo>
                  <a:lnTo>
                    <a:pt x="764" y="437"/>
                  </a:lnTo>
                  <a:lnTo>
                    <a:pt x="771" y="435"/>
                  </a:lnTo>
                  <a:lnTo>
                    <a:pt x="779" y="435"/>
                  </a:lnTo>
                  <a:lnTo>
                    <a:pt x="799" y="437"/>
                  </a:lnTo>
                  <a:lnTo>
                    <a:pt x="799" y="437"/>
                  </a:lnTo>
                  <a:lnTo>
                    <a:pt x="800" y="409"/>
                  </a:lnTo>
                  <a:lnTo>
                    <a:pt x="800" y="381"/>
                  </a:lnTo>
                  <a:lnTo>
                    <a:pt x="780" y="382"/>
                  </a:lnTo>
                  <a:lnTo>
                    <a:pt x="780" y="382"/>
                  </a:lnTo>
                  <a:lnTo>
                    <a:pt x="772" y="382"/>
                  </a:lnTo>
                  <a:lnTo>
                    <a:pt x="765" y="381"/>
                  </a:lnTo>
                  <a:lnTo>
                    <a:pt x="757" y="377"/>
                  </a:lnTo>
                  <a:lnTo>
                    <a:pt x="752" y="373"/>
                  </a:lnTo>
                  <a:lnTo>
                    <a:pt x="746" y="369"/>
                  </a:lnTo>
                  <a:lnTo>
                    <a:pt x="742" y="363"/>
                  </a:lnTo>
                  <a:lnTo>
                    <a:pt x="739" y="357"/>
                  </a:lnTo>
                  <a:lnTo>
                    <a:pt x="738" y="350"/>
                  </a:lnTo>
                  <a:lnTo>
                    <a:pt x="738" y="350"/>
                  </a:lnTo>
                  <a:lnTo>
                    <a:pt x="736" y="340"/>
                  </a:lnTo>
                  <a:lnTo>
                    <a:pt x="736" y="340"/>
                  </a:lnTo>
                  <a:lnTo>
                    <a:pt x="736" y="332"/>
                  </a:lnTo>
                  <a:lnTo>
                    <a:pt x="736" y="326"/>
                  </a:lnTo>
                  <a:lnTo>
                    <a:pt x="738" y="319"/>
                  </a:lnTo>
                  <a:lnTo>
                    <a:pt x="741" y="313"/>
                  </a:lnTo>
                  <a:lnTo>
                    <a:pt x="746" y="307"/>
                  </a:lnTo>
                  <a:lnTo>
                    <a:pt x="752" y="303"/>
                  </a:lnTo>
                  <a:lnTo>
                    <a:pt x="758" y="299"/>
                  </a:lnTo>
                  <a:lnTo>
                    <a:pt x="765" y="295"/>
                  </a:lnTo>
                  <a:lnTo>
                    <a:pt x="784" y="290"/>
                  </a:lnTo>
                  <a:lnTo>
                    <a:pt x="784" y="290"/>
                  </a:lnTo>
                  <a:lnTo>
                    <a:pt x="776" y="264"/>
                  </a:lnTo>
                  <a:lnTo>
                    <a:pt x="766" y="238"/>
                  </a:lnTo>
                  <a:lnTo>
                    <a:pt x="747" y="246"/>
                  </a:lnTo>
                  <a:lnTo>
                    <a:pt x="747" y="246"/>
                  </a:lnTo>
                  <a:lnTo>
                    <a:pt x="740" y="249"/>
                  </a:lnTo>
                  <a:lnTo>
                    <a:pt x="732" y="250"/>
                  </a:lnTo>
                  <a:lnTo>
                    <a:pt x="725" y="250"/>
                  </a:lnTo>
                  <a:lnTo>
                    <a:pt x="717" y="248"/>
                  </a:lnTo>
                  <a:lnTo>
                    <a:pt x="711" y="246"/>
                  </a:lnTo>
                  <a:lnTo>
                    <a:pt x="705" y="242"/>
                  </a:lnTo>
                  <a:lnTo>
                    <a:pt x="700" y="238"/>
                  </a:lnTo>
                  <a:lnTo>
                    <a:pt x="697" y="232"/>
                  </a:lnTo>
                  <a:lnTo>
                    <a:pt x="690" y="222"/>
                  </a:lnTo>
                  <a:lnTo>
                    <a:pt x="690" y="222"/>
                  </a:lnTo>
                  <a:lnTo>
                    <a:pt x="687" y="215"/>
                  </a:lnTo>
                  <a:lnTo>
                    <a:pt x="686" y="209"/>
                  </a:lnTo>
                  <a:lnTo>
                    <a:pt x="685" y="202"/>
                  </a:lnTo>
                  <a:lnTo>
                    <a:pt x="686" y="195"/>
                  </a:lnTo>
                  <a:lnTo>
                    <a:pt x="688" y="188"/>
                  </a:lnTo>
                  <a:lnTo>
                    <a:pt x="691" y="182"/>
                  </a:lnTo>
                  <a:lnTo>
                    <a:pt x="697" y="176"/>
                  </a:lnTo>
                  <a:lnTo>
                    <a:pt x="702" y="171"/>
                  </a:lnTo>
                  <a:lnTo>
                    <a:pt x="718" y="158"/>
                  </a:lnTo>
                  <a:lnTo>
                    <a:pt x="718" y="158"/>
                  </a:lnTo>
                  <a:lnTo>
                    <a:pt x="701" y="137"/>
                  </a:lnTo>
                  <a:lnTo>
                    <a:pt x="682" y="116"/>
                  </a:lnTo>
                  <a:lnTo>
                    <a:pt x="668" y="131"/>
                  </a:lnTo>
                  <a:lnTo>
                    <a:pt x="668" y="131"/>
                  </a:lnTo>
                  <a:lnTo>
                    <a:pt x="661" y="135"/>
                  </a:lnTo>
                  <a:lnTo>
                    <a:pt x="655" y="140"/>
                  </a:lnTo>
                  <a:lnTo>
                    <a:pt x="648" y="142"/>
                  </a:lnTo>
                  <a:lnTo>
                    <a:pt x="641" y="143"/>
                  </a:lnTo>
                  <a:lnTo>
                    <a:pt x="634" y="143"/>
                  </a:lnTo>
                  <a:lnTo>
                    <a:pt x="627" y="142"/>
                  </a:lnTo>
                  <a:lnTo>
                    <a:pt x="621" y="140"/>
                  </a:lnTo>
                  <a:lnTo>
                    <a:pt x="615" y="137"/>
                  </a:lnTo>
                  <a:lnTo>
                    <a:pt x="615" y="137"/>
                  </a:lnTo>
                  <a:lnTo>
                    <a:pt x="606" y="129"/>
                  </a:lnTo>
                  <a:lnTo>
                    <a:pt x="606" y="129"/>
                  </a:lnTo>
                  <a:lnTo>
                    <a:pt x="601" y="125"/>
                  </a:lnTo>
                  <a:lnTo>
                    <a:pt x="597" y="118"/>
                  </a:lnTo>
                  <a:lnTo>
                    <a:pt x="594" y="113"/>
                  </a:lnTo>
                  <a:lnTo>
                    <a:pt x="592" y="105"/>
                  </a:lnTo>
                  <a:lnTo>
                    <a:pt x="592" y="99"/>
                  </a:lnTo>
                  <a:lnTo>
                    <a:pt x="593" y="91"/>
                  </a:lnTo>
                  <a:lnTo>
                    <a:pt x="595" y="84"/>
                  </a:lnTo>
                  <a:lnTo>
                    <a:pt x="598" y="77"/>
                  </a:lnTo>
                  <a:lnTo>
                    <a:pt x="609" y="60"/>
                  </a:lnTo>
                  <a:lnTo>
                    <a:pt x="609" y="60"/>
                  </a:lnTo>
                  <a:lnTo>
                    <a:pt x="584" y="46"/>
                  </a:lnTo>
                  <a:lnTo>
                    <a:pt x="560" y="34"/>
                  </a:lnTo>
                  <a:lnTo>
                    <a:pt x="551" y="52"/>
                  </a:lnTo>
                  <a:lnTo>
                    <a:pt x="551" y="52"/>
                  </a:lnTo>
                  <a:lnTo>
                    <a:pt x="548" y="60"/>
                  </a:lnTo>
                  <a:lnTo>
                    <a:pt x="542" y="65"/>
                  </a:lnTo>
                  <a:lnTo>
                    <a:pt x="537" y="70"/>
                  </a:lnTo>
                  <a:lnTo>
                    <a:pt x="531" y="74"/>
                  </a:lnTo>
                  <a:lnTo>
                    <a:pt x="525" y="76"/>
                  </a:lnTo>
                  <a:lnTo>
                    <a:pt x="517" y="77"/>
                  </a:lnTo>
                  <a:lnTo>
                    <a:pt x="511" y="77"/>
                  </a:lnTo>
                  <a:lnTo>
                    <a:pt x="504" y="76"/>
                  </a:lnTo>
                  <a:lnTo>
                    <a:pt x="493" y="73"/>
                  </a:lnTo>
                  <a:lnTo>
                    <a:pt x="493" y="73"/>
                  </a:lnTo>
                  <a:lnTo>
                    <a:pt x="487" y="71"/>
                  </a:lnTo>
                  <a:lnTo>
                    <a:pt x="481" y="66"/>
                  </a:lnTo>
                  <a:lnTo>
                    <a:pt x="476" y="62"/>
                  </a:lnTo>
                  <a:lnTo>
                    <a:pt x="472" y="56"/>
                  </a:lnTo>
                  <a:lnTo>
                    <a:pt x="469" y="49"/>
                  </a:lnTo>
                  <a:lnTo>
                    <a:pt x="468" y="43"/>
                  </a:lnTo>
                  <a:lnTo>
                    <a:pt x="467" y="35"/>
                  </a:lnTo>
                  <a:lnTo>
                    <a:pt x="468" y="27"/>
                  </a:lnTo>
                  <a:lnTo>
                    <a:pt x="471" y="7"/>
                  </a:lnTo>
                  <a:lnTo>
                    <a:pt x="471" y="7"/>
                  </a:lnTo>
                  <a:lnTo>
                    <a:pt x="443" y="3"/>
                  </a:lnTo>
                  <a:lnTo>
                    <a:pt x="416" y="0"/>
                  </a:lnTo>
                  <a:lnTo>
                    <a:pt x="415" y="21"/>
                  </a:lnTo>
                  <a:lnTo>
                    <a:pt x="415" y="21"/>
                  </a:lnTo>
                  <a:lnTo>
                    <a:pt x="414" y="29"/>
                  </a:lnTo>
                  <a:lnTo>
                    <a:pt x="412" y="36"/>
                  </a:lnTo>
                  <a:lnTo>
                    <a:pt x="408" y="43"/>
                  </a:lnTo>
                  <a:lnTo>
                    <a:pt x="404" y="48"/>
                  </a:lnTo>
                  <a:lnTo>
                    <a:pt x="399" y="53"/>
                  </a:lnTo>
                  <a:lnTo>
                    <a:pt x="393" y="57"/>
                  </a:lnTo>
                  <a:lnTo>
                    <a:pt x="387" y="59"/>
                  </a:lnTo>
                  <a:lnTo>
                    <a:pt x="380" y="60"/>
                  </a:lnTo>
                  <a:lnTo>
                    <a:pt x="380" y="60"/>
                  </a:lnTo>
                  <a:lnTo>
                    <a:pt x="368" y="61"/>
                  </a:lnTo>
                  <a:lnTo>
                    <a:pt x="368" y="61"/>
                  </a:lnTo>
                  <a:lnTo>
                    <a:pt x="361" y="61"/>
                  </a:lnTo>
                  <a:lnTo>
                    <a:pt x="354" y="60"/>
                  </a:lnTo>
                  <a:lnTo>
                    <a:pt x="348" y="57"/>
                  </a:lnTo>
                  <a:lnTo>
                    <a:pt x="342" y="52"/>
                  </a:lnTo>
                  <a:lnTo>
                    <a:pt x="337" y="48"/>
                  </a:lnTo>
                  <a:lnTo>
                    <a:pt x="333" y="41"/>
                  </a:lnTo>
                  <a:lnTo>
                    <a:pt x="330" y="35"/>
                  </a:lnTo>
                  <a:lnTo>
                    <a:pt x="327" y="27"/>
                  </a:lnTo>
                  <a:lnTo>
                    <a:pt x="323" y="8"/>
                  </a:lnTo>
                  <a:lnTo>
                    <a:pt x="323" y="8"/>
                  </a:lnTo>
                  <a:lnTo>
                    <a:pt x="296" y="13"/>
                  </a:lnTo>
                  <a:lnTo>
                    <a:pt x="270" y="22"/>
                  </a:lnTo>
                  <a:lnTo>
                    <a:pt x="277" y="41"/>
                  </a:lnTo>
                  <a:lnTo>
                    <a:pt x="277" y="41"/>
                  </a:lnTo>
                  <a:lnTo>
                    <a:pt x="279" y="49"/>
                  </a:lnTo>
                  <a:lnTo>
                    <a:pt x="279" y="57"/>
                  </a:lnTo>
                  <a:lnTo>
                    <a:pt x="278" y="64"/>
                  </a:lnTo>
                  <a:lnTo>
                    <a:pt x="276" y="71"/>
                  </a:lnTo>
                  <a:lnTo>
                    <a:pt x="272" y="77"/>
                  </a:lnTo>
                  <a:lnTo>
                    <a:pt x="269" y="83"/>
                  </a:lnTo>
                  <a:lnTo>
                    <a:pt x="264" y="87"/>
                  </a:lnTo>
                  <a:lnTo>
                    <a:pt x="258" y="90"/>
                  </a:lnTo>
                  <a:lnTo>
                    <a:pt x="247" y="95"/>
                  </a:lnTo>
                  <a:lnTo>
                    <a:pt x="247" y="95"/>
                  </a:lnTo>
                  <a:lnTo>
                    <a:pt x="241" y="98"/>
                  </a:lnTo>
                  <a:lnTo>
                    <a:pt x="234" y="99"/>
                  </a:lnTo>
                  <a:lnTo>
                    <a:pt x="227" y="99"/>
                  </a:lnTo>
                  <a:lnTo>
                    <a:pt x="220" y="97"/>
                  </a:lnTo>
                  <a:lnTo>
                    <a:pt x="214" y="94"/>
                  </a:lnTo>
                  <a:lnTo>
                    <a:pt x="207" y="90"/>
                  </a:lnTo>
                  <a:lnTo>
                    <a:pt x="202" y="85"/>
                  </a:lnTo>
                  <a:lnTo>
                    <a:pt x="197" y="79"/>
                  </a:lnTo>
                  <a:lnTo>
                    <a:pt x="186" y="62"/>
                  </a:lnTo>
                  <a:lnTo>
                    <a:pt x="186" y="62"/>
                  </a:lnTo>
                  <a:lnTo>
                    <a:pt x="163" y="77"/>
                  </a:lnTo>
                  <a:lnTo>
                    <a:pt x="142" y="94"/>
                  </a:lnTo>
                  <a:lnTo>
                    <a:pt x="155" y="110"/>
                  </a:lnTo>
                  <a:lnTo>
                    <a:pt x="155" y="110"/>
                  </a:lnTo>
                  <a:lnTo>
                    <a:pt x="159" y="116"/>
                  </a:lnTo>
                  <a:lnTo>
                    <a:pt x="162" y="124"/>
                  </a:lnTo>
                  <a:lnTo>
                    <a:pt x="164" y="130"/>
                  </a:lnTo>
                  <a:lnTo>
                    <a:pt x="164" y="138"/>
                  </a:lnTo>
                  <a:lnTo>
                    <a:pt x="164" y="144"/>
                  </a:lnTo>
                  <a:lnTo>
                    <a:pt x="162" y="151"/>
                  </a:lnTo>
                  <a:lnTo>
                    <a:pt x="159" y="157"/>
                  </a:lnTo>
                  <a:lnTo>
                    <a:pt x="155" y="162"/>
                  </a:lnTo>
                  <a:lnTo>
                    <a:pt x="155" y="162"/>
                  </a:lnTo>
                  <a:lnTo>
                    <a:pt x="147" y="171"/>
                  </a:lnTo>
                  <a:lnTo>
                    <a:pt x="147" y="171"/>
                  </a:lnTo>
                  <a:lnTo>
                    <a:pt x="142" y="175"/>
                  </a:lnTo>
                  <a:lnTo>
                    <a:pt x="135" y="179"/>
                  </a:lnTo>
                  <a:lnTo>
                    <a:pt x="129" y="181"/>
                  </a:lnTo>
                  <a:lnTo>
                    <a:pt x="122" y="182"/>
                  </a:lnTo>
                  <a:lnTo>
                    <a:pt x="115" y="182"/>
                  </a:lnTo>
                  <a:lnTo>
                    <a:pt x="108" y="181"/>
                  </a:lnTo>
                  <a:lnTo>
                    <a:pt x="101" y="178"/>
                  </a:lnTo>
                  <a:lnTo>
                    <a:pt x="94" y="173"/>
                  </a:lnTo>
                  <a:lnTo>
                    <a:pt x="78" y="161"/>
                  </a:lnTo>
                  <a:lnTo>
                    <a:pt x="78" y="161"/>
                  </a:lnTo>
                  <a:lnTo>
                    <a:pt x="62" y="184"/>
                  </a:lnTo>
                  <a:lnTo>
                    <a:pt x="48" y="208"/>
                  </a:lnTo>
                  <a:lnTo>
                    <a:pt x="66" y="218"/>
                  </a:lnTo>
                  <a:lnTo>
                    <a:pt x="66" y="218"/>
                  </a:lnTo>
                  <a:lnTo>
                    <a:pt x="72" y="223"/>
                  </a:lnTo>
                  <a:lnTo>
                    <a:pt x="78" y="227"/>
                  </a:lnTo>
                  <a:lnTo>
                    <a:pt x="82" y="234"/>
                  </a:lnTo>
                  <a:lnTo>
                    <a:pt x="85" y="240"/>
                  </a:lnTo>
                  <a:lnTo>
                    <a:pt x="87" y="247"/>
                  </a:lnTo>
                  <a:lnTo>
                    <a:pt x="88" y="253"/>
                  </a:lnTo>
                  <a:lnTo>
                    <a:pt x="87" y="261"/>
                  </a:lnTo>
                  <a:lnTo>
                    <a:pt x="85" y="267"/>
                  </a:lnTo>
                  <a:lnTo>
                    <a:pt x="80" y="278"/>
                  </a:lnTo>
                  <a:lnTo>
                    <a:pt x="80" y="278"/>
                  </a:lnTo>
                  <a:lnTo>
                    <a:pt x="77" y="283"/>
                  </a:lnTo>
                  <a:lnTo>
                    <a:pt x="74" y="289"/>
                  </a:lnTo>
                  <a:lnTo>
                    <a:pt x="68" y="293"/>
                  </a:lnTo>
                  <a:lnTo>
                    <a:pt x="62" y="297"/>
                  </a:lnTo>
                  <a:lnTo>
                    <a:pt x="55" y="300"/>
                  </a:lnTo>
                  <a:lnTo>
                    <a:pt x="48" y="301"/>
                  </a:lnTo>
                  <a:lnTo>
                    <a:pt x="40" y="301"/>
                  </a:lnTo>
                  <a:lnTo>
                    <a:pt x="33" y="300"/>
                  </a:lnTo>
                  <a:lnTo>
                    <a:pt x="13" y="294"/>
                  </a:lnTo>
                  <a:lnTo>
                    <a:pt x="13" y="294"/>
                  </a:lnTo>
                  <a:lnTo>
                    <a:pt x="7" y="321"/>
                  </a:lnTo>
                  <a:lnTo>
                    <a:pt x="1" y="348"/>
                  </a:lnTo>
                  <a:lnTo>
                    <a:pt x="22" y="351"/>
                  </a:lnTo>
                  <a:lnTo>
                    <a:pt x="22" y="351"/>
                  </a:lnTo>
                  <a:lnTo>
                    <a:pt x="29" y="353"/>
                  </a:lnTo>
                  <a:lnTo>
                    <a:pt x="37" y="356"/>
                  </a:lnTo>
                  <a:lnTo>
                    <a:pt x="42" y="360"/>
                  </a:lnTo>
                  <a:lnTo>
                    <a:pt x="48" y="364"/>
                  </a:lnTo>
                  <a:lnTo>
                    <a:pt x="52" y="370"/>
                  </a:lnTo>
                  <a:lnTo>
                    <a:pt x="55" y="376"/>
                  </a:lnTo>
                  <a:lnTo>
                    <a:pt x="57" y="383"/>
                  </a:lnTo>
                  <a:lnTo>
                    <a:pt x="57" y="389"/>
                  </a:lnTo>
                  <a:lnTo>
                    <a:pt x="57" y="389"/>
                  </a:lnTo>
                  <a:lnTo>
                    <a:pt x="57" y="401"/>
                  </a:lnTo>
                  <a:lnTo>
                    <a:pt x="57" y="401"/>
                  </a:lnTo>
                  <a:lnTo>
                    <a:pt x="56" y="409"/>
                  </a:lnTo>
                  <a:lnTo>
                    <a:pt x="54" y="414"/>
                  </a:lnTo>
                  <a:lnTo>
                    <a:pt x="51" y="421"/>
                  </a:lnTo>
                  <a:lnTo>
                    <a:pt x="47" y="426"/>
                  </a:lnTo>
                  <a:lnTo>
                    <a:pt x="41" y="430"/>
                  </a:lnTo>
                  <a:lnTo>
                    <a:pt x="35" y="435"/>
                  </a:lnTo>
                  <a:lnTo>
                    <a:pt x="28" y="437"/>
                  </a:lnTo>
                  <a:lnTo>
                    <a:pt x="21" y="439"/>
                  </a:lnTo>
                  <a:lnTo>
                    <a:pt x="0" y="441"/>
                  </a:lnTo>
                  <a:lnTo>
                    <a:pt x="0" y="441"/>
                  </a:lnTo>
                  <a:lnTo>
                    <a:pt x="3" y="468"/>
                  </a:lnTo>
                  <a:lnTo>
                    <a:pt x="9" y="495"/>
                  </a:lnTo>
                  <a:lnTo>
                    <a:pt x="29" y="491"/>
                  </a:lnTo>
                  <a:lnTo>
                    <a:pt x="29" y="491"/>
                  </a:lnTo>
                  <a:lnTo>
                    <a:pt x="37" y="490"/>
                  </a:lnTo>
                  <a:lnTo>
                    <a:pt x="44" y="490"/>
                  </a:lnTo>
                  <a:lnTo>
                    <a:pt x="52" y="492"/>
                  </a:lnTo>
                  <a:lnTo>
                    <a:pt x="58" y="494"/>
                  </a:lnTo>
                  <a:lnTo>
                    <a:pt x="64" y="497"/>
                  </a:lnTo>
                  <a:lnTo>
                    <a:pt x="69" y="503"/>
                  </a:lnTo>
                  <a:lnTo>
                    <a:pt x="74" y="508"/>
                  </a:lnTo>
                  <a:lnTo>
                    <a:pt x="76" y="513"/>
                  </a:lnTo>
                  <a:lnTo>
                    <a:pt x="80" y="525"/>
                  </a:lnTo>
                  <a:lnTo>
                    <a:pt x="80" y="525"/>
                  </a:lnTo>
                  <a:lnTo>
                    <a:pt x="82" y="532"/>
                  </a:lnTo>
                  <a:lnTo>
                    <a:pt x="82" y="538"/>
                  </a:lnTo>
                  <a:lnTo>
                    <a:pt x="81" y="545"/>
                  </a:lnTo>
                  <a:lnTo>
                    <a:pt x="79" y="551"/>
                  </a:lnTo>
                  <a:lnTo>
                    <a:pt x="76" y="558"/>
                  </a:lnTo>
                  <a:lnTo>
                    <a:pt x="71" y="564"/>
                  </a:lnTo>
                  <a:lnTo>
                    <a:pt x="66" y="569"/>
                  </a:lnTo>
                  <a:lnTo>
                    <a:pt x="60" y="573"/>
                  </a:lnTo>
                  <a:lnTo>
                    <a:pt x="41" y="583"/>
                  </a:lnTo>
                  <a:lnTo>
                    <a:pt x="41" y="583"/>
                  </a:lnTo>
                  <a:lnTo>
                    <a:pt x="54" y="606"/>
                  </a:lnTo>
                  <a:lnTo>
                    <a:pt x="69" y="630"/>
                  </a:lnTo>
                  <a:lnTo>
                    <a:pt x="87" y="618"/>
                  </a:lnTo>
                  <a:lnTo>
                    <a:pt x="87" y="618"/>
                  </a:lnTo>
                  <a:lnTo>
                    <a:pt x="93" y="615"/>
                  </a:lnTo>
                  <a:lnTo>
                    <a:pt x="101" y="612"/>
                  </a:lnTo>
                  <a:lnTo>
                    <a:pt x="107" y="611"/>
                  </a:lnTo>
                  <a:lnTo>
                    <a:pt x="115" y="611"/>
                  </a:lnTo>
                  <a:lnTo>
                    <a:pt x="121" y="613"/>
                  </a:lnTo>
                  <a:lnTo>
                    <a:pt x="128" y="615"/>
                  </a:lnTo>
                  <a:lnTo>
                    <a:pt x="134" y="618"/>
                  </a:lnTo>
                  <a:lnTo>
                    <a:pt x="138" y="623"/>
                  </a:lnTo>
                  <a:lnTo>
                    <a:pt x="138" y="623"/>
                  </a:lnTo>
                  <a:lnTo>
                    <a:pt x="146" y="632"/>
                  </a:lnTo>
                  <a:lnTo>
                    <a:pt x="146" y="632"/>
                  </a:lnTo>
                  <a:lnTo>
                    <a:pt x="150" y="638"/>
                  </a:lnTo>
                  <a:lnTo>
                    <a:pt x="153" y="644"/>
                  </a:lnTo>
                  <a:lnTo>
                    <a:pt x="155" y="651"/>
                  </a:lnTo>
                  <a:lnTo>
                    <a:pt x="155" y="657"/>
                  </a:lnTo>
                  <a:lnTo>
                    <a:pt x="155" y="665"/>
                  </a:lnTo>
                  <a:lnTo>
                    <a:pt x="152" y="671"/>
                  </a:lnTo>
                  <a:lnTo>
                    <a:pt x="149" y="678"/>
                  </a:lnTo>
                  <a:lnTo>
                    <a:pt x="144" y="684"/>
                  </a:lnTo>
                  <a:lnTo>
                    <a:pt x="131" y="699"/>
                  </a:lnTo>
                  <a:lnTo>
                    <a:pt x="131" y="699"/>
                  </a:lnTo>
                  <a:lnTo>
                    <a:pt x="151" y="718"/>
                  </a:lnTo>
                  <a:lnTo>
                    <a:pt x="174" y="734"/>
                  </a:lnTo>
                  <a:lnTo>
                    <a:pt x="186" y="716"/>
                  </a:lnTo>
                  <a:lnTo>
                    <a:pt x="186" y="716"/>
                  </a:lnTo>
                  <a:lnTo>
                    <a:pt x="190" y="711"/>
                  </a:lnTo>
                  <a:lnTo>
                    <a:pt x="197" y="706"/>
                  </a:lnTo>
                  <a:lnTo>
                    <a:pt x="203" y="702"/>
                  </a:lnTo>
                  <a:lnTo>
                    <a:pt x="210" y="700"/>
                  </a:lnTo>
                  <a:lnTo>
                    <a:pt x="216" y="698"/>
                  </a:lnTo>
                  <a:lnTo>
                    <a:pt x="223" y="698"/>
                  </a:lnTo>
                  <a:lnTo>
                    <a:pt x="230" y="699"/>
                  </a:lnTo>
                  <a:lnTo>
                    <a:pt x="236" y="702"/>
                  </a:lnTo>
                  <a:lnTo>
                    <a:pt x="236" y="702"/>
                  </a:lnTo>
                  <a:lnTo>
                    <a:pt x="246" y="708"/>
                  </a:lnTo>
                  <a:lnTo>
                    <a:pt x="246" y="708"/>
                  </a:lnTo>
                  <a:lnTo>
                    <a:pt x="252" y="711"/>
                  </a:lnTo>
                  <a:lnTo>
                    <a:pt x="257" y="716"/>
                  </a:lnTo>
                  <a:lnTo>
                    <a:pt x="260" y="722"/>
                  </a:lnTo>
                  <a:lnTo>
                    <a:pt x="264" y="728"/>
                  </a:lnTo>
                  <a:lnTo>
                    <a:pt x="266" y="735"/>
                  </a:lnTo>
                  <a:lnTo>
                    <a:pt x="266" y="742"/>
                  </a:lnTo>
                  <a:lnTo>
                    <a:pt x="266" y="750"/>
                  </a:lnTo>
                  <a:lnTo>
                    <a:pt x="264" y="758"/>
                  </a:lnTo>
                  <a:lnTo>
                    <a:pt x="256" y="777"/>
                  </a:lnTo>
                  <a:lnTo>
                    <a:pt x="256" y="777"/>
                  </a:lnTo>
                  <a:lnTo>
                    <a:pt x="273" y="782"/>
                  </a:lnTo>
                  <a:lnTo>
                    <a:pt x="273" y="782"/>
                  </a:lnTo>
                  <a:lnTo>
                    <a:pt x="292" y="788"/>
                  </a:lnTo>
                  <a:lnTo>
                    <a:pt x="309" y="793"/>
                  </a:lnTo>
                  <a:lnTo>
                    <a:pt x="314" y="773"/>
                  </a:lnTo>
                  <a:lnTo>
                    <a:pt x="314" y="773"/>
                  </a:lnTo>
                  <a:lnTo>
                    <a:pt x="317" y="765"/>
                  </a:lnTo>
                  <a:lnTo>
                    <a:pt x="320" y="759"/>
                  </a:lnTo>
                  <a:lnTo>
                    <a:pt x="325" y="753"/>
                  </a:lnTo>
                  <a:lnTo>
                    <a:pt x="330" y="748"/>
                  </a:lnTo>
                  <a:lnTo>
                    <a:pt x="336" y="745"/>
                  </a:lnTo>
                  <a:lnTo>
                    <a:pt x="342" y="742"/>
                  </a:lnTo>
                  <a:lnTo>
                    <a:pt x="349" y="741"/>
                  </a:lnTo>
                  <a:lnTo>
                    <a:pt x="355" y="741"/>
                  </a:lnTo>
                  <a:lnTo>
                    <a:pt x="355" y="741"/>
                  </a:lnTo>
                  <a:lnTo>
                    <a:pt x="367" y="742"/>
                  </a:lnTo>
                  <a:lnTo>
                    <a:pt x="367" y="742"/>
                  </a:lnTo>
                  <a:lnTo>
                    <a:pt x="374" y="743"/>
                  </a:lnTo>
                  <a:lnTo>
                    <a:pt x="380" y="747"/>
                  </a:lnTo>
                  <a:lnTo>
                    <a:pt x="386" y="750"/>
                  </a:lnTo>
                  <a:lnTo>
                    <a:pt x="391" y="755"/>
                  </a:lnTo>
                  <a:lnTo>
                    <a:pt x="395" y="761"/>
                  </a:lnTo>
                  <a:lnTo>
                    <a:pt x="399" y="767"/>
                  </a:lnTo>
                  <a:lnTo>
                    <a:pt x="401" y="775"/>
                  </a:lnTo>
                  <a:lnTo>
                    <a:pt x="401" y="782"/>
                  </a:lnTo>
                  <a:lnTo>
                    <a:pt x="401" y="803"/>
                  </a:lnTo>
                  <a:lnTo>
                    <a:pt x="401" y="803"/>
                  </a:lnTo>
                  <a:lnTo>
                    <a:pt x="429" y="802"/>
                  </a:lnTo>
                  <a:lnTo>
                    <a:pt x="457" y="799"/>
                  </a:lnTo>
                  <a:lnTo>
                    <a:pt x="454" y="779"/>
                  </a:lnTo>
                  <a:lnTo>
                    <a:pt x="454" y="779"/>
                  </a:lnTo>
                  <a:lnTo>
                    <a:pt x="454" y="770"/>
                  </a:lnTo>
                  <a:lnTo>
                    <a:pt x="455" y="763"/>
                  </a:lnTo>
                  <a:lnTo>
                    <a:pt x="457" y="756"/>
                  </a:lnTo>
                  <a:lnTo>
                    <a:pt x="460" y="750"/>
                  </a:lnTo>
                  <a:lnTo>
                    <a:pt x="463" y="745"/>
                  </a:lnTo>
                  <a:lnTo>
                    <a:pt x="469" y="739"/>
                  </a:lnTo>
                  <a:lnTo>
                    <a:pt x="474" y="736"/>
                  </a:lnTo>
                  <a:lnTo>
                    <a:pt x="481" y="734"/>
                  </a:lnTo>
                  <a:lnTo>
                    <a:pt x="493" y="731"/>
                  </a:lnTo>
                  <a:lnTo>
                    <a:pt x="493" y="731"/>
                  </a:lnTo>
                  <a:lnTo>
                    <a:pt x="499" y="729"/>
                  </a:lnTo>
                  <a:lnTo>
                    <a:pt x="506" y="729"/>
                  </a:lnTo>
                  <a:lnTo>
                    <a:pt x="513" y="732"/>
                  </a:lnTo>
                  <a:lnTo>
                    <a:pt x="520" y="734"/>
                  </a:lnTo>
                  <a:lnTo>
                    <a:pt x="525" y="738"/>
                  </a:lnTo>
                  <a:lnTo>
                    <a:pt x="530" y="743"/>
                  </a:lnTo>
                  <a:lnTo>
                    <a:pt x="535" y="749"/>
                  </a:lnTo>
                  <a:lnTo>
                    <a:pt x="539" y="756"/>
                  </a:lnTo>
                  <a:lnTo>
                    <a:pt x="546" y="775"/>
                  </a:lnTo>
                  <a:lnTo>
                    <a:pt x="546" y="775"/>
                  </a:lnTo>
                  <a:lnTo>
                    <a:pt x="571" y="764"/>
                  </a:lnTo>
                  <a:lnTo>
                    <a:pt x="596" y="751"/>
                  </a:lnTo>
                  <a:lnTo>
                    <a:pt x="587" y="734"/>
                  </a:lnTo>
                  <a:lnTo>
                    <a:pt x="587" y="734"/>
                  </a:lnTo>
                  <a:lnTo>
                    <a:pt x="583" y="726"/>
                  </a:lnTo>
                  <a:lnTo>
                    <a:pt x="581" y="719"/>
                  </a:lnTo>
                  <a:lnTo>
                    <a:pt x="581" y="711"/>
                  </a:lnTo>
                  <a:lnTo>
                    <a:pt x="581" y="705"/>
                  </a:lnTo>
                  <a:lnTo>
                    <a:pt x="583" y="698"/>
                  </a:lnTo>
                  <a:lnTo>
                    <a:pt x="587" y="692"/>
                  </a:lnTo>
                  <a:lnTo>
                    <a:pt x="591" y="686"/>
                  </a:lnTo>
                  <a:lnTo>
                    <a:pt x="595" y="682"/>
                  </a:lnTo>
                  <a:lnTo>
                    <a:pt x="605" y="674"/>
                  </a:lnTo>
                  <a:lnTo>
                    <a:pt x="605" y="674"/>
                  </a:lnTo>
                  <a:lnTo>
                    <a:pt x="611" y="671"/>
                  </a:lnTo>
                  <a:lnTo>
                    <a:pt x="618" y="669"/>
                  </a:lnTo>
                  <a:lnTo>
                    <a:pt x="624" y="668"/>
                  </a:lnTo>
                  <a:lnTo>
                    <a:pt x="631" y="668"/>
                  </a:lnTo>
                  <a:lnTo>
                    <a:pt x="638" y="670"/>
                  </a:lnTo>
                  <a:lnTo>
                    <a:pt x="645" y="672"/>
                  </a:lnTo>
                  <a:lnTo>
                    <a:pt x="651" y="677"/>
                  </a:lnTo>
                  <a:lnTo>
                    <a:pt x="658" y="682"/>
                  </a:lnTo>
                  <a:lnTo>
                    <a:pt x="671" y="697"/>
                  </a:lnTo>
                  <a:lnTo>
                    <a:pt x="671" y="697"/>
                  </a:lnTo>
                  <a:lnTo>
                    <a:pt x="691" y="678"/>
                  </a:lnTo>
                  <a:lnTo>
                    <a:pt x="710" y="656"/>
                  </a:lnTo>
                  <a:lnTo>
                    <a:pt x="693" y="643"/>
                  </a:lnTo>
                  <a:lnTo>
                    <a:pt x="693" y="643"/>
                  </a:lnTo>
                  <a:lnTo>
                    <a:pt x="688" y="638"/>
                  </a:lnTo>
                  <a:lnTo>
                    <a:pt x="684" y="632"/>
                  </a:lnTo>
                  <a:lnTo>
                    <a:pt x="681" y="625"/>
                  </a:lnTo>
                  <a:lnTo>
                    <a:pt x="678" y="618"/>
                  </a:lnTo>
                  <a:lnTo>
                    <a:pt x="678" y="612"/>
                  </a:lnTo>
                  <a:lnTo>
                    <a:pt x="678" y="604"/>
                  </a:lnTo>
                  <a:lnTo>
                    <a:pt x="681" y="598"/>
                  </a:lnTo>
                  <a:lnTo>
                    <a:pt x="684" y="592"/>
                  </a:lnTo>
                  <a:lnTo>
                    <a:pt x="684" y="592"/>
                  </a:lnTo>
                  <a:lnTo>
                    <a:pt x="690" y="581"/>
                  </a:lnTo>
                  <a:lnTo>
                    <a:pt x="690" y="581"/>
                  </a:lnTo>
                  <a:lnTo>
                    <a:pt x="695" y="577"/>
                  </a:lnTo>
                  <a:lnTo>
                    <a:pt x="699" y="573"/>
                  </a:lnTo>
                  <a:lnTo>
                    <a:pt x="705" y="569"/>
                  </a:lnTo>
                  <a:lnTo>
                    <a:pt x="712" y="566"/>
                  </a:lnTo>
                  <a:lnTo>
                    <a:pt x="719" y="565"/>
                  </a:lnTo>
                  <a:lnTo>
                    <a:pt x="726" y="565"/>
                  </a:lnTo>
                  <a:lnTo>
                    <a:pt x="733" y="567"/>
                  </a:lnTo>
                  <a:lnTo>
                    <a:pt x="741" y="570"/>
                  </a:lnTo>
                  <a:lnTo>
                    <a:pt x="759" y="578"/>
                  </a:lnTo>
                  <a:lnTo>
                    <a:pt x="759" y="578"/>
                  </a:lnTo>
                  <a:lnTo>
                    <a:pt x="770" y="553"/>
                  </a:lnTo>
                  <a:lnTo>
                    <a:pt x="780" y="527"/>
                  </a:lnTo>
                  <a:lnTo>
                    <a:pt x="762" y="521"/>
                  </a:lnTo>
                  <a:lnTo>
                    <a:pt x="762" y="521"/>
                  </a:lnTo>
                  <a:lnTo>
                    <a:pt x="754" y="518"/>
                  </a:lnTo>
                  <a:lnTo>
                    <a:pt x="747" y="513"/>
                  </a:lnTo>
                  <a:lnTo>
                    <a:pt x="742" y="508"/>
                  </a:lnTo>
                  <a:lnTo>
                    <a:pt x="738" y="503"/>
                  </a:lnTo>
                  <a:lnTo>
                    <a:pt x="735" y="496"/>
                  </a:lnTo>
                  <a:lnTo>
                    <a:pt x="732" y="490"/>
                  </a:lnTo>
                  <a:lnTo>
                    <a:pt x="732" y="483"/>
                  </a:lnTo>
                  <a:lnTo>
                    <a:pt x="733" y="477"/>
                  </a:lnTo>
                  <a:lnTo>
                    <a:pt x="733" y="477"/>
                  </a:lnTo>
                  <a:lnTo>
                    <a:pt x="736" y="465"/>
                  </a:lnTo>
                  <a:lnTo>
                    <a:pt x="736" y="465"/>
                  </a:lnTo>
                  <a:close/>
                  <a:moveTo>
                    <a:pt x="672" y="430"/>
                  </a:moveTo>
                  <a:lnTo>
                    <a:pt x="672" y="430"/>
                  </a:lnTo>
                  <a:lnTo>
                    <a:pt x="670" y="444"/>
                  </a:lnTo>
                  <a:lnTo>
                    <a:pt x="668" y="458"/>
                  </a:lnTo>
                  <a:lnTo>
                    <a:pt x="664" y="471"/>
                  </a:lnTo>
                  <a:lnTo>
                    <a:pt x="660" y="485"/>
                  </a:lnTo>
                  <a:lnTo>
                    <a:pt x="656" y="497"/>
                  </a:lnTo>
                  <a:lnTo>
                    <a:pt x="650" y="510"/>
                  </a:lnTo>
                  <a:lnTo>
                    <a:pt x="645" y="522"/>
                  </a:lnTo>
                  <a:lnTo>
                    <a:pt x="638" y="534"/>
                  </a:lnTo>
                  <a:lnTo>
                    <a:pt x="632" y="546"/>
                  </a:lnTo>
                  <a:lnTo>
                    <a:pt x="624" y="557"/>
                  </a:lnTo>
                  <a:lnTo>
                    <a:pt x="608" y="577"/>
                  </a:lnTo>
                  <a:lnTo>
                    <a:pt x="590" y="597"/>
                  </a:lnTo>
                  <a:lnTo>
                    <a:pt x="570" y="614"/>
                  </a:lnTo>
                  <a:lnTo>
                    <a:pt x="549" y="630"/>
                  </a:lnTo>
                  <a:lnTo>
                    <a:pt x="526" y="643"/>
                  </a:lnTo>
                  <a:lnTo>
                    <a:pt x="502" y="654"/>
                  </a:lnTo>
                  <a:lnTo>
                    <a:pt x="490" y="659"/>
                  </a:lnTo>
                  <a:lnTo>
                    <a:pt x="477" y="662"/>
                  </a:lnTo>
                  <a:lnTo>
                    <a:pt x="465" y="667"/>
                  </a:lnTo>
                  <a:lnTo>
                    <a:pt x="452" y="669"/>
                  </a:lnTo>
                  <a:lnTo>
                    <a:pt x="439" y="671"/>
                  </a:lnTo>
                  <a:lnTo>
                    <a:pt x="425" y="673"/>
                  </a:lnTo>
                  <a:lnTo>
                    <a:pt x="411" y="674"/>
                  </a:lnTo>
                  <a:lnTo>
                    <a:pt x="398" y="674"/>
                  </a:lnTo>
                  <a:lnTo>
                    <a:pt x="384" y="673"/>
                  </a:lnTo>
                  <a:lnTo>
                    <a:pt x="369" y="672"/>
                  </a:lnTo>
                  <a:lnTo>
                    <a:pt x="369" y="672"/>
                  </a:lnTo>
                  <a:lnTo>
                    <a:pt x="355" y="671"/>
                  </a:lnTo>
                  <a:lnTo>
                    <a:pt x="341" y="668"/>
                  </a:lnTo>
                  <a:lnTo>
                    <a:pt x="328" y="665"/>
                  </a:lnTo>
                  <a:lnTo>
                    <a:pt x="315" y="661"/>
                  </a:lnTo>
                  <a:lnTo>
                    <a:pt x="303" y="656"/>
                  </a:lnTo>
                  <a:lnTo>
                    <a:pt x="290" y="652"/>
                  </a:lnTo>
                  <a:lnTo>
                    <a:pt x="278" y="645"/>
                  </a:lnTo>
                  <a:lnTo>
                    <a:pt x="266" y="640"/>
                  </a:lnTo>
                  <a:lnTo>
                    <a:pt x="254" y="632"/>
                  </a:lnTo>
                  <a:lnTo>
                    <a:pt x="243" y="626"/>
                  </a:lnTo>
                  <a:lnTo>
                    <a:pt x="223" y="610"/>
                  </a:lnTo>
                  <a:lnTo>
                    <a:pt x="203" y="591"/>
                  </a:lnTo>
                  <a:lnTo>
                    <a:pt x="186" y="572"/>
                  </a:lnTo>
                  <a:lnTo>
                    <a:pt x="170" y="550"/>
                  </a:lnTo>
                  <a:lnTo>
                    <a:pt x="157" y="527"/>
                  </a:lnTo>
                  <a:lnTo>
                    <a:pt x="146" y="504"/>
                  </a:lnTo>
                  <a:lnTo>
                    <a:pt x="141" y="491"/>
                  </a:lnTo>
                  <a:lnTo>
                    <a:pt x="137" y="479"/>
                  </a:lnTo>
                  <a:lnTo>
                    <a:pt x="133" y="466"/>
                  </a:lnTo>
                  <a:lnTo>
                    <a:pt x="131" y="453"/>
                  </a:lnTo>
                  <a:lnTo>
                    <a:pt x="129" y="439"/>
                  </a:lnTo>
                  <a:lnTo>
                    <a:pt x="126" y="426"/>
                  </a:lnTo>
                  <a:lnTo>
                    <a:pt x="125" y="412"/>
                  </a:lnTo>
                  <a:lnTo>
                    <a:pt x="125" y="398"/>
                  </a:lnTo>
                  <a:lnTo>
                    <a:pt x="126" y="384"/>
                  </a:lnTo>
                  <a:lnTo>
                    <a:pt x="128" y="370"/>
                  </a:lnTo>
                  <a:lnTo>
                    <a:pt x="128" y="370"/>
                  </a:lnTo>
                  <a:lnTo>
                    <a:pt x="129" y="356"/>
                  </a:lnTo>
                  <a:lnTo>
                    <a:pt x="132" y="343"/>
                  </a:lnTo>
                  <a:lnTo>
                    <a:pt x="135" y="329"/>
                  </a:lnTo>
                  <a:lnTo>
                    <a:pt x="138" y="316"/>
                  </a:lnTo>
                  <a:lnTo>
                    <a:pt x="144" y="303"/>
                  </a:lnTo>
                  <a:lnTo>
                    <a:pt x="148" y="291"/>
                  </a:lnTo>
                  <a:lnTo>
                    <a:pt x="155" y="278"/>
                  </a:lnTo>
                  <a:lnTo>
                    <a:pt x="160" y="266"/>
                  </a:lnTo>
                  <a:lnTo>
                    <a:pt x="168" y="255"/>
                  </a:lnTo>
                  <a:lnTo>
                    <a:pt x="174" y="245"/>
                  </a:lnTo>
                  <a:lnTo>
                    <a:pt x="190" y="223"/>
                  </a:lnTo>
                  <a:lnTo>
                    <a:pt x="209" y="203"/>
                  </a:lnTo>
                  <a:lnTo>
                    <a:pt x="228" y="186"/>
                  </a:lnTo>
                  <a:lnTo>
                    <a:pt x="250" y="171"/>
                  </a:lnTo>
                  <a:lnTo>
                    <a:pt x="272" y="158"/>
                  </a:lnTo>
                  <a:lnTo>
                    <a:pt x="296" y="146"/>
                  </a:lnTo>
                  <a:lnTo>
                    <a:pt x="309" y="142"/>
                  </a:lnTo>
                  <a:lnTo>
                    <a:pt x="321" y="138"/>
                  </a:lnTo>
                  <a:lnTo>
                    <a:pt x="334" y="134"/>
                  </a:lnTo>
                  <a:lnTo>
                    <a:pt x="347" y="131"/>
                  </a:lnTo>
                  <a:lnTo>
                    <a:pt x="361" y="129"/>
                  </a:lnTo>
                  <a:lnTo>
                    <a:pt x="374" y="128"/>
                  </a:lnTo>
                  <a:lnTo>
                    <a:pt x="388" y="127"/>
                  </a:lnTo>
                  <a:lnTo>
                    <a:pt x="402" y="127"/>
                  </a:lnTo>
                  <a:lnTo>
                    <a:pt x="416" y="127"/>
                  </a:lnTo>
                  <a:lnTo>
                    <a:pt x="430" y="128"/>
                  </a:lnTo>
                  <a:lnTo>
                    <a:pt x="430" y="128"/>
                  </a:lnTo>
                  <a:lnTo>
                    <a:pt x="444" y="130"/>
                  </a:lnTo>
                  <a:lnTo>
                    <a:pt x="457" y="132"/>
                  </a:lnTo>
                  <a:lnTo>
                    <a:pt x="471" y="135"/>
                  </a:lnTo>
                  <a:lnTo>
                    <a:pt x="484" y="140"/>
                  </a:lnTo>
                  <a:lnTo>
                    <a:pt x="497" y="144"/>
                  </a:lnTo>
                  <a:lnTo>
                    <a:pt x="509" y="149"/>
                  </a:lnTo>
                  <a:lnTo>
                    <a:pt x="522" y="155"/>
                  </a:lnTo>
                  <a:lnTo>
                    <a:pt x="534" y="161"/>
                  </a:lnTo>
                  <a:lnTo>
                    <a:pt x="544" y="168"/>
                  </a:lnTo>
                  <a:lnTo>
                    <a:pt x="555" y="175"/>
                  </a:lnTo>
                  <a:lnTo>
                    <a:pt x="577" y="192"/>
                  </a:lnTo>
                  <a:lnTo>
                    <a:pt x="596" y="210"/>
                  </a:lnTo>
                  <a:lnTo>
                    <a:pt x="614" y="229"/>
                  </a:lnTo>
                  <a:lnTo>
                    <a:pt x="629" y="251"/>
                  </a:lnTo>
                  <a:lnTo>
                    <a:pt x="642" y="274"/>
                  </a:lnTo>
                  <a:lnTo>
                    <a:pt x="654" y="297"/>
                  </a:lnTo>
                  <a:lnTo>
                    <a:pt x="658" y="309"/>
                  </a:lnTo>
                  <a:lnTo>
                    <a:pt x="662" y="322"/>
                  </a:lnTo>
                  <a:lnTo>
                    <a:pt x="665" y="335"/>
                  </a:lnTo>
                  <a:lnTo>
                    <a:pt x="669" y="348"/>
                  </a:lnTo>
                  <a:lnTo>
                    <a:pt x="671" y="361"/>
                  </a:lnTo>
                  <a:lnTo>
                    <a:pt x="672" y="375"/>
                  </a:lnTo>
                  <a:lnTo>
                    <a:pt x="673" y="389"/>
                  </a:lnTo>
                  <a:lnTo>
                    <a:pt x="673" y="402"/>
                  </a:lnTo>
                  <a:lnTo>
                    <a:pt x="673" y="416"/>
                  </a:lnTo>
                  <a:lnTo>
                    <a:pt x="672" y="430"/>
                  </a:lnTo>
                  <a:lnTo>
                    <a:pt x="672" y="430"/>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57" name="Freeform 456"/>
            <p:cNvSpPr>
              <a:spLocks noEditPoints="1"/>
            </p:cNvSpPr>
            <p:nvPr/>
          </p:nvSpPr>
          <p:spPr bwMode="auto">
            <a:xfrm>
              <a:off x="2736181" y="1154908"/>
              <a:ext cx="146222" cy="143415"/>
            </a:xfrm>
            <a:custGeom>
              <a:avLst/>
              <a:gdLst>
                <a:gd name="T0" fmla="*/ 330 w 340"/>
                <a:gd name="T1" fmla="*/ 185 h 341"/>
                <a:gd name="T2" fmla="*/ 331 w 340"/>
                <a:gd name="T3" fmla="*/ 162 h 341"/>
                <a:gd name="T4" fmla="*/ 312 w 340"/>
                <a:gd name="T5" fmla="*/ 144 h 341"/>
                <a:gd name="T6" fmla="*/ 334 w 340"/>
                <a:gd name="T7" fmla="*/ 123 h 341"/>
                <a:gd name="T8" fmla="*/ 311 w 340"/>
                <a:gd name="T9" fmla="*/ 106 h 341"/>
                <a:gd name="T10" fmla="*/ 292 w 340"/>
                <a:gd name="T11" fmla="*/ 89 h 341"/>
                <a:gd name="T12" fmla="*/ 298 w 340"/>
                <a:gd name="T13" fmla="*/ 59 h 341"/>
                <a:gd name="T14" fmla="*/ 267 w 340"/>
                <a:gd name="T15" fmla="*/ 61 h 341"/>
                <a:gd name="T16" fmla="*/ 252 w 340"/>
                <a:gd name="T17" fmla="*/ 44 h 341"/>
                <a:gd name="T18" fmla="*/ 238 w 340"/>
                <a:gd name="T19" fmla="*/ 14 h 341"/>
                <a:gd name="T20" fmla="*/ 215 w 340"/>
                <a:gd name="T21" fmla="*/ 33 h 341"/>
                <a:gd name="T22" fmla="*/ 199 w 340"/>
                <a:gd name="T23" fmla="*/ 11 h 341"/>
                <a:gd name="T24" fmla="*/ 176 w 340"/>
                <a:gd name="T25" fmla="*/ 9 h 341"/>
                <a:gd name="T26" fmla="*/ 157 w 340"/>
                <a:gd name="T27" fmla="*/ 26 h 341"/>
                <a:gd name="T28" fmla="*/ 137 w 340"/>
                <a:gd name="T29" fmla="*/ 3 h 341"/>
                <a:gd name="T30" fmla="*/ 119 w 340"/>
                <a:gd name="T31" fmla="*/ 24 h 341"/>
                <a:gd name="T32" fmla="*/ 99 w 340"/>
                <a:gd name="T33" fmla="*/ 42 h 341"/>
                <a:gd name="T34" fmla="*/ 69 w 340"/>
                <a:gd name="T35" fmla="*/ 33 h 341"/>
                <a:gd name="T36" fmla="*/ 69 w 340"/>
                <a:gd name="T37" fmla="*/ 64 h 341"/>
                <a:gd name="T38" fmla="*/ 52 w 340"/>
                <a:gd name="T39" fmla="*/ 77 h 341"/>
                <a:gd name="T40" fmla="*/ 20 w 340"/>
                <a:gd name="T41" fmla="*/ 89 h 341"/>
                <a:gd name="T42" fmla="*/ 36 w 340"/>
                <a:gd name="T43" fmla="*/ 114 h 341"/>
                <a:gd name="T44" fmla="*/ 14 w 340"/>
                <a:gd name="T45" fmla="*/ 127 h 341"/>
                <a:gd name="T46" fmla="*/ 10 w 340"/>
                <a:gd name="T47" fmla="*/ 149 h 341"/>
                <a:gd name="T48" fmla="*/ 25 w 340"/>
                <a:gd name="T49" fmla="*/ 171 h 341"/>
                <a:gd name="T50" fmla="*/ 0 w 340"/>
                <a:gd name="T51" fmla="*/ 187 h 341"/>
                <a:gd name="T52" fmla="*/ 18 w 340"/>
                <a:gd name="T53" fmla="*/ 208 h 341"/>
                <a:gd name="T54" fmla="*/ 34 w 340"/>
                <a:gd name="T55" fmla="*/ 229 h 341"/>
                <a:gd name="T56" fmla="*/ 23 w 340"/>
                <a:gd name="T57" fmla="*/ 257 h 341"/>
                <a:gd name="T58" fmla="*/ 54 w 340"/>
                <a:gd name="T59" fmla="*/ 262 h 341"/>
                <a:gd name="T60" fmla="*/ 66 w 340"/>
                <a:gd name="T61" fmla="*/ 279 h 341"/>
                <a:gd name="T62" fmla="*/ 74 w 340"/>
                <a:gd name="T63" fmla="*/ 311 h 341"/>
                <a:gd name="T64" fmla="*/ 100 w 340"/>
                <a:gd name="T65" fmla="*/ 298 h 341"/>
                <a:gd name="T66" fmla="*/ 113 w 340"/>
                <a:gd name="T67" fmla="*/ 316 h 341"/>
                <a:gd name="T68" fmla="*/ 132 w 340"/>
                <a:gd name="T69" fmla="*/ 337 h 341"/>
                <a:gd name="T70" fmla="*/ 151 w 340"/>
                <a:gd name="T71" fmla="*/ 314 h 341"/>
                <a:gd name="T72" fmla="*/ 169 w 340"/>
                <a:gd name="T73" fmla="*/ 326 h 341"/>
                <a:gd name="T74" fmla="*/ 193 w 340"/>
                <a:gd name="T75" fmla="*/ 331 h 341"/>
                <a:gd name="T76" fmla="*/ 209 w 340"/>
                <a:gd name="T77" fmla="*/ 310 h 341"/>
                <a:gd name="T78" fmla="*/ 232 w 340"/>
                <a:gd name="T79" fmla="*/ 330 h 341"/>
                <a:gd name="T80" fmla="*/ 247 w 340"/>
                <a:gd name="T81" fmla="*/ 306 h 341"/>
                <a:gd name="T82" fmla="*/ 262 w 340"/>
                <a:gd name="T83" fmla="*/ 284 h 341"/>
                <a:gd name="T84" fmla="*/ 294 w 340"/>
                <a:gd name="T85" fmla="*/ 287 h 341"/>
                <a:gd name="T86" fmla="*/ 288 w 340"/>
                <a:gd name="T87" fmla="*/ 257 h 341"/>
                <a:gd name="T88" fmla="*/ 302 w 340"/>
                <a:gd name="T89" fmla="*/ 241 h 341"/>
                <a:gd name="T90" fmla="*/ 331 w 340"/>
                <a:gd name="T91" fmla="*/ 224 h 341"/>
                <a:gd name="T92" fmla="*/ 311 w 340"/>
                <a:gd name="T93" fmla="*/ 202 h 341"/>
                <a:gd name="T94" fmla="*/ 284 w 340"/>
                <a:gd name="T95" fmla="*/ 195 h 341"/>
                <a:gd name="T96" fmla="*/ 250 w 340"/>
                <a:gd name="T97" fmla="*/ 254 h 341"/>
                <a:gd name="T98" fmla="*/ 192 w 340"/>
                <a:gd name="T99" fmla="*/ 284 h 341"/>
                <a:gd name="T100" fmla="*/ 134 w 340"/>
                <a:gd name="T101" fmla="*/ 281 h 341"/>
                <a:gd name="T102" fmla="*/ 79 w 340"/>
                <a:gd name="T103" fmla="*/ 243 h 341"/>
                <a:gd name="T104" fmla="*/ 54 w 340"/>
                <a:gd name="T105" fmla="*/ 181 h 341"/>
                <a:gd name="T106" fmla="*/ 63 w 340"/>
                <a:gd name="T107" fmla="*/ 123 h 341"/>
                <a:gd name="T108" fmla="*/ 106 w 340"/>
                <a:gd name="T109" fmla="*/ 73 h 341"/>
                <a:gd name="T110" fmla="*/ 171 w 340"/>
                <a:gd name="T111" fmla="*/ 53 h 341"/>
                <a:gd name="T112" fmla="*/ 227 w 340"/>
                <a:gd name="T113" fmla="*/ 68 h 341"/>
                <a:gd name="T114" fmla="*/ 273 w 340"/>
                <a:gd name="T115" fmla="*/ 116 h 341"/>
                <a:gd name="T116" fmla="*/ 285 w 340"/>
                <a:gd name="T117" fmla="*/ 183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0" h="341">
                  <a:moveTo>
                    <a:pt x="312" y="198"/>
                  </a:moveTo>
                  <a:lnTo>
                    <a:pt x="312" y="198"/>
                  </a:lnTo>
                  <a:lnTo>
                    <a:pt x="314" y="192"/>
                  </a:lnTo>
                  <a:lnTo>
                    <a:pt x="319" y="188"/>
                  </a:lnTo>
                  <a:lnTo>
                    <a:pt x="324" y="185"/>
                  </a:lnTo>
                  <a:lnTo>
                    <a:pt x="330" y="185"/>
                  </a:lnTo>
                  <a:lnTo>
                    <a:pt x="339" y="186"/>
                  </a:lnTo>
                  <a:lnTo>
                    <a:pt x="339" y="186"/>
                  </a:lnTo>
                  <a:lnTo>
                    <a:pt x="340" y="174"/>
                  </a:lnTo>
                  <a:lnTo>
                    <a:pt x="340" y="162"/>
                  </a:lnTo>
                  <a:lnTo>
                    <a:pt x="331" y="162"/>
                  </a:lnTo>
                  <a:lnTo>
                    <a:pt x="331" y="162"/>
                  </a:lnTo>
                  <a:lnTo>
                    <a:pt x="325" y="161"/>
                  </a:lnTo>
                  <a:lnTo>
                    <a:pt x="320" y="159"/>
                  </a:lnTo>
                  <a:lnTo>
                    <a:pt x="315" y="155"/>
                  </a:lnTo>
                  <a:lnTo>
                    <a:pt x="313" y="149"/>
                  </a:lnTo>
                  <a:lnTo>
                    <a:pt x="313" y="149"/>
                  </a:lnTo>
                  <a:lnTo>
                    <a:pt x="312" y="144"/>
                  </a:lnTo>
                  <a:lnTo>
                    <a:pt x="312" y="144"/>
                  </a:lnTo>
                  <a:lnTo>
                    <a:pt x="313" y="138"/>
                  </a:lnTo>
                  <a:lnTo>
                    <a:pt x="315" y="133"/>
                  </a:lnTo>
                  <a:lnTo>
                    <a:pt x="320" y="129"/>
                  </a:lnTo>
                  <a:lnTo>
                    <a:pt x="325" y="125"/>
                  </a:lnTo>
                  <a:lnTo>
                    <a:pt x="334" y="123"/>
                  </a:lnTo>
                  <a:lnTo>
                    <a:pt x="334" y="123"/>
                  </a:lnTo>
                  <a:lnTo>
                    <a:pt x="329" y="111"/>
                  </a:lnTo>
                  <a:lnTo>
                    <a:pt x="325" y="101"/>
                  </a:lnTo>
                  <a:lnTo>
                    <a:pt x="317" y="105"/>
                  </a:lnTo>
                  <a:lnTo>
                    <a:pt x="317" y="105"/>
                  </a:lnTo>
                  <a:lnTo>
                    <a:pt x="311" y="106"/>
                  </a:lnTo>
                  <a:lnTo>
                    <a:pt x="304" y="105"/>
                  </a:lnTo>
                  <a:lnTo>
                    <a:pt x="300" y="103"/>
                  </a:lnTo>
                  <a:lnTo>
                    <a:pt x="296" y="98"/>
                  </a:lnTo>
                  <a:lnTo>
                    <a:pt x="294" y="94"/>
                  </a:lnTo>
                  <a:lnTo>
                    <a:pt x="294" y="94"/>
                  </a:lnTo>
                  <a:lnTo>
                    <a:pt x="292" y="89"/>
                  </a:lnTo>
                  <a:lnTo>
                    <a:pt x="292" y="83"/>
                  </a:lnTo>
                  <a:lnTo>
                    <a:pt x="294" y="77"/>
                  </a:lnTo>
                  <a:lnTo>
                    <a:pt x="298" y="73"/>
                  </a:lnTo>
                  <a:lnTo>
                    <a:pt x="306" y="67"/>
                  </a:lnTo>
                  <a:lnTo>
                    <a:pt x="306" y="67"/>
                  </a:lnTo>
                  <a:lnTo>
                    <a:pt x="298" y="59"/>
                  </a:lnTo>
                  <a:lnTo>
                    <a:pt x="289" y="50"/>
                  </a:lnTo>
                  <a:lnTo>
                    <a:pt x="284" y="55"/>
                  </a:lnTo>
                  <a:lnTo>
                    <a:pt x="284" y="55"/>
                  </a:lnTo>
                  <a:lnTo>
                    <a:pt x="279" y="60"/>
                  </a:lnTo>
                  <a:lnTo>
                    <a:pt x="272" y="61"/>
                  </a:lnTo>
                  <a:lnTo>
                    <a:pt x="267" y="61"/>
                  </a:lnTo>
                  <a:lnTo>
                    <a:pt x="261" y="57"/>
                  </a:lnTo>
                  <a:lnTo>
                    <a:pt x="261" y="57"/>
                  </a:lnTo>
                  <a:lnTo>
                    <a:pt x="257" y="54"/>
                  </a:lnTo>
                  <a:lnTo>
                    <a:pt x="257" y="54"/>
                  </a:lnTo>
                  <a:lnTo>
                    <a:pt x="254" y="50"/>
                  </a:lnTo>
                  <a:lnTo>
                    <a:pt x="252" y="44"/>
                  </a:lnTo>
                  <a:lnTo>
                    <a:pt x="252" y="39"/>
                  </a:lnTo>
                  <a:lnTo>
                    <a:pt x="254" y="33"/>
                  </a:lnTo>
                  <a:lnTo>
                    <a:pt x="259" y="25"/>
                  </a:lnTo>
                  <a:lnTo>
                    <a:pt x="259" y="25"/>
                  </a:lnTo>
                  <a:lnTo>
                    <a:pt x="248" y="20"/>
                  </a:lnTo>
                  <a:lnTo>
                    <a:pt x="238" y="14"/>
                  </a:lnTo>
                  <a:lnTo>
                    <a:pt x="234" y="22"/>
                  </a:lnTo>
                  <a:lnTo>
                    <a:pt x="234" y="22"/>
                  </a:lnTo>
                  <a:lnTo>
                    <a:pt x="231" y="27"/>
                  </a:lnTo>
                  <a:lnTo>
                    <a:pt x="226" y="32"/>
                  </a:lnTo>
                  <a:lnTo>
                    <a:pt x="220" y="33"/>
                  </a:lnTo>
                  <a:lnTo>
                    <a:pt x="215" y="33"/>
                  </a:lnTo>
                  <a:lnTo>
                    <a:pt x="209" y="30"/>
                  </a:lnTo>
                  <a:lnTo>
                    <a:pt x="209" y="30"/>
                  </a:lnTo>
                  <a:lnTo>
                    <a:pt x="204" y="28"/>
                  </a:lnTo>
                  <a:lnTo>
                    <a:pt x="201" y="24"/>
                  </a:lnTo>
                  <a:lnTo>
                    <a:pt x="199" y="17"/>
                  </a:lnTo>
                  <a:lnTo>
                    <a:pt x="199" y="11"/>
                  </a:lnTo>
                  <a:lnTo>
                    <a:pt x="200" y="2"/>
                  </a:lnTo>
                  <a:lnTo>
                    <a:pt x="200" y="2"/>
                  </a:lnTo>
                  <a:lnTo>
                    <a:pt x="189" y="1"/>
                  </a:lnTo>
                  <a:lnTo>
                    <a:pt x="177" y="0"/>
                  </a:lnTo>
                  <a:lnTo>
                    <a:pt x="176" y="9"/>
                  </a:lnTo>
                  <a:lnTo>
                    <a:pt x="176" y="9"/>
                  </a:lnTo>
                  <a:lnTo>
                    <a:pt x="175" y="15"/>
                  </a:lnTo>
                  <a:lnTo>
                    <a:pt x="172" y="21"/>
                  </a:lnTo>
                  <a:lnTo>
                    <a:pt x="167" y="24"/>
                  </a:lnTo>
                  <a:lnTo>
                    <a:pt x="162" y="25"/>
                  </a:lnTo>
                  <a:lnTo>
                    <a:pt x="162" y="25"/>
                  </a:lnTo>
                  <a:lnTo>
                    <a:pt x="157" y="26"/>
                  </a:lnTo>
                  <a:lnTo>
                    <a:pt x="157" y="26"/>
                  </a:lnTo>
                  <a:lnTo>
                    <a:pt x="151" y="25"/>
                  </a:lnTo>
                  <a:lnTo>
                    <a:pt x="146" y="22"/>
                  </a:lnTo>
                  <a:lnTo>
                    <a:pt x="141" y="17"/>
                  </a:lnTo>
                  <a:lnTo>
                    <a:pt x="139" y="12"/>
                  </a:lnTo>
                  <a:lnTo>
                    <a:pt x="137" y="3"/>
                  </a:lnTo>
                  <a:lnTo>
                    <a:pt x="137" y="3"/>
                  </a:lnTo>
                  <a:lnTo>
                    <a:pt x="126" y="6"/>
                  </a:lnTo>
                  <a:lnTo>
                    <a:pt x="114" y="9"/>
                  </a:lnTo>
                  <a:lnTo>
                    <a:pt x="118" y="17"/>
                  </a:lnTo>
                  <a:lnTo>
                    <a:pt x="118" y="17"/>
                  </a:lnTo>
                  <a:lnTo>
                    <a:pt x="119" y="24"/>
                  </a:lnTo>
                  <a:lnTo>
                    <a:pt x="118" y="29"/>
                  </a:lnTo>
                  <a:lnTo>
                    <a:pt x="114" y="35"/>
                  </a:lnTo>
                  <a:lnTo>
                    <a:pt x="109" y="38"/>
                  </a:lnTo>
                  <a:lnTo>
                    <a:pt x="105" y="40"/>
                  </a:lnTo>
                  <a:lnTo>
                    <a:pt x="105" y="40"/>
                  </a:lnTo>
                  <a:lnTo>
                    <a:pt x="99" y="42"/>
                  </a:lnTo>
                  <a:lnTo>
                    <a:pt x="94" y="41"/>
                  </a:lnTo>
                  <a:lnTo>
                    <a:pt x="88" y="38"/>
                  </a:lnTo>
                  <a:lnTo>
                    <a:pt x="84" y="34"/>
                  </a:lnTo>
                  <a:lnTo>
                    <a:pt x="79" y="26"/>
                  </a:lnTo>
                  <a:lnTo>
                    <a:pt x="79" y="26"/>
                  </a:lnTo>
                  <a:lnTo>
                    <a:pt x="69" y="33"/>
                  </a:lnTo>
                  <a:lnTo>
                    <a:pt x="60" y="40"/>
                  </a:lnTo>
                  <a:lnTo>
                    <a:pt x="66" y="47"/>
                  </a:lnTo>
                  <a:lnTo>
                    <a:pt x="66" y="47"/>
                  </a:lnTo>
                  <a:lnTo>
                    <a:pt x="69" y="52"/>
                  </a:lnTo>
                  <a:lnTo>
                    <a:pt x="70" y="59"/>
                  </a:lnTo>
                  <a:lnTo>
                    <a:pt x="69" y="64"/>
                  </a:lnTo>
                  <a:lnTo>
                    <a:pt x="66" y="69"/>
                  </a:lnTo>
                  <a:lnTo>
                    <a:pt x="66" y="69"/>
                  </a:lnTo>
                  <a:lnTo>
                    <a:pt x="63" y="73"/>
                  </a:lnTo>
                  <a:lnTo>
                    <a:pt x="63" y="73"/>
                  </a:lnTo>
                  <a:lnTo>
                    <a:pt x="57" y="76"/>
                  </a:lnTo>
                  <a:lnTo>
                    <a:pt x="52" y="77"/>
                  </a:lnTo>
                  <a:lnTo>
                    <a:pt x="46" y="77"/>
                  </a:lnTo>
                  <a:lnTo>
                    <a:pt x="40" y="74"/>
                  </a:lnTo>
                  <a:lnTo>
                    <a:pt x="33" y="68"/>
                  </a:lnTo>
                  <a:lnTo>
                    <a:pt x="33" y="68"/>
                  </a:lnTo>
                  <a:lnTo>
                    <a:pt x="26" y="78"/>
                  </a:lnTo>
                  <a:lnTo>
                    <a:pt x="20" y="89"/>
                  </a:lnTo>
                  <a:lnTo>
                    <a:pt x="28" y="92"/>
                  </a:lnTo>
                  <a:lnTo>
                    <a:pt x="28" y="92"/>
                  </a:lnTo>
                  <a:lnTo>
                    <a:pt x="33" y="96"/>
                  </a:lnTo>
                  <a:lnTo>
                    <a:pt x="36" y="102"/>
                  </a:lnTo>
                  <a:lnTo>
                    <a:pt x="38" y="108"/>
                  </a:lnTo>
                  <a:lnTo>
                    <a:pt x="36" y="114"/>
                  </a:lnTo>
                  <a:lnTo>
                    <a:pt x="34" y="118"/>
                  </a:lnTo>
                  <a:lnTo>
                    <a:pt x="34" y="118"/>
                  </a:lnTo>
                  <a:lnTo>
                    <a:pt x="31" y="122"/>
                  </a:lnTo>
                  <a:lnTo>
                    <a:pt x="26" y="127"/>
                  </a:lnTo>
                  <a:lnTo>
                    <a:pt x="20" y="128"/>
                  </a:lnTo>
                  <a:lnTo>
                    <a:pt x="14" y="127"/>
                  </a:lnTo>
                  <a:lnTo>
                    <a:pt x="5" y="124"/>
                  </a:lnTo>
                  <a:lnTo>
                    <a:pt x="5" y="124"/>
                  </a:lnTo>
                  <a:lnTo>
                    <a:pt x="3" y="136"/>
                  </a:lnTo>
                  <a:lnTo>
                    <a:pt x="1" y="148"/>
                  </a:lnTo>
                  <a:lnTo>
                    <a:pt x="10" y="149"/>
                  </a:lnTo>
                  <a:lnTo>
                    <a:pt x="10" y="149"/>
                  </a:lnTo>
                  <a:lnTo>
                    <a:pt x="15" y="151"/>
                  </a:lnTo>
                  <a:lnTo>
                    <a:pt x="20" y="155"/>
                  </a:lnTo>
                  <a:lnTo>
                    <a:pt x="24" y="160"/>
                  </a:lnTo>
                  <a:lnTo>
                    <a:pt x="25" y="165"/>
                  </a:lnTo>
                  <a:lnTo>
                    <a:pt x="25" y="165"/>
                  </a:lnTo>
                  <a:lnTo>
                    <a:pt x="25" y="171"/>
                  </a:lnTo>
                  <a:lnTo>
                    <a:pt x="25" y="171"/>
                  </a:lnTo>
                  <a:lnTo>
                    <a:pt x="23" y="176"/>
                  </a:lnTo>
                  <a:lnTo>
                    <a:pt x="19" y="181"/>
                  </a:lnTo>
                  <a:lnTo>
                    <a:pt x="15" y="185"/>
                  </a:lnTo>
                  <a:lnTo>
                    <a:pt x="9" y="186"/>
                  </a:lnTo>
                  <a:lnTo>
                    <a:pt x="0" y="187"/>
                  </a:lnTo>
                  <a:lnTo>
                    <a:pt x="0" y="187"/>
                  </a:lnTo>
                  <a:lnTo>
                    <a:pt x="1" y="199"/>
                  </a:lnTo>
                  <a:lnTo>
                    <a:pt x="4" y="211"/>
                  </a:lnTo>
                  <a:lnTo>
                    <a:pt x="12" y="209"/>
                  </a:lnTo>
                  <a:lnTo>
                    <a:pt x="12" y="209"/>
                  </a:lnTo>
                  <a:lnTo>
                    <a:pt x="18" y="208"/>
                  </a:lnTo>
                  <a:lnTo>
                    <a:pt x="25" y="210"/>
                  </a:lnTo>
                  <a:lnTo>
                    <a:pt x="29" y="213"/>
                  </a:lnTo>
                  <a:lnTo>
                    <a:pt x="32" y="218"/>
                  </a:lnTo>
                  <a:lnTo>
                    <a:pt x="34" y="223"/>
                  </a:lnTo>
                  <a:lnTo>
                    <a:pt x="34" y="223"/>
                  </a:lnTo>
                  <a:lnTo>
                    <a:pt x="34" y="229"/>
                  </a:lnTo>
                  <a:lnTo>
                    <a:pt x="33" y="235"/>
                  </a:lnTo>
                  <a:lnTo>
                    <a:pt x="30" y="240"/>
                  </a:lnTo>
                  <a:lnTo>
                    <a:pt x="25" y="243"/>
                  </a:lnTo>
                  <a:lnTo>
                    <a:pt x="17" y="248"/>
                  </a:lnTo>
                  <a:lnTo>
                    <a:pt x="17" y="248"/>
                  </a:lnTo>
                  <a:lnTo>
                    <a:pt x="23" y="257"/>
                  </a:lnTo>
                  <a:lnTo>
                    <a:pt x="29" y="268"/>
                  </a:lnTo>
                  <a:lnTo>
                    <a:pt x="37" y="263"/>
                  </a:lnTo>
                  <a:lnTo>
                    <a:pt x="37" y="263"/>
                  </a:lnTo>
                  <a:lnTo>
                    <a:pt x="42" y="260"/>
                  </a:lnTo>
                  <a:lnTo>
                    <a:pt x="49" y="259"/>
                  </a:lnTo>
                  <a:lnTo>
                    <a:pt x="54" y="262"/>
                  </a:lnTo>
                  <a:lnTo>
                    <a:pt x="59" y="265"/>
                  </a:lnTo>
                  <a:lnTo>
                    <a:pt x="59" y="265"/>
                  </a:lnTo>
                  <a:lnTo>
                    <a:pt x="63" y="268"/>
                  </a:lnTo>
                  <a:lnTo>
                    <a:pt x="63" y="268"/>
                  </a:lnTo>
                  <a:lnTo>
                    <a:pt x="65" y="273"/>
                  </a:lnTo>
                  <a:lnTo>
                    <a:pt x="66" y="279"/>
                  </a:lnTo>
                  <a:lnTo>
                    <a:pt x="65" y="285"/>
                  </a:lnTo>
                  <a:lnTo>
                    <a:pt x="61" y="291"/>
                  </a:lnTo>
                  <a:lnTo>
                    <a:pt x="55" y="297"/>
                  </a:lnTo>
                  <a:lnTo>
                    <a:pt x="55" y="297"/>
                  </a:lnTo>
                  <a:lnTo>
                    <a:pt x="65" y="305"/>
                  </a:lnTo>
                  <a:lnTo>
                    <a:pt x="74" y="311"/>
                  </a:lnTo>
                  <a:lnTo>
                    <a:pt x="79" y="305"/>
                  </a:lnTo>
                  <a:lnTo>
                    <a:pt x="79" y="305"/>
                  </a:lnTo>
                  <a:lnTo>
                    <a:pt x="83" y="300"/>
                  </a:lnTo>
                  <a:lnTo>
                    <a:pt x="88" y="297"/>
                  </a:lnTo>
                  <a:lnTo>
                    <a:pt x="95" y="297"/>
                  </a:lnTo>
                  <a:lnTo>
                    <a:pt x="100" y="298"/>
                  </a:lnTo>
                  <a:lnTo>
                    <a:pt x="100" y="298"/>
                  </a:lnTo>
                  <a:lnTo>
                    <a:pt x="105" y="300"/>
                  </a:lnTo>
                  <a:lnTo>
                    <a:pt x="105" y="300"/>
                  </a:lnTo>
                  <a:lnTo>
                    <a:pt x="109" y="304"/>
                  </a:lnTo>
                  <a:lnTo>
                    <a:pt x="112" y="309"/>
                  </a:lnTo>
                  <a:lnTo>
                    <a:pt x="113" y="316"/>
                  </a:lnTo>
                  <a:lnTo>
                    <a:pt x="112" y="322"/>
                  </a:lnTo>
                  <a:lnTo>
                    <a:pt x="109" y="330"/>
                  </a:lnTo>
                  <a:lnTo>
                    <a:pt x="109" y="330"/>
                  </a:lnTo>
                  <a:lnTo>
                    <a:pt x="117" y="333"/>
                  </a:lnTo>
                  <a:lnTo>
                    <a:pt x="117" y="333"/>
                  </a:lnTo>
                  <a:lnTo>
                    <a:pt x="132" y="337"/>
                  </a:lnTo>
                  <a:lnTo>
                    <a:pt x="134" y="329"/>
                  </a:lnTo>
                  <a:lnTo>
                    <a:pt x="134" y="329"/>
                  </a:lnTo>
                  <a:lnTo>
                    <a:pt x="136" y="322"/>
                  </a:lnTo>
                  <a:lnTo>
                    <a:pt x="140" y="318"/>
                  </a:lnTo>
                  <a:lnTo>
                    <a:pt x="146" y="316"/>
                  </a:lnTo>
                  <a:lnTo>
                    <a:pt x="151" y="314"/>
                  </a:lnTo>
                  <a:lnTo>
                    <a:pt x="151" y="314"/>
                  </a:lnTo>
                  <a:lnTo>
                    <a:pt x="157" y="316"/>
                  </a:lnTo>
                  <a:lnTo>
                    <a:pt x="157" y="316"/>
                  </a:lnTo>
                  <a:lnTo>
                    <a:pt x="162" y="317"/>
                  </a:lnTo>
                  <a:lnTo>
                    <a:pt x="166" y="321"/>
                  </a:lnTo>
                  <a:lnTo>
                    <a:pt x="169" y="326"/>
                  </a:lnTo>
                  <a:lnTo>
                    <a:pt x="171" y="333"/>
                  </a:lnTo>
                  <a:lnTo>
                    <a:pt x="171" y="341"/>
                  </a:lnTo>
                  <a:lnTo>
                    <a:pt x="171" y="341"/>
                  </a:lnTo>
                  <a:lnTo>
                    <a:pt x="182" y="340"/>
                  </a:lnTo>
                  <a:lnTo>
                    <a:pt x="194" y="339"/>
                  </a:lnTo>
                  <a:lnTo>
                    <a:pt x="193" y="331"/>
                  </a:lnTo>
                  <a:lnTo>
                    <a:pt x="193" y="331"/>
                  </a:lnTo>
                  <a:lnTo>
                    <a:pt x="193" y="324"/>
                  </a:lnTo>
                  <a:lnTo>
                    <a:pt x="195" y="319"/>
                  </a:lnTo>
                  <a:lnTo>
                    <a:pt x="200" y="314"/>
                  </a:lnTo>
                  <a:lnTo>
                    <a:pt x="204" y="311"/>
                  </a:lnTo>
                  <a:lnTo>
                    <a:pt x="209" y="310"/>
                  </a:lnTo>
                  <a:lnTo>
                    <a:pt x="209" y="310"/>
                  </a:lnTo>
                  <a:lnTo>
                    <a:pt x="215" y="310"/>
                  </a:lnTo>
                  <a:lnTo>
                    <a:pt x="220" y="312"/>
                  </a:lnTo>
                  <a:lnTo>
                    <a:pt x="226" y="316"/>
                  </a:lnTo>
                  <a:lnTo>
                    <a:pt x="229" y="321"/>
                  </a:lnTo>
                  <a:lnTo>
                    <a:pt x="232" y="330"/>
                  </a:lnTo>
                  <a:lnTo>
                    <a:pt x="232" y="330"/>
                  </a:lnTo>
                  <a:lnTo>
                    <a:pt x="243" y="324"/>
                  </a:lnTo>
                  <a:lnTo>
                    <a:pt x="254" y="319"/>
                  </a:lnTo>
                  <a:lnTo>
                    <a:pt x="249" y="311"/>
                  </a:lnTo>
                  <a:lnTo>
                    <a:pt x="249" y="311"/>
                  </a:lnTo>
                  <a:lnTo>
                    <a:pt x="247" y="306"/>
                  </a:lnTo>
                  <a:lnTo>
                    <a:pt x="247" y="299"/>
                  </a:lnTo>
                  <a:lnTo>
                    <a:pt x="249" y="294"/>
                  </a:lnTo>
                  <a:lnTo>
                    <a:pt x="253" y="290"/>
                  </a:lnTo>
                  <a:lnTo>
                    <a:pt x="257" y="286"/>
                  </a:lnTo>
                  <a:lnTo>
                    <a:pt x="257" y="286"/>
                  </a:lnTo>
                  <a:lnTo>
                    <a:pt x="262" y="284"/>
                  </a:lnTo>
                  <a:lnTo>
                    <a:pt x="268" y="284"/>
                  </a:lnTo>
                  <a:lnTo>
                    <a:pt x="274" y="285"/>
                  </a:lnTo>
                  <a:lnTo>
                    <a:pt x="280" y="290"/>
                  </a:lnTo>
                  <a:lnTo>
                    <a:pt x="285" y="296"/>
                  </a:lnTo>
                  <a:lnTo>
                    <a:pt x="285" y="296"/>
                  </a:lnTo>
                  <a:lnTo>
                    <a:pt x="294" y="287"/>
                  </a:lnTo>
                  <a:lnTo>
                    <a:pt x="301" y="279"/>
                  </a:lnTo>
                  <a:lnTo>
                    <a:pt x="295" y="273"/>
                  </a:lnTo>
                  <a:lnTo>
                    <a:pt x="295" y="273"/>
                  </a:lnTo>
                  <a:lnTo>
                    <a:pt x="290" y="268"/>
                  </a:lnTo>
                  <a:lnTo>
                    <a:pt x="288" y="263"/>
                  </a:lnTo>
                  <a:lnTo>
                    <a:pt x="288" y="257"/>
                  </a:lnTo>
                  <a:lnTo>
                    <a:pt x="290" y="252"/>
                  </a:lnTo>
                  <a:lnTo>
                    <a:pt x="290" y="252"/>
                  </a:lnTo>
                  <a:lnTo>
                    <a:pt x="294" y="248"/>
                  </a:lnTo>
                  <a:lnTo>
                    <a:pt x="294" y="248"/>
                  </a:lnTo>
                  <a:lnTo>
                    <a:pt x="297" y="243"/>
                  </a:lnTo>
                  <a:lnTo>
                    <a:pt x="302" y="241"/>
                  </a:lnTo>
                  <a:lnTo>
                    <a:pt x="309" y="240"/>
                  </a:lnTo>
                  <a:lnTo>
                    <a:pt x="315" y="242"/>
                  </a:lnTo>
                  <a:lnTo>
                    <a:pt x="323" y="245"/>
                  </a:lnTo>
                  <a:lnTo>
                    <a:pt x="323" y="245"/>
                  </a:lnTo>
                  <a:lnTo>
                    <a:pt x="327" y="236"/>
                  </a:lnTo>
                  <a:lnTo>
                    <a:pt x="331" y="224"/>
                  </a:lnTo>
                  <a:lnTo>
                    <a:pt x="324" y="222"/>
                  </a:lnTo>
                  <a:lnTo>
                    <a:pt x="324" y="222"/>
                  </a:lnTo>
                  <a:lnTo>
                    <a:pt x="317" y="218"/>
                  </a:lnTo>
                  <a:lnTo>
                    <a:pt x="313" y="213"/>
                  </a:lnTo>
                  <a:lnTo>
                    <a:pt x="311" y="208"/>
                  </a:lnTo>
                  <a:lnTo>
                    <a:pt x="311" y="202"/>
                  </a:lnTo>
                  <a:lnTo>
                    <a:pt x="311" y="202"/>
                  </a:lnTo>
                  <a:lnTo>
                    <a:pt x="312" y="198"/>
                  </a:lnTo>
                  <a:lnTo>
                    <a:pt x="312" y="198"/>
                  </a:lnTo>
                  <a:close/>
                  <a:moveTo>
                    <a:pt x="285" y="183"/>
                  </a:moveTo>
                  <a:lnTo>
                    <a:pt x="285" y="183"/>
                  </a:lnTo>
                  <a:lnTo>
                    <a:pt x="284" y="195"/>
                  </a:lnTo>
                  <a:lnTo>
                    <a:pt x="281" y="205"/>
                  </a:lnTo>
                  <a:lnTo>
                    <a:pt x="276" y="216"/>
                  </a:lnTo>
                  <a:lnTo>
                    <a:pt x="271" y="227"/>
                  </a:lnTo>
                  <a:lnTo>
                    <a:pt x="266" y="237"/>
                  </a:lnTo>
                  <a:lnTo>
                    <a:pt x="258" y="245"/>
                  </a:lnTo>
                  <a:lnTo>
                    <a:pt x="250" y="254"/>
                  </a:lnTo>
                  <a:lnTo>
                    <a:pt x="243" y="260"/>
                  </a:lnTo>
                  <a:lnTo>
                    <a:pt x="233" y="267"/>
                  </a:lnTo>
                  <a:lnTo>
                    <a:pt x="223" y="273"/>
                  </a:lnTo>
                  <a:lnTo>
                    <a:pt x="214" y="278"/>
                  </a:lnTo>
                  <a:lnTo>
                    <a:pt x="203" y="282"/>
                  </a:lnTo>
                  <a:lnTo>
                    <a:pt x="192" y="284"/>
                  </a:lnTo>
                  <a:lnTo>
                    <a:pt x="180" y="286"/>
                  </a:lnTo>
                  <a:lnTo>
                    <a:pt x="168" y="286"/>
                  </a:lnTo>
                  <a:lnTo>
                    <a:pt x="157" y="285"/>
                  </a:lnTo>
                  <a:lnTo>
                    <a:pt x="157" y="285"/>
                  </a:lnTo>
                  <a:lnTo>
                    <a:pt x="145" y="284"/>
                  </a:lnTo>
                  <a:lnTo>
                    <a:pt x="134" y="281"/>
                  </a:lnTo>
                  <a:lnTo>
                    <a:pt x="123" y="277"/>
                  </a:lnTo>
                  <a:lnTo>
                    <a:pt x="113" y="271"/>
                  </a:lnTo>
                  <a:lnTo>
                    <a:pt x="104" y="266"/>
                  </a:lnTo>
                  <a:lnTo>
                    <a:pt x="94" y="258"/>
                  </a:lnTo>
                  <a:lnTo>
                    <a:pt x="86" y="251"/>
                  </a:lnTo>
                  <a:lnTo>
                    <a:pt x="79" y="243"/>
                  </a:lnTo>
                  <a:lnTo>
                    <a:pt x="72" y="233"/>
                  </a:lnTo>
                  <a:lnTo>
                    <a:pt x="67" y="224"/>
                  </a:lnTo>
                  <a:lnTo>
                    <a:pt x="61" y="214"/>
                  </a:lnTo>
                  <a:lnTo>
                    <a:pt x="58" y="203"/>
                  </a:lnTo>
                  <a:lnTo>
                    <a:pt x="55" y="192"/>
                  </a:lnTo>
                  <a:lnTo>
                    <a:pt x="54" y="181"/>
                  </a:lnTo>
                  <a:lnTo>
                    <a:pt x="53" y="169"/>
                  </a:lnTo>
                  <a:lnTo>
                    <a:pt x="54" y="157"/>
                  </a:lnTo>
                  <a:lnTo>
                    <a:pt x="54" y="157"/>
                  </a:lnTo>
                  <a:lnTo>
                    <a:pt x="56" y="145"/>
                  </a:lnTo>
                  <a:lnTo>
                    <a:pt x="59" y="134"/>
                  </a:lnTo>
                  <a:lnTo>
                    <a:pt x="63" y="123"/>
                  </a:lnTo>
                  <a:lnTo>
                    <a:pt x="68" y="114"/>
                  </a:lnTo>
                  <a:lnTo>
                    <a:pt x="74" y="104"/>
                  </a:lnTo>
                  <a:lnTo>
                    <a:pt x="81" y="95"/>
                  </a:lnTo>
                  <a:lnTo>
                    <a:pt x="88" y="87"/>
                  </a:lnTo>
                  <a:lnTo>
                    <a:pt x="97" y="79"/>
                  </a:lnTo>
                  <a:lnTo>
                    <a:pt x="106" y="73"/>
                  </a:lnTo>
                  <a:lnTo>
                    <a:pt x="115" y="67"/>
                  </a:lnTo>
                  <a:lnTo>
                    <a:pt x="126" y="62"/>
                  </a:lnTo>
                  <a:lnTo>
                    <a:pt x="136" y="59"/>
                  </a:lnTo>
                  <a:lnTo>
                    <a:pt x="148" y="55"/>
                  </a:lnTo>
                  <a:lnTo>
                    <a:pt x="159" y="54"/>
                  </a:lnTo>
                  <a:lnTo>
                    <a:pt x="171" y="53"/>
                  </a:lnTo>
                  <a:lnTo>
                    <a:pt x="182" y="54"/>
                  </a:lnTo>
                  <a:lnTo>
                    <a:pt x="182" y="54"/>
                  </a:lnTo>
                  <a:lnTo>
                    <a:pt x="194" y="56"/>
                  </a:lnTo>
                  <a:lnTo>
                    <a:pt x="205" y="60"/>
                  </a:lnTo>
                  <a:lnTo>
                    <a:pt x="216" y="63"/>
                  </a:lnTo>
                  <a:lnTo>
                    <a:pt x="227" y="68"/>
                  </a:lnTo>
                  <a:lnTo>
                    <a:pt x="236" y="75"/>
                  </a:lnTo>
                  <a:lnTo>
                    <a:pt x="245" y="81"/>
                  </a:lnTo>
                  <a:lnTo>
                    <a:pt x="254" y="89"/>
                  </a:lnTo>
                  <a:lnTo>
                    <a:pt x="260" y="97"/>
                  </a:lnTo>
                  <a:lnTo>
                    <a:pt x="267" y="106"/>
                  </a:lnTo>
                  <a:lnTo>
                    <a:pt x="273" y="116"/>
                  </a:lnTo>
                  <a:lnTo>
                    <a:pt x="277" y="127"/>
                  </a:lnTo>
                  <a:lnTo>
                    <a:pt x="282" y="137"/>
                  </a:lnTo>
                  <a:lnTo>
                    <a:pt x="284" y="148"/>
                  </a:lnTo>
                  <a:lnTo>
                    <a:pt x="286" y="159"/>
                  </a:lnTo>
                  <a:lnTo>
                    <a:pt x="286" y="171"/>
                  </a:lnTo>
                  <a:lnTo>
                    <a:pt x="285" y="183"/>
                  </a:lnTo>
                  <a:lnTo>
                    <a:pt x="285" y="183"/>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58" name="Freeform 457"/>
            <p:cNvSpPr>
              <a:spLocks noEditPoints="1"/>
            </p:cNvSpPr>
            <p:nvPr/>
          </p:nvSpPr>
          <p:spPr bwMode="auto">
            <a:xfrm>
              <a:off x="2868563" y="4458512"/>
              <a:ext cx="168586" cy="165350"/>
            </a:xfrm>
            <a:custGeom>
              <a:avLst/>
              <a:gdLst>
                <a:gd name="T0" fmla="*/ 376 w 392"/>
                <a:gd name="T1" fmla="*/ 212 h 392"/>
                <a:gd name="T2" fmla="*/ 381 w 392"/>
                <a:gd name="T3" fmla="*/ 186 h 392"/>
                <a:gd name="T4" fmla="*/ 360 w 392"/>
                <a:gd name="T5" fmla="*/ 171 h 392"/>
                <a:gd name="T6" fmla="*/ 370 w 392"/>
                <a:gd name="T7" fmla="*/ 146 h 392"/>
                <a:gd name="T8" fmla="*/ 365 w 392"/>
                <a:gd name="T9" fmla="*/ 120 h 392"/>
                <a:gd name="T10" fmla="*/ 338 w 392"/>
                <a:gd name="T11" fmla="*/ 108 h 392"/>
                <a:gd name="T12" fmla="*/ 343 w 392"/>
                <a:gd name="T13" fmla="*/ 83 h 392"/>
                <a:gd name="T14" fmla="*/ 324 w 392"/>
                <a:gd name="T15" fmla="*/ 66 h 392"/>
                <a:gd name="T16" fmla="*/ 295 w 392"/>
                <a:gd name="T17" fmla="*/ 63 h 392"/>
                <a:gd name="T18" fmla="*/ 292 w 392"/>
                <a:gd name="T19" fmla="*/ 37 h 392"/>
                <a:gd name="T20" fmla="*/ 267 w 392"/>
                <a:gd name="T21" fmla="*/ 28 h 392"/>
                <a:gd name="T22" fmla="*/ 240 w 392"/>
                <a:gd name="T23" fmla="*/ 35 h 392"/>
                <a:gd name="T24" fmla="*/ 230 w 392"/>
                <a:gd name="T25" fmla="*/ 2 h 392"/>
                <a:gd name="T26" fmla="*/ 200 w 392"/>
                <a:gd name="T27" fmla="*/ 18 h 392"/>
                <a:gd name="T28" fmla="*/ 180 w 392"/>
                <a:gd name="T29" fmla="*/ 29 h 392"/>
                <a:gd name="T30" fmla="*/ 157 w 392"/>
                <a:gd name="T31" fmla="*/ 4 h 392"/>
                <a:gd name="T32" fmla="*/ 136 w 392"/>
                <a:gd name="T33" fmla="*/ 27 h 392"/>
                <a:gd name="T34" fmla="*/ 117 w 392"/>
                <a:gd name="T35" fmla="*/ 48 h 392"/>
                <a:gd name="T36" fmla="*/ 90 w 392"/>
                <a:gd name="T37" fmla="*/ 29 h 392"/>
                <a:gd name="T38" fmla="*/ 79 w 392"/>
                <a:gd name="T39" fmla="*/ 67 h 392"/>
                <a:gd name="T40" fmla="*/ 69 w 392"/>
                <a:gd name="T41" fmla="*/ 86 h 392"/>
                <a:gd name="T42" fmla="*/ 37 w 392"/>
                <a:gd name="T43" fmla="*/ 78 h 392"/>
                <a:gd name="T44" fmla="*/ 41 w 392"/>
                <a:gd name="T45" fmla="*/ 117 h 392"/>
                <a:gd name="T46" fmla="*/ 35 w 392"/>
                <a:gd name="T47" fmla="*/ 141 h 392"/>
                <a:gd name="T48" fmla="*/ 3 w 392"/>
                <a:gd name="T49" fmla="*/ 157 h 392"/>
                <a:gd name="T50" fmla="*/ 27 w 392"/>
                <a:gd name="T51" fmla="*/ 184 h 392"/>
                <a:gd name="T52" fmla="*/ 25 w 392"/>
                <a:gd name="T53" fmla="*/ 202 h 392"/>
                <a:gd name="T54" fmla="*/ 1 w 392"/>
                <a:gd name="T55" fmla="*/ 229 h 392"/>
                <a:gd name="T56" fmla="*/ 33 w 392"/>
                <a:gd name="T57" fmla="*/ 245 h 392"/>
                <a:gd name="T58" fmla="*/ 38 w 392"/>
                <a:gd name="T59" fmla="*/ 269 h 392"/>
                <a:gd name="T60" fmla="*/ 33 w 392"/>
                <a:gd name="T61" fmla="*/ 308 h 392"/>
                <a:gd name="T62" fmla="*/ 64 w 392"/>
                <a:gd name="T63" fmla="*/ 303 h 392"/>
                <a:gd name="T64" fmla="*/ 75 w 392"/>
                <a:gd name="T65" fmla="*/ 321 h 392"/>
                <a:gd name="T66" fmla="*/ 85 w 392"/>
                <a:gd name="T67" fmla="*/ 359 h 392"/>
                <a:gd name="T68" fmla="*/ 112 w 392"/>
                <a:gd name="T69" fmla="*/ 342 h 392"/>
                <a:gd name="T70" fmla="*/ 128 w 392"/>
                <a:gd name="T71" fmla="*/ 356 h 392"/>
                <a:gd name="T72" fmla="*/ 133 w 392"/>
                <a:gd name="T73" fmla="*/ 383 h 392"/>
                <a:gd name="T74" fmla="*/ 167 w 392"/>
                <a:gd name="T75" fmla="*/ 363 h 392"/>
                <a:gd name="T76" fmla="*/ 185 w 392"/>
                <a:gd name="T77" fmla="*/ 365 h 392"/>
                <a:gd name="T78" fmla="*/ 209 w 392"/>
                <a:gd name="T79" fmla="*/ 392 h 392"/>
                <a:gd name="T80" fmla="*/ 228 w 392"/>
                <a:gd name="T81" fmla="*/ 362 h 392"/>
                <a:gd name="T82" fmla="*/ 253 w 392"/>
                <a:gd name="T83" fmla="*/ 359 h 392"/>
                <a:gd name="T84" fmla="*/ 291 w 392"/>
                <a:gd name="T85" fmla="*/ 368 h 392"/>
                <a:gd name="T86" fmla="*/ 288 w 392"/>
                <a:gd name="T87" fmla="*/ 335 h 392"/>
                <a:gd name="T88" fmla="*/ 315 w 392"/>
                <a:gd name="T89" fmla="*/ 329 h 392"/>
                <a:gd name="T90" fmla="*/ 339 w 392"/>
                <a:gd name="T91" fmla="*/ 315 h 392"/>
                <a:gd name="T92" fmla="*/ 334 w 392"/>
                <a:gd name="T93" fmla="*/ 290 h 392"/>
                <a:gd name="T94" fmla="*/ 355 w 392"/>
                <a:gd name="T95" fmla="*/ 277 h 392"/>
                <a:gd name="T96" fmla="*/ 372 w 392"/>
                <a:gd name="T97" fmla="*/ 254 h 392"/>
                <a:gd name="T98" fmla="*/ 358 w 392"/>
                <a:gd name="T99" fmla="*/ 233 h 392"/>
                <a:gd name="T100" fmla="*/ 322 w 392"/>
                <a:gd name="T101" fmla="*/ 237 h 392"/>
                <a:gd name="T102" fmla="*/ 268 w 392"/>
                <a:gd name="T103" fmla="*/ 308 h 392"/>
                <a:gd name="T104" fmla="*/ 180 w 392"/>
                <a:gd name="T105" fmla="*/ 329 h 392"/>
                <a:gd name="T106" fmla="*/ 109 w 392"/>
                <a:gd name="T107" fmla="*/ 297 h 392"/>
                <a:gd name="T108" fmla="*/ 63 w 392"/>
                <a:gd name="T109" fmla="*/ 221 h 392"/>
                <a:gd name="T110" fmla="*/ 72 w 392"/>
                <a:gd name="T111" fmla="*/ 142 h 392"/>
                <a:gd name="T112" fmla="*/ 132 w 392"/>
                <a:gd name="T113" fmla="*/ 77 h 392"/>
                <a:gd name="T114" fmla="*/ 210 w 392"/>
                <a:gd name="T115" fmla="*/ 62 h 392"/>
                <a:gd name="T116" fmla="*/ 291 w 392"/>
                <a:gd name="T117" fmla="*/ 102 h 392"/>
                <a:gd name="T118" fmla="*/ 329 w 392"/>
                <a:gd name="T119" fmla="*/ 183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2" h="392">
                  <a:moveTo>
                    <a:pt x="359" y="227"/>
                  </a:moveTo>
                  <a:lnTo>
                    <a:pt x="359" y="227"/>
                  </a:lnTo>
                  <a:lnTo>
                    <a:pt x="360" y="224"/>
                  </a:lnTo>
                  <a:lnTo>
                    <a:pt x="362" y="221"/>
                  </a:lnTo>
                  <a:lnTo>
                    <a:pt x="367" y="216"/>
                  </a:lnTo>
                  <a:lnTo>
                    <a:pt x="373" y="213"/>
                  </a:lnTo>
                  <a:lnTo>
                    <a:pt x="376" y="212"/>
                  </a:lnTo>
                  <a:lnTo>
                    <a:pt x="381" y="212"/>
                  </a:lnTo>
                  <a:lnTo>
                    <a:pt x="390" y="213"/>
                  </a:lnTo>
                  <a:lnTo>
                    <a:pt x="390" y="213"/>
                  </a:lnTo>
                  <a:lnTo>
                    <a:pt x="392" y="200"/>
                  </a:lnTo>
                  <a:lnTo>
                    <a:pt x="390" y="186"/>
                  </a:lnTo>
                  <a:lnTo>
                    <a:pt x="381" y="186"/>
                  </a:lnTo>
                  <a:lnTo>
                    <a:pt x="381" y="186"/>
                  </a:lnTo>
                  <a:lnTo>
                    <a:pt x="378" y="186"/>
                  </a:lnTo>
                  <a:lnTo>
                    <a:pt x="373" y="186"/>
                  </a:lnTo>
                  <a:lnTo>
                    <a:pt x="368" y="183"/>
                  </a:lnTo>
                  <a:lnTo>
                    <a:pt x="362" y="177"/>
                  </a:lnTo>
                  <a:lnTo>
                    <a:pt x="361" y="174"/>
                  </a:lnTo>
                  <a:lnTo>
                    <a:pt x="360" y="171"/>
                  </a:lnTo>
                  <a:lnTo>
                    <a:pt x="360" y="171"/>
                  </a:lnTo>
                  <a:lnTo>
                    <a:pt x="359" y="166"/>
                  </a:lnTo>
                  <a:lnTo>
                    <a:pt x="359" y="166"/>
                  </a:lnTo>
                  <a:lnTo>
                    <a:pt x="359" y="162"/>
                  </a:lnTo>
                  <a:lnTo>
                    <a:pt x="359" y="159"/>
                  </a:lnTo>
                  <a:lnTo>
                    <a:pt x="362" y="153"/>
                  </a:lnTo>
                  <a:lnTo>
                    <a:pt x="367" y="147"/>
                  </a:lnTo>
                  <a:lnTo>
                    <a:pt x="370" y="146"/>
                  </a:lnTo>
                  <a:lnTo>
                    <a:pt x="374" y="144"/>
                  </a:lnTo>
                  <a:lnTo>
                    <a:pt x="383" y="142"/>
                  </a:lnTo>
                  <a:lnTo>
                    <a:pt x="383" y="142"/>
                  </a:lnTo>
                  <a:lnTo>
                    <a:pt x="380" y="129"/>
                  </a:lnTo>
                  <a:lnTo>
                    <a:pt x="374" y="116"/>
                  </a:lnTo>
                  <a:lnTo>
                    <a:pt x="365" y="120"/>
                  </a:lnTo>
                  <a:lnTo>
                    <a:pt x="365" y="120"/>
                  </a:lnTo>
                  <a:lnTo>
                    <a:pt x="361" y="121"/>
                  </a:lnTo>
                  <a:lnTo>
                    <a:pt x="358" y="121"/>
                  </a:lnTo>
                  <a:lnTo>
                    <a:pt x="351" y="121"/>
                  </a:lnTo>
                  <a:lnTo>
                    <a:pt x="344" y="118"/>
                  </a:lnTo>
                  <a:lnTo>
                    <a:pt x="342" y="116"/>
                  </a:lnTo>
                  <a:lnTo>
                    <a:pt x="340" y="113"/>
                  </a:lnTo>
                  <a:lnTo>
                    <a:pt x="338" y="108"/>
                  </a:lnTo>
                  <a:lnTo>
                    <a:pt x="338" y="108"/>
                  </a:lnTo>
                  <a:lnTo>
                    <a:pt x="335" y="105"/>
                  </a:lnTo>
                  <a:lnTo>
                    <a:pt x="335" y="102"/>
                  </a:lnTo>
                  <a:lnTo>
                    <a:pt x="335" y="95"/>
                  </a:lnTo>
                  <a:lnTo>
                    <a:pt x="338" y="89"/>
                  </a:lnTo>
                  <a:lnTo>
                    <a:pt x="340" y="86"/>
                  </a:lnTo>
                  <a:lnTo>
                    <a:pt x="343" y="83"/>
                  </a:lnTo>
                  <a:lnTo>
                    <a:pt x="351" y="77"/>
                  </a:lnTo>
                  <a:lnTo>
                    <a:pt x="351" y="77"/>
                  </a:lnTo>
                  <a:lnTo>
                    <a:pt x="342" y="66"/>
                  </a:lnTo>
                  <a:lnTo>
                    <a:pt x="333" y="56"/>
                  </a:lnTo>
                  <a:lnTo>
                    <a:pt x="326" y="64"/>
                  </a:lnTo>
                  <a:lnTo>
                    <a:pt x="326" y="64"/>
                  </a:lnTo>
                  <a:lnTo>
                    <a:pt x="324" y="66"/>
                  </a:lnTo>
                  <a:lnTo>
                    <a:pt x="320" y="68"/>
                  </a:lnTo>
                  <a:lnTo>
                    <a:pt x="313" y="69"/>
                  </a:lnTo>
                  <a:lnTo>
                    <a:pt x="306" y="69"/>
                  </a:lnTo>
                  <a:lnTo>
                    <a:pt x="303" y="68"/>
                  </a:lnTo>
                  <a:lnTo>
                    <a:pt x="301" y="66"/>
                  </a:lnTo>
                  <a:lnTo>
                    <a:pt x="301" y="66"/>
                  </a:lnTo>
                  <a:lnTo>
                    <a:pt x="295" y="63"/>
                  </a:lnTo>
                  <a:lnTo>
                    <a:pt x="295" y="63"/>
                  </a:lnTo>
                  <a:lnTo>
                    <a:pt x="293" y="61"/>
                  </a:lnTo>
                  <a:lnTo>
                    <a:pt x="291" y="58"/>
                  </a:lnTo>
                  <a:lnTo>
                    <a:pt x="289" y="51"/>
                  </a:lnTo>
                  <a:lnTo>
                    <a:pt x="289" y="45"/>
                  </a:lnTo>
                  <a:lnTo>
                    <a:pt x="290" y="40"/>
                  </a:lnTo>
                  <a:lnTo>
                    <a:pt x="292" y="37"/>
                  </a:lnTo>
                  <a:lnTo>
                    <a:pt x="298" y="28"/>
                  </a:lnTo>
                  <a:lnTo>
                    <a:pt x="298" y="28"/>
                  </a:lnTo>
                  <a:lnTo>
                    <a:pt x="286" y="22"/>
                  </a:lnTo>
                  <a:lnTo>
                    <a:pt x="273" y="17"/>
                  </a:lnTo>
                  <a:lnTo>
                    <a:pt x="270" y="25"/>
                  </a:lnTo>
                  <a:lnTo>
                    <a:pt x="270" y="25"/>
                  </a:lnTo>
                  <a:lnTo>
                    <a:pt x="267" y="28"/>
                  </a:lnTo>
                  <a:lnTo>
                    <a:pt x="265" y="32"/>
                  </a:lnTo>
                  <a:lnTo>
                    <a:pt x="260" y="36"/>
                  </a:lnTo>
                  <a:lnTo>
                    <a:pt x="253" y="37"/>
                  </a:lnTo>
                  <a:lnTo>
                    <a:pt x="249" y="37"/>
                  </a:lnTo>
                  <a:lnTo>
                    <a:pt x="246" y="37"/>
                  </a:lnTo>
                  <a:lnTo>
                    <a:pt x="240" y="35"/>
                  </a:lnTo>
                  <a:lnTo>
                    <a:pt x="240" y="35"/>
                  </a:lnTo>
                  <a:lnTo>
                    <a:pt x="237" y="34"/>
                  </a:lnTo>
                  <a:lnTo>
                    <a:pt x="235" y="32"/>
                  </a:lnTo>
                  <a:lnTo>
                    <a:pt x="231" y="27"/>
                  </a:lnTo>
                  <a:lnTo>
                    <a:pt x="228" y="20"/>
                  </a:lnTo>
                  <a:lnTo>
                    <a:pt x="227" y="17"/>
                  </a:lnTo>
                  <a:lnTo>
                    <a:pt x="228" y="12"/>
                  </a:lnTo>
                  <a:lnTo>
                    <a:pt x="230" y="2"/>
                  </a:lnTo>
                  <a:lnTo>
                    <a:pt x="230" y="2"/>
                  </a:lnTo>
                  <a:lnTo>
                    <a:pt x="217" y="1"/>
                  </a:lnTo>
                  <a:lnTo>
                    <a:pt x="203" y="0"/>
                  </a:lnTo>
                  <a:lnTo>
                    <a:pt x="203" y="10"/>
                  </a:lnTo>
                  <a:lnTo>
                    <a:pt x="203" y="10"/>
                  </a:lnTo>
                  <a:lnTo>
                    <a:pt x="201" y="13"/>
                  </a:lnTo>
                  <a:lnTo>
                    <a:pt x="200" y="18"/>
                  </a:lnTo>
                  <a:lnTo>
                    <a:pt x="197" y="23"/>
                  </a:lnTo>
                  <a:lnTo>
                    <a:pt x="192" y="27"/>
                  </a:lnTo>
                  <a:lnTo>
                    <a:pt x="189" y="28"/>
                  </a:lnTo>
                  <a:lnTo>
                    <a:pt x="185" y="29"/>
                  </a:lnTo>
                  <a:lnTo>
                    <a:pt x="185" y="29"/>
                  </a:lnTo>
                  <a:lnTo>
                    <a:pt x="180" y="29"/>
                  </a:lnTo>
                  <a:lnTo>
                    <a:pt x="180" y="29"/>
                  </a:lnTo>
                  <a:lnTo>
                    <a:pt x="177" y="29"/>
                  </a:lnTo>
                  <a:lnTo>
                    <a:pt x="173" y="28"/>
                  </a:lnTo>
                  <a:lnTo>
                    <a:pt x="167" y="25"/>
                  </a:lnTo>
                  <a:lnTo>
                    <a:pt x="163" y="20"/>
                  </a:lnTo>
                  <a:lnTo>
                    <a:pt x="160" y="17"/>
                  </a:lnTo>
                  <a:lnTo>
                    <a:pt x="159" y="13"/>
                  </a:lnTo>
                  <a:lnTo>
                    <a:pt x="157" y="4"/>
                  </a:lnTo>
                  <a:lnTo>
                    <a:pt x="157" y="4"/>
                  </a:lnTo>
                  <a:lnTo>
                    <a:pt x="144" y="7"/>
                  </a:lnTo>
                  <a:lnTo>
                    <a:pt x="131" y="10"/>
                  </a:lnTo>
                  <a:lnTo>
                    <a:pt x="135" y="20"/>
                  </a:lnTo>
                  <a:lnTo>
                    <a:pt x="135" y="20"/>
                  </a:lnTo>
                  <a:lnTo>
                    <a:pt x="136" y="23"/>
                  </a:lnTo>
                  <a:lnTo>
                    <a:pt x="136" y="27"/>
                  </a:lnTo>
                  <a:lnTo>
                    <a:pt x="135" y="34"/>
                  </a:lnTo>
                  <a:lnTo>
                    <a:pt x="131" y="40"/>
                  </a:lnTo>
                  <a:lnTo>
                    <a:pt x="128" y="42"/>
                  </a:lnTo>
                  <a:lnTo>
                    <a:pt x="126" y="44"/>
                  </a:lnTo>
                  <a:lnTo>
                    <a:pt x="120" y="47"/>
                  </a:lnTo>
                  <a:lnTo>
                    <a:pt x="120" y="47"/>
                  </a:lnTo>
                  <a:lnTo>
                    <a:pt x="117" y="48"/>
                  </a:lnTo>
                  <a:lnTo>
                    <a:pt x="114" y="48"/>
                  </a:lnTo>
                  <a:lnTo>
                    <a:pt x="108" y="47"/>
                  </a:lnTo>
                  <a:lnTo>
                    <a:pt x="101" y="44"/>
                  </a:lnTo>
                  <a:lnTo>
                    <a:pt x="98" y="41"/>
                  </a:lnTo>
                  <a:lnTo>
                    <a:pt x="96" y="38"/>
                  </a:lnTo>
                  <a:lnTo>
                    <a:pt x="90" y="29"/>
                  </a:lnTo>
                  <a:lnTo>
                    <a:pt x="90" y="29"/>
                  </a:lnTo>
                  <a:lnTo>
                    <a:pt x="79" y="37"/>
                  </a:lnTo>
                  <a:lnTo>
                    <a:pt x="69" y="46"/>
                  </a:lnTo>
                  <a:lnTo>
                    <a:pt x="75" y="53"/>
                  </a:lnTo>
                  <a:lnTo>
                    <a:pt x="75" y="53"/>
                  </a:lnTo>
                  <a:lnTo>
                    <a:pt x="77" y="56"/>
                  </a:lnTo>
                  <a:lnTo>
                    <a:pt x="78" y="60"/>
                  </a:lnTo>
                  <a:lnTo>
                    <a:pt x="79" y="67"/>
                  </a:lnTo>
                  <a:lnTo>
                    <a:pt x="78" y="74"/>
                  </a:lnTo>
                  <a:lnTo>
                    <a:pt x="77" y="76"/>
                  </a:lnTo>
                  <a:lnTo>
                    <a:pt x="75" y="79"/>
                  </a:lnTo>
                  <a:lnTo>
                    <a:pt x="75" y="79"/>
                  </a:lnTo>
                  <a:lnTo>
                    <a:pt x="71" y="83"/>
                  </a:lnTo>
                  <a:lnTo>
                    <a:pt x="71" y="83"/>
                  </a:lnTo>
                  <a:lnTo>
                    <a:pt x="69" y="86"/>
                  </a:lnTo>
                  <a:lnTo>
                    <a:pt x="65" y="87"/>
                  </a:lnTo>
                  <a:lnTo>
                    <a:pt x="59" y="89"/>
                  </a:lnTo>
                  <a:lnTo>
                    <a:pt x="52" y="88"/>
                  </a:lnTo>
                  <a:lnTo>
                    <a:pt x="49" y="87"/>
                  </a:lnTo>
                  <a:lnTo>
                    <a:pt x="45" y="85"/>
                  </a:lnTo>
                  <a:lnTo>
                    <a:pt x="37" y="78"/>
                  </a:lnTo>
                  <a:lnTo>
                    <a:pt x="37" y="78"/>
                  </a:lnTo>
                  <a:lnTo>
                    <a:pt x="30" y="90"/>
                  </a:lnTo>
                  <a:lnTo>
                    <a:pt x="22" y="102"/>
                  </a:lnTo>
                  <a:lnTo>
                    <a:pt x="32" y="106"/>
                  </a:lnTo>
                  <a:lnTo>
                    <a:pt x="32" y="106"/>
                  </a:lnTo>
                  <a:lnTo>
                    <a:pt x="34" y="108"/>
                  </a:lnTo>
                  <a:lnTo>
                    <a:pt x="37" y="110"/>
                  </a:lnTo>
                  <a:lnTo>
                    <a:pt x="41" y="117"/>
                  </a:lnTo>
                  <a:lnTo>
                    <a:pt x="42" y="123"/>
                  </a:lnTo>
                  <a:lnTo>
                    <a:pt x="42" y="127"/>
                  </a:lnTo>
                  <a:lnTo>
                    <a:pt x="41" y="130"/>
                  </a:lnTo>
                  <a:lnTo>
                    <a:pt x="38" y="135"/>
                  </a:lnTo>
                  <a:lnTo>
                    <a:pt x="38" y="135"/>
                  </a:lnTo>
                  <a:lnTo>
                    <a:pt x="37" y="139"/>
                  </a:lnTo>
                  <a:lnTo>
                    <a:pt x="35" y="141"/>
                  </a:lnTo>
                  <a:lnTo>
                    <a:pt x="30" y="145"/>
                  </a:lnTo>
                  <a:lnTo>
                    <a:pt x="22" y="147"/>
                  </a:lnTo>
                  <a:lnTo>
                    <a:pt x="19" y="147"/>
                  </a:lnTo>
                  <a:lnTo>
                    <a:pt x="15" y="146"/>
                  </a:lnTo>
                  <a:lnTo>
                    <a:pt x="6" y="143"/>
                  </a:lnTo>
                  <a:lnTo>
                    <a:pt x="6" y="143"/>
                  </a:lnTo>
                  <a:lnTo>
                    <a:pt x="3" y="157"/>
                  </a:lnTo>
                  <a:lnTo>
                    <a:pt x="1" y="170"/>
                  </a:lnTo>
                  <a:lnTo>
                    <a:pt x="10" y="171"/>
                  </a:lnTo>
                  <a:lnTo>
                    <a:pt x="10" y="171"/>
                  </a:lnTo>
                  <a:lnTo>
                    <a:pt x="14" y="172"/>
                  </a:lnTo>
                  <a:lnTo>
                    <a:pt x="17" y="174"/>
                  </a:lnTo>
                  <a:lnTo>
                    <a:pt x="22" y="179"/>
                  </a:lnTo>
                  <a:lnTo>
                    <a:pt x="27" y="184"/>
                  </a:lnTo>
                  <a:lnTo>
                    <a:pt x="28" y="187"/>
                  </a:lnTo>
                  <a:lnTo>
                    <a:pt x="28" y="190"/>
                  </a:lnTo>
                  <a:lnTo>
                    <a:pt x="28" y="190"/>
                  </a:lnTo>
                  <a:lnTo>
                    <a:pt x="28" y="196"/>
                  </a:lnTo>
                  <a:lnTo>
                    <a:pt x="28" y="196"/>
                  </a:lnTo>
                  <a:lnTo>
                    <a:pt x="27" y="199"/>
                  </a:lnTo>
                  <a:lnTo>
                    <a:pt x="25" y="202"/>
                  </a:lnTo>
                  <a:lnTo>
                    <a:pt x="22" y="208"/>
                  </a:lnTo>
                  <a:lnTo>
                    <a:pt x="17" y="212"/>
                  </a:lnTo>
                  <a:lnTo>
                    <a:pt x="12" y="213"/>
                  </a:lnTo>
                  <a:lnTo>
                    <a:pt x="9" y="214"/>
                  </a:lnTo>
                  <a:lnTo>
                    <a:pt x="0" y="215"/>
                  </a:lnTo>
                  <a:lnTo>
                    <a:pt x="0" y="215"/>
                  </a:lnTo>
                  <a:lnTo>
                    <a:pt x="1" y="229"/>
                  </a:lnTo>
                  <a:lnTo>
                    <a:pt x="4" y="242"/>
                  </a:lnTo>
                  <a:lnTo>
                    <a:pt x="14" y="240"/>
                  </a:lnTo>
                  <a:lnTo>
                    <a:pt x="14" y="240"/>
                  </a:lnTo>
                  <a:lnTo>
                    <a:pt x="17" y="239"/>
                  </a:lnTo>
                  <a:lnTo>
                    <a:pt x="21" y="239"/>
                  </a:lnTo>
                  <a:lnTo>
                    <a:pt x="28" y="241"/>
                  </a:lnTo>
                  <a:lnTo>
                    <a:pt x="33" y="245"/>
                  </a:lnTo>
                  <a:lnTo>
                    <a:pt x="35" y="248"/>
                  </a:lnTo>
                  <a:lnTo>
                    <a:pt x="36" y="251"/>
                  </a:lnTo>
                  <a:lnTo>
                    <a:pt x="38" y="256"/>
                  </a:lnTo>
                  <a:lnTo>
                    <a:pt x="38" y="256"/>
                  </a:lnTo>
                  <a:lnTo>
                    <a:pt x="39" y="260"/>
                  </a:lnTo>
                  <a:lnTo>
                    <a:pt x="39" y="263"/>
                  </a:lnTo>
                  <a:lnTo>
                    <a:pt x="38" y="269"/>
                  </a:lnTo>
                  <a:lnTo>
                    <a:pt x="34" y="276"/>
                  </a:lnTo>
                  <a:lnTo>
                    <a:pt x="32" y="278"/>
                  </a:lnTo>
                  <a:lnTo>
                    <a:pt x="29" y="280"/>
                  </a:lnTo>
                  <a:lnTo>
                    <a:pt x="19" y="284"/>
                  </a:lnTo>
                  <a:lnTo>
                    <a:pt x="19" y="284"/>
                  </a:lnTo>
                  <a:lnTo>
                    <a:pt x="25" y="296"/>
                  </a:lnTo>
                  <a:lnTo>
                    <a:pt x="33" y="308"/>
                  </a:lnTo>
                  <a:lnTo>
                    <a:pt x="42" y="303"/>
                  </a:lnTo>
                  <a:lnTo>
                    <a:pt x="42" y="303"/>
                  </a:lnTo>
                  <a:lnTo>
                    <a:pt x="45" y="301"/>
                  </a:lnTo>
                  <a:lnTo>
                    <a:pt x="48" y="299"/>
                  </a:lnTo>
                  <a:lnTo>
                    <a:pt x="56" y="298"/>
                  </a:lnTo>
                  <a:lnTo>
                    <a:pt x="62" y="301"/>
                  </a:lnTo>
                  <a:lnTo>
                    <a:pt x="64" y="303"/>
                  </a:lnTo>
                  <a:lnTo>
                    <a:pt x="68" y="305"/>
                  </a:lnTo>
                  <a:lnTo>
                    <a:pt x="68" y="305"/>
                  </a:lnTo>
                  <a:lnTo>
                    <a:pt x="71" y="309"/>
                  </a:lnTo>
                  <a:lnTo>
                    <a:pt x="71" y="309"/>
                  </a:lnTo>
                  <a:lnTo>
                    <a:pt x="73" y="311"/>
                  </a:lnTo>
                  <a:lnTo>
                    <a:pt x="74" y="315"/>
                  </a:lnTo>
                  <a:lnTo>
                    <a:pt x="75" y="321"/>
                  </a:lnTo>
                  <a:lnTo>
                    <a:pt x="74" y="329"/>
                  </a:lnTo>
                  <a:lnTo>
                    <a:pt x="72" y="332"/>
                  </a:lnTo>
                  <a:lnTo>
                    <a:pt x="70" y="335"/>
                  </a:lnTo>
                  <a:lnTo>
                    <a:pt x="63" y="342"/>
                  </a:lnTo>
                  <a:lnTo>
                    <a:pt x="63" y="342"/>
                  </a:lnTo>
                  <a:lnTo>
                    <a:pt x="74" y="350"/>
                  </a:lnTo>
                  <a:lnTo>
                    <a:pt x="85" y="359"/>
                  </a:lnTo>
                  <a:lnTo>
                    <a:pt x="90" y="350"/>
                  </a:lnTo>
                  <a:lnTo>
                    <a:pt x="90" y="350"/>
                  </a:lnTo>
                  <a:lnTo>
                    <a:pt x="92" y="348"/>
                  </a:lnTo>
                  <a:lnTo>
                    <a:pt x="96" y="345"/>
                  </a:lnTo>
                  <a:lnTo>
                    <a:pt x="102" y="342"/>
                  </a:lnTo>
                  <a:lnTo>
                    <a:pt x="109" y="342"/>
                  </a:lnTo>
                  <a:lnTo>
                    <a:pt x="112" y="342"/>
                  </a:lnTo>
                  <a:lnTo>
                    <a:pt x="115" y="344"/>
                  </a:lnTo>
                  <a:lnTo>
                    <a:pt x="115" y="344"/>
                  </a:lnTo>
                  <a:lnTo>
                    <a:pt x="120" y="346"/>
                  </a:lnTo>
                  <a:lnTo>
                    <a:pt x="120" y="346"/>
                  </a:lnTo>
                  <a:lnTo>
                    <a:pt x="123" y="348"/>
                  </a:lnTo>
                  <a:lnTo>
                    <a:pt x="125" y="350"/>
                  </a:lnTo>
                  <a:lnTo>
                    <a:pt x="128" y="356"/>
                  </a:lnTo>
                  <a:lnTo>
                    <a:pt x="129" y="363"/>
                  </a:lnTo>
                  <a:lnTo>
                    <a:pt x="129" y="366"/>
                  </a:lnTo>
                  <a:lnTo>
                    <a:pt x="128" y="371"/>
                  </a:lnTo>
                  <a:lnTo>
                    <a:pt x="125" y="379"/>
                  </a:lnTo>
                  <a:lnTo>
                    <a:pt x="125" y="379"/>
                  </a:lnTo>
                  <a:lnTo>
                    <a:pt x="133" y="383"/>
                  </a:lnTo>
                  <a:lnTo>
                    <a:pt x="133" y="383"/>
                  </a:lnTo>
                  <a:lnTo>
                    <a:pt x="151" y="388"/>
                  </a:lnTo>
                  <a:lnTo>
                    <a:pt x="153" y="378"/>
                  </a:lnTo>
                  <a:lnTo>
                    <a:pt x="153" y="378"/>
                  </a:lnTo>
                  <a:lnTo>
                    <a:pt x="154" y="374"/>
                  </a:lnTo>
                  <a:lnTo>
                    <a:pt x="156" y="371"/>
                  </a:lnTo>
                  <a:lnTo>
                    <a:pt x="160" y="365"/>
                  </a:lnTo>
                  <a:lnTo>
                    <a:pt x="167" y="363"/>
                  </a:lnTo>
                  <a:lnTo>
                    <a:pt x="170" y="362"/>
                  </a:lnTo>
                  <a:lnTo>
                    <a:pt x="173" y="362"/>
                  </a:lnTo>
                  <a:lnTo>
                    <a:pt x="173" y="362"/>
                  </a:lnTo>
                  <a:lnTo>
                    <a:pt x="179" y="363"/>
                  </a:lnTo>
                  <a:lnTo>
                    <a:pt x="179" y="363"/>
                  </a:lnTo>
                  <a:lnTo>
                    <a:pt x="182" y="363"/>
                  </a:lnTo>
                  <a:lnTo>
                    <a:pt x="185" y="365"/>
                  </a:lnTo>
                  <a:lnTo>
                    <a:pt x="191" y="370"/>
                  </a:lnTo>
                  <a:lnTo>
                    <a:pt x="194" y="375"/>
                  </a:lnTo>
                  <a:lnTo>
                    <a:pt x="195" y="378"/>
                  </a:lnTo>
                  <a:lnTo>
                    <a:pt x="196" y="383"/>
                  </a:lnTo>
                  <a:lnTo>
                    <a:pt x="196" y="392"/>
                  </a:lnTo>
                  <a:lnTo>
                    <a:pt x="196" y="392"/>
                  </a:lnTo>
                  <a:lnTo>
                    <a:pt x="209" y="392"/>
                  </a:lnTo>
                  <a:lnTo>
                    <a:pt x="223" y="390"/>
                  </a:lnTo>
                  <a:lnTo>
                    <a:pt x="221" y="380"/>
                  </a:lnTo>
                  <a:lnTo>
                    <a:pt x="221" y="380"/>
                  </a:lnTo>
                  <a:lnTo>
                    <a:pt x="221" y="377"/>
                  </a:lnTo>
                  <a:lnTo>
                    <a:pt x="222" y="373"/>
                  </a:lnTo>
                  <a:lnTo>
                    <a:pt x="224" y="366"/>
                  </a:lnTo>
                  <a:lnTo>
                    <a:pt x="228" y="362"/>
                  </a:lnTo>
                  <a:lnTo>
                    <a:pt x="232" y="360"/>
                  </a:lnTo>
                  <a:lnTo>
                    <a:pt x="235" y="359"/>
                  </a:lnTo>
                  <a:lnTo>
                    <a:pt x="240" y="358"/>
                  </a:lnTo>
                  <a:lnTo>
                    <a:pt x="240" y="358"/>
                  </a:lnTo>
                  <a:lnTo>
                    <a:pt x="244" y="357"/>
                  </a:lnTo>
                  <a:lnTo>
                    <a:pt x="247" y="357"/>
                  </a:lnTo>
                  <a:lnTo>
                    <a:pt x="253" y="359"/>
                  </a:lnTo>
                  <a:lnTo>
                    <a:pt x="259" y="363"/>
                  </a:lnTo>
                  <a:lnTo>
                    <a:pt x="261" y="366"/>
                  </a:lnTo>
                  <a:lnTo>
                    <a:pt x="263" y="370"/>
                  </a:lnTo>
                  <a:lnTo>
                    <a:pt x="266" y="379"/>
                  </a:lnTo>
                  <a:lnTo>
                    <a:pt x="266" y="379"/>
                  </a:lnTo>
                  <a:lnTo>
                    <a:pt x="279" y="374"/>
                  </a:lnTo>
                  <a:lnTo>
                    <a:pt x="291" y="368"/>
                  </a:lnTo>
                  <a:lnTo>
                    <a:pt x="287" y="359"/>
                  </a:lnTo>
                  <a:lnTo>
                    <a:pt x="287" y="359"/>
                  </a:lnTo>
                  <a:lnTo>
                    <a:pt x="285" y="355"/>
                  </a:lnTo>
                  <a:lnTo>
                    <a:pt x="284" y="351"/>
                  </a:lnTo>
                  <a:lnTo>
                    <a:pt x="284" y="345"/>
                  </a:lnTo>
                  <a:lnTo>
                    <a:pt x="287" y="338"/>
                  </a:lnTo>
                  <a:lnTo>
                    <a:pt x="288" y="335"/>
                  </a:lnTo>
                  <a:lnTo>
                    <a:pt x="291" y="333"/>
                  </a:lnTo>
                  <a:lnTo>
                    <a:pt x="295" y="330"/>
                  </a:lnTo>
                  <a:lnTo>
                    <a:pt x="295" y="330"/>
                  </a:lnTo>
                  <a:lnTo>
                    <a:pt x="299" y="329"/>
                  </a:lnTo>
                  <a:lnTo>
                    <a:pt x="302" y="328"/>
                  </a:lnTo>
                  <a:lnTo>
                    <a:pt x="308" y="326"/>
                  </a:lnTo>
                  <a:lnTo>
                    <a:pt x="315" y="329"/>
                  </a:lnTo>
                  <a:lnTo>
                    <a:pt x="318" y="331"/>
                  </a:lnTo>
                  <a:lnTo>
                    <a:pt x="321" y="333"/>
                  </a:lnTo>
                  <a:lnTo>
                    <a:pt x="328" y="341"/>
                  </a:lnTo>
                  <a:lnTo>
                    <a:pt x="328" y="341"/>
                  </a:lnTo>
                  <a:lnTo>
                    <a:pt x="338" y="331"/>
                  </a:lnTo>
                  <a:lnTo>
                    <a:pt x="346" y="321"/>
                  </a:lnTo>
                  <a:lnTo>
                    <a:pt x="339" y="315"/>
                  </a:lnTo>
                  <a:lnTo>
                    <a:pt x="339" y="315"/>
                  </a:lnTo>
                  <a:lnTo>
                    <a:pt x="336" y="311"/>
                  </a:lnTo>
                  <a:lnTo>
                    <a:pt x="334" y="309"/>
                  </a:lnTo>
                  <a:lnTo>
                    <a:pt x="331" y="303"/>
                  </a:lnTo>
                  <a:lnTo>
                    <a:pt x="331" y="295"/>
                  </a:lnTo>
                  <a:lnTo>
                    <a:pt x="332" y="292"/>
                  </a:lnTo>
                  <a:lnTo>
                    <a:pt x="334" y="290"/>
                  </a:lnTo>
                  <a:lnTo>
                    <a:pt x="334" y="290"/>
                  </a:lnTo>
                  <a:lnTo>
                    <a:pt x="338" y="284"/>
                  </a:lnTo>
                  <a:lnTo>
                    <a:pt x="338" y="284"/>
                  </a:lnTo>
                  <a:lnTo>
                    <a:pt x="339" y="282"/>
                  </a:lnTo>
                  <a:lnTo>
                    <a:pt x="342" y="280"/>
                  </a:lnTo>
                  <a:lnTo>
                    <a:pt x="347" y="277"/>
                  </a:lnTo>
                  <a:lnTo>
                    <a:pt x="355" y="277"/>
                  </a:lnTo>
                  <a:lnTo>
                    <a:pt x="358" y="277"/>
                  </a:lnTo>
                  <a:lnTo>
                    <a:pt x="362" y="279"/>
                  </a:lnTo>
                  <a:lnTo>
                    <a:pt x="371" y="283"/>
                  </a:lnTo>
                  <a:lnTo>
                    <a:pt x="371" y="283"/>
                  </a:lnTo>
                  <a:lnTo>
                    <a:pt x="376" y="270"/>
                  </a:lnTo>
                  <a:lnTo>
                    <a:pt x="382" y="257"/>
                  </a:lnTo>
                  <a:lnTo>
                    <a:pt x="372" y="254"/>
                  </a:lnTo>
                  <a:lnTo>
                    <a:pt x="372" y="254"/>
                  </a:lnTo>
                  <a:lnTo>
                    <a:pt x="369" y="253"/>
                  </a:lnTo>
                  <a:lnTo>
                    <a:pt x="366" y="251"/>
                  </a:lnTo>
                  <a:lnTo>
                    <a:pt x="360" y="245"/>
                  </a:lnTo>
                  <a:lnTo>
                    <a:pt x="358" y="239"/>
                  </a:lnTo>
                  <a:lnTo>
                    <a:pt x="358" y="236"/>
                  </a:lnTo>
                  <a:lnTo>
                    <a:pt x="358" y="233"/>
                  </a:lnTo>
                  <a:lnTo>
                    <a:pt x="358" y="233"/>
                  </a:lnTo>
                  <a:lnTo>
                    <a:pt x="359" y="227"/>
                  </a:lnTo>
                  <a:lnTo>
                    <a:pt x="359" y="227"/>
                  </a:lnTo>
                  <a:close/>
                  <a:moveTo>
                    <a:pt x="328" y="210"/>
                  </a:moveTo>
                  <a:lnTo>
                    <a:pt x="328" y="210"/>
                  </a:lnTo>
                  <a:lnTo>
                    <a:pt x="326" y="224"/>
                  </a:lnTo>
                  <a:lnTo>
                    <a:pt x="322" y="237"/>
                  </a:lnTo>
                  <a:lnTo>
                    <a:pt x="318" y="250"/>
                  </a:lnTo>
                  <a:lnTo>
                    <a:pt x="312" y="261"/>
                  </a:lnTo>
                  <a:lnTo>
                    <a:pt x="305" y="272"/>
                  </a:lnTo>
                  <a:lnTo>
                    <a:pt x="298" y="282"/>
                  </a:lnTo>
                  <a:lnTo>
                    <a:pt x="288" y="292"/>
                  </a:lnTo>
                  <a:lnTo>
                    <a:pt x="278" y="301"/>
                  </a:lnTo>
                  <a:lnTo>
                    <a:pt x="268" y="308"/>
                  </a:lnTo>
                  <a:lnTo>
                    <a:pt x="258" y="315"/>
                  </a:lnTo>
                  <a:lnTo>
                    <a:pt x="246" y="320"/>
                  </a:lnTo>
                  <a:lnTo>
                    <a:pt x="233" y="324"/>
                  </a:lnTo>
                  <a:lnTo>
                    <a:pt x="220" y="328"/>
                  </a:lnTo>
                  <a:lnTo>
                    <a:pt x="207" y="329"/>
                  </a:lnTo>
                  <a:lnTo>
                    <a:pt x="194" y="330"/>
                  </a:lnTo>
                  <a:lnTo>
                    <a:pt x="180" y="329"/>
                  </a:lnTo>
                  <a:lnTo>
                    <a:pt x="180" y="329"/>
                  </a:lnTo>
                  <a:lnTo>
                    <a:pt x="167" y="326"/>
                  </a:lnTo>
                  <a:lnTo>
                    <a:pt x="154" y="323"/>
                  </a:lnTo>
                  <a:lnTo>
                    <a:pt x="141" y="319"/>
                  </a:lnTo>
                  <a:lnTo>
                    <a:pt x="129" y="312"/>
                  </a:lnTo>
                  <a:lnTo>
                    <a:pt x="118" y="306"/>
                  </a:lnTo>
                  <a:lnTo>
                    <a:pt x="109" y="297"/>
                  </a:lnTo>
                  <a:lnTo>
                    <a:pt x="99" y="289"/>
                  </a:lnTo>
                  <a:lnTo>
                    <a:pt x="90" y="279"/>
                  </a:lnTo>
                  <a:lnTo>
                    <a:pt x="83" y="269"/>
                  </a:lnTo>
                  <a:lnTo>
                    <a:pt x="76" y="257"/>
                  </a:lnTo>
                  <a:lnTo>
                    <a:pt x="71" y="247"/>
                  </a:lnTo>
                  <a:lnTo>
                    <a:pt x="66" y="234"/>
                  </a:lnTo>
                  <a:lnTo>
                    <a:pt x="63" y="221"/>
                  </a:lnTo>
                  <a:lnTo>
                    <a:pt x="61" y="208"/>
                  </a:lnTo>
                  <a:lnTo>
                    <a:pt x="61" y="195"/>
                  </a:lnTo>
                  <a:lnTo>
                    <a:pt x="61" y="181"/>
                  </a:lnTo>
                  <a:lnTo>
                    <a:pt x="61" y="181"/>
                  </a:lnTo>
                  <a:lnTo>
                    <a:pt x="64" y="167"/>
                  </a:lnTo>
                  <a:lnTo>
                    <a:pt x="68" y="154"/>
                  </a:lnTo>
                  <a:lnTo>
                    <a:pt x="72" y="142"/>
                  </a:lnTo>
                  <a:lnTo>
                    <a:pt x="77" y="130"/>
                  </a:lnTo>
                  <a:lnTo>
                    <a:pt x="85" y="119"/>
                  </a:lnTo>
                  <a:lnTo>
                    <a:pt x="92" y="108"/>
                  </a:lnTo>
                  <a:lnTo>
                    <a:pt x="101" y="100"/>
                  </a:lnTo>
                  <a:lnTo>
                    <a:pt x="111" y="91"/>
                  </a:lnTo>
                  <a:lnTo>
                    <a:pt x="122" y="83"/>
                  </a:lnTo>
                  <a:lnTo>
                    <a:pt x="132" y="77"/>
                  </a:lnTo>
                  <a:lnTo>
                    <a:pt x="144" y="72"/>
                  </a:lnTo>
                  <a:lnTo>
                    <a:pt x="156" y="67"/>
                  </a:lnTo>
                  <a:lnTo>
                    <a:pt x="169" y="64"/>
                  </a:lnTo>
                  <a:lnTo>
                    <a:pt x="182" y="62"/>
                  </a:lnTo>
                  <a:lnTo>
                    <a:pt x="196" y="62"/>
                  </a:lnTo>
                  <a:lnTo>
                    <a:pt x="210" y="62"/>
                  </a:lnTo>
                  <a:lnTo>
                    <a:pt x="210" y="62"/>
                  </a:lnTo>
                  <a:lnTo>
                    <a:pt x="223" y="64"/>
                  </a:lnTo>
                  <a:lnTo>
                    <a:pt x="236" y="68"/>
                  </a:lnTo>
                  <a:lnTo>
                    <a:pt x="249" y="73"/>
                  </a:lnTo>
                  <a:lnTo>
                    <a:pt x="261" y="78"/>
                  </a:lnTo>
                  <a:lnTo>
                    <a:pt x="272" y="86"/>
                  </a:lnTo>
                  <a:lnTo>
                    <a:pt x="281" y="93"/>
                  </a:lnTo>
                  <a:lnTo>
                    <a:pt x="291" y="102"/>
                  </a:lnTo>
                  <a:lnTo>
                    <a:pt x="300" y="112"/>
                  </a:lnTo>
                  <a:lnTo>
                    <a:pt x="307" y="122"/>
                  </a:lnTo>
                  <a:lnTo>
                    <a:pt x="314" y="133"/>
                  </a:lnTo>
                  <a:lnTo>
                    <a:pt x="319" y="145"/>
                  </a:lnTo>
                  <a:lnTo>
                    <a:pt x="324" y="157"/>
                  </a:lnTo>
                  <a:lnTo>
                    <a:pt x="327" y="170"/>
                  </a:lnTo>
                  <a:lnTo>
                    <a:pt x="329" y="183"/>
                  </a:lnTo>
                  <a:lnTo>
                    <a:pt x="329" y="197"/>
                  </a:lnTo>
                  <a:lnTo>
                    <a:pt x="328" y="210"/>
                  </a:lnTo>
                  <a:lnTo>
                    <a:pt x="328" y="210"/>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nvGrpSpPr>
            <p:cNvPr id="459" name="Group 458"/>
            <p:cNvGrpSpPr/>
            <p:nvPr/>
          </p:nvGrpSpPr>
          <p:grpSpPr>
            <a:xfrm>
              <a:off x="6237503" y="1009688"/>
              <a:ext cx="192669" cy="188971"/>
              <a:chOff x="6425394" y="1125038"/>
              <a:chExt cx="170032" cy="166769"/>
            </a:xfrm>
          </p:grpSpPr>
          <p:sp>
            <p:nvSpPr>
              <p:cNvPr id="805" name="Freeform 804"/>
              <p:cNvSpPr>
                <a:spLocks noEditPoints="1"/>
              </p:cNvSpPr>
              <p:nvPr/>
            </p:nvSpPr>
            <p:spPr bwMode="auto">
              <a:xfrm>
                <a:off x="6425394" y="1125038"/>
                <a:ext cx="170032" cy="166769"/>
              </a:xfrm>
              <a:custGeom>
                <a:avLst/>
                <a:gdLst>
                  <a:gd name="T0" fmla="*/ 255 w 449"/>
                  <a:gd name="T1" fmla="*/ 447 h 450"/>
                  <a:gd name="T2" fmla="*/ 319 w 449"/>
                  <a:gd name="T3" fmla="*/ 429 h 450"/>
                  <a:gd name="T4" fmla="*/ 373 w 449"/>
                  <a:gd name="T5" fmla="*/ 393 h 450"/>
                  <a:gd name="T6" fmla="*/ 414 w 449"/>
                  <a:gd name="T7" fmla="*/ 344 h 450"/>
                  <a:gd name="T8" fmla="*/ 441 w 449"/>
                  <a:gd name="T9" fmla="*/ 284 h 450"/>
                  <a:gd name="T10" fmla="*/ 449 w 449"/>
                  <a:gd name="T11" fmla="*/ 216 h 450"/>
                  <a:gd name="T12" fmla="*/ 443 w 449"/>
                  <a:gd name="T13" fmla="*/ 172 h 450"/>
                  <a:gd name="T14" fmla="*/ 418 w 449"/>
                  <a:gd name="T15" fmla="*/ 111 h 450"/>
                  <a:gd name="T16" fmla="*/ 377 w 449"/>
                  <a:gd name="T17" fmla="*/ 61 h 450"/>
                  <a:gd name="T18" fmla="*/ 324 w 449"/>
                  <a:gd name="T19" fmla="*/ 23 h 450"/>
                  <a:gd name="T20" fmla="*/ 261 w 449"/>
                  <a:gd name="T21" fmla="*/ 4 h 450"/>
                  <a:gd name="T22" fmla="*/ 216 w 449"/>
                  <a:gd name="T23" fmla="*/ 0 h 450"/>
                  <a:gd name="T24" fmla="*/ 150 w 449"/>
                  <a:gd name="T25" fmla="*/ 13 h 450"/>
                  <a:gd name="T26" fmla="*/ 92 w 449"/>
                  <a:gd name="T27" fmla="*/ 44 h 450"/>
                  <a:gd name="T28" fmla="*/ 45 w 449"/>
                  <a:gd name="T29" fmla="*/ 89 h 450"/>
                  <a:gd name="T30" fmla="*/ 14 w 449"/>
                  <a:gd name="T31" fmla="*/ 145 h 450"/>
                  <a:gd name="T32" fmla="*/ 0 w 449"/>
                  <a:gd name="T33" fmla="*/ 210 h 450"/>
                  <a:gd name="T34" fmla="*/ 1 w 449"/>
                  <a:gd name="T35" fmla="*/ 256 h 450"/>
                  <a:gd name="T36" fmla="*/ 20 w 449"/>
                  <a:gd name="T37" fmla="*/ 320 h 450"/>
                  <a:gd name="T38" fmla="*/ 56 w 449"/>
                  <a:gd name="T39" fmla="*/ 374 h 450"/>
                  <a:gd name="T40" fmla="*/ 106 w 449"/>
                  <a:gd name="T41" fmla="*/ 416 h 450"/>
                  <a:gd name="T42" fmla="*/ 165 w 449"/>
                  <a:gd name="T43" fmla="*/ 442 h 450"/>
                  <a:gd name="T44" fmla="*/ 232 w 449"/>
                  <a:gd name="T45" fmla="*/ 450 h 450"/>
                  <a:gd name="T46" fmla="*/ 231 w 449"/>
                  <a:gd name="T47" fmla="*/ 413 h 450"/>
                  <a:gd name="T48" fmla="*/ 175 w 449"/>
                  <a:gd name="T49" fmla="*/ 406 h 450"/>
                  <a:gd name="T50" fmla="*/ 125 w 449"/>
                  <a:gd name="T51" fmla="*/ 385 h 450"/>
                  <a:gd name="T52" fmla="*/ 84 w 449"/>
                  <a:gd name="T53" fmla="*/ 349 h 450"/>
                  <a:gd name="T54" fmla="*/ 54 w 449"/>
                  <a:gd name="T55" fmla="*/ 304 h 450"/>
                  <a:gd name="T56" fmla="*/ 38 w 449"/>
                  <a:gd name="T57" fmla="*/ 251 h 450"/>
                  <a:gd name="T58" fmla="*/ 36 w 449"/>
                  <a:gd name="T59" fmla="*/ 213 h 450"/>
                  <a:gd name="T60" fmla="*/ 48 w 449"/>
                  <a:gd name="T61" fmla="*/ 158 h 450"/>
                  <a:gd name="T62" fmla="*/ 75 w 449"/>
                  <a:gd name="T63" fmla="*/ 111 h 450"/>
                  <a:gd name="T64" fmla="*/ 113 w 449"/>
                  <a:gd name="T65" fmla="*/ 73 h 450"/>
                  <a:gd name="T66" fmla="*/ 162 w 449"/>
                  <a:gd name="T67" fmla="*/ 48 h 450"/>
                  <a:gd name="T68" fmla="*/ 217 w 449"/>
                  <a:gd name="T69" fmla="*/ 37 h 450"/>
                  <a:gd name="T70" fmla="*/ 255 w 449"/>
                  <a:gd name="T71" fmla="*/ 39 h 450"/>
                  <a:gd name="T72" fmla="*/ 308 w 449"/>
                  <a:gd name="T73" fmla="*/ 57 h 450"/>
                  <a:gd name="T74" fmla="*/ 352 w 449"/>
                  <a:gd name="T75" fmla="*/ 88 h 450"/>
                  <a:gd name="T76" fmla="*/ 386 w 449"/>
                  <a:gd name="T77" fmla="*/ 130 h 450"/>
                  <a:gd name="T78" fmla="*/ 407 w 449"/>
                  <a:gd name="T79" fmla="*/ 181 h 450"/>
                  <a:gd name="T80" fmla="*/ 412 w 449"/>
                  <a:gd name="T81" fmla="*/ 219 h 450"/>
                  <a:gd name="T82" fmla="*/ 406 w 449"/>
                  <a:gd name="T83" fmla="*/ 275 h 450"/>
                  <a:gd name="T84" fmla="*/ 383 w 449"/>
                  <a:gd name="T85" fmla="*/ 324 h 450"/>
                  <a:gd name="T86" fmla="*/ 349 w 449"/>
                  <a:gd name="T87" fmla="*/ 365 h 450"/>
                  <a:gd name="T88" fmla="*/ 303 w 449"/>
                  <a:gd name="T89" fmla="*/ 396 h 450"/>
                  <a:gd name="T90" fmla="*/ 250 w 449"/>
                  <a:gd name="T91" fmla="*/ 411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9" h="450">
                    <a:moveTo>
                      <a:pt x="232" y="450"/>
                    </a:moveTo>
                    <a:lnTo>
                      <a:pt x="232" y="450"/>
                    </a:lnTo>
                    <a:lnTo>
                      <a:pt x="255" y="447"/>
                    </a:lnTo>
                    <a:lnTo>
                      <a:pt x="277" y="443"/>
                    </a:lnTo>
                    <a:lnTo>
                      <a:pt x="299" y="437"/>
                    </a:lnTo>
                    <a:lnTo>
                      <a:pt x="319" y="429"/>
                    </a:lnTo>
                    <a:lnTo>
                      <a:pt x="338" y="418"/>
                    </a:lnTo>
                    <a:lnTo>
                      <a:pt x="356" y="406"/>
                    </a:lnTo>
                    <a:lnTo>
                      <a:pt x="373" y="393"/>
                    </a:lnTo>
                    <a:lnTo>
                      <a:pt x="389" y="378"/>
                    </a:lnTo>
                    <a:lnTo>
                      <a:pt x="403" y="361"/>
                    </a:lnTo>
                    <a:lnTo>
                      <a:pt x="414" y="344"/>
                    </a:lnTo>
                    <a:lnTo>
                      <a:pt x="425" y="324"/>
                    </a:lnTo>
                    <a:lnTo>
                      <a:pt x="434" y="305"/>
                    </a:lnTo>
                    <a:lnTo>
                      <a:pt x="441" y="284"/>
                    </a:lnTo>
                    <a:lnTo>
                      <a:pt x="446" y="262"/>
                    </a:lnTo>
                    <a:lnTo>
                      <a:pt x="448" y="240"/>
                    </a:lnTo>
                    <a:lnTo>
                      <a:pt x="449" y="216"/>
                    </a:lnTo>
                    <a:lnTo>
                      <a:pt x="449" y="216"/>
                    </a:lnTo>
                    <a:lnTo>
                      <a:pt x="447" y="194"/>
                    </a:lnTo>
                    <a:lnTo>
                      <a:pt x="443" y="172"/>
                    </a:lnTo>
                    <a:lnTo>
                      <a:pt x="436" y="150"/>
                    </a:lnTo>
                    <a:lnTo>
                      <a:pt x="427" y="130"/>
                    </a:lnTo>
                    <a:lnTo>
                      <a:pt x="418" y="111"/>
                    </a:lnTo>
                    <a:lnTo>
                      <a:pt x="406" y="92"/>
                    </a:lnTo>
                    <a:lnTo>
                      <a:pt x="392" y="76"/>
                    </a:lnTo>
                    <a:lnTo>
                      <a:pt x="377" y="61"/>
                    </a:lnTo>
                    <a:lnTo>
                      <a:pt x="360" y="47"/>
                    </a:lnTo>
                    <a:lnTo>
                      <a:pt x="343" y="34"/>
                    </a:lnTo>
                    <a:lnTo>
                      <a:pt x="324" y="23"/>
                    </a:lnTo>
                    <a:lnTo>
                      <a:pt x="304" y="14"/>
                    </a:lnTo>
                    <a:lnTo>
                      <a:pt x="283" y="8"/>
                    </a:lnTo>
                    <a:lnTo>
                      <a:pt x="261" y="4"/>
                    </a:lnTo>
                    <a:lnTo>
                      <a:pt x="238" y="0"/>
                    </a:lnTo>
                    <a:lnTo>
                      <a:pt x="216" y="0"/>
                    </a:lnTo>
                    <a:lnTo>
                      <a:pt x="216" y="0"/>
                    </a:lnTo>
                    <a:lnTo>
                      <a:pt x="193" y="3"/>
                    </a:lnTo>
                    <a:lnTo>
                      <a:pt x="170" y="7"/>
                    </a:lnTo>
                    <a:lnTo>
                      <a:pt x="150" y="13"/>
                    </a:lnTo>
                    <a:lnTo>
                      <a:pt x="129" y="21"/>
                    </a:lnTo>
                    <a:lnTo>
                      <a:pt x="110" y="32"/>
                    </a:lnTo>
                    <a:lnTo>
                      <a:pt x="92" y="44"/>
                    </a:lnTo>
                    <a:lnTo>
                      <a:pt x="75" y="57"/>
                    </a:lnTo>
                    <a:lnTo>
                      <a:pt x="59" y="72"/>
                    </a:lnTo>
                    <a:lnTo>
                      <a:pt x="45" y="89"/>
                    </a:lnTo>
                    <a:lnTo>
                      <a:pt x="33" y="106"/>
                    </a:lnTo>
                    <a:lnTo>
                      <a:pt x="22" y="126"/>
                    </a:lnTo>
                    <a:lnTo>
                      <a:pt x="14" y="145"/>
                    </a:lnTo>
                    <a:lnTo>
                      <a:pt x="7" y="166"/>
                    </a:lnTo>
                    <a:lnTo>
                      <a:pt x="2" y="188"/>
                    </a:lnTo>
                    <a:lnTo>
                      <a:pt x="0" y="210"/>
                    </a:lnTo>
                    <a:lnTo>
                      <a:pt x="0" y="234"/>
                    </a:lnTo>
                    <a:lnTo>
                      <a:pt x="0" y="234"/>
                    </a:lnTo>
                    <a:lnTo>
                      <a:pt x="1" y="256"/>
                    </a:lnTo>
                    <a:lnTo>
                      <a:pt x="5" y="278"/>
                    </a:lnTo>
                    <a:lnTo>
                      <a:pt x="12" y="300"/>
                    </a:lnTo>
                    <a:lnTo>
                      <a:pt x="20" y="320"/>
                    </a:lnTo>
                    <a:lnTo>
                      <a:pt x="30" y="339"/>
                    </a:lnTo>
                    <a:lnTo>
                      <a:pt x="42" y="358"/>
                    </a:lnTo>
                    <a:lnTo>
                      <a:pt x="56" y="374"/>
                    </a:lnTo>
                    <a:lnTo>
                      <a:pt x="71" y="389"/>
                    </a:lnTo>
                    <a:lnTo>
                      <a:pt x="87" y="403"/>
                    </a:lnTo>
                    <a:lnTo>
                      <a:pt x="106" y="416"/>
                    </a:lnTo>
                    <a:lnTo>
                      <a:pt x="124" y="427"/>
                    </a:lnTo>
                    <a:lnTo>
                      <a:pt x="144" y="436"/>
                    </a:lnTo>
                    <a:lnTo>
                      <a:pt x="165" y="442"/>
                    </a:lnTo>
                    <a:lnTo>
                      <a:pt x="187" y="446"/>
                    </a:lnTo>
                    <a:lnTo>
                      <a:pt x="209" y="450"/>
                    </a:lnTo>
                    <a:lnTo>
                      <a:pt x="232" y="450"/>
                    </a:lnTo>
                    <a:lnTo>
                      <a:pt x="232" y="450"/>
                    </a:lnTo>
                    <a:close/>
                    <a:moveTo>
                      <a:pt x="231" y="413"/>
                    </a:moveTo>
                    <a:lnTo>
                      <a:pt x="231" y="413"/>
                    </a:lnTo>
                    <a:lnTo>
                      <a:pt x="211" y="413"/>
                    </a:lnTo>
                    <a:lnTo>
                      <a:pt x="193" y="411"/>
                    </a:lnTo>
                    <a:lnTo>
                      <a:pt x="175" y="406"/>
                    </a:lnTo>
                    <a:lnTo>
                      <a:pt x="157" y="401"/>
                    </a:lnTo>
                    <a:lnTo>
                      <a:pt x="140" y="393"/>
                    </a:lnTo>
                    <a:lnTo>
                      <a:pt x="125" y="385"/>
                    </a:lnTo>
                    <a:lnTo>
                      <a:pt x="110" y="374"/>
                    </a:lnTo>
                    <a:lnTo>
                      <a:pt x="96" y="362"/>
                    </a:lnTo>
                    <a:lnTo>
                      <a:pt x="84" y="349"/>
                    </a:lnTo>
                    <a:lnTo>
                      <a:pt x="72" y="335"/>
                    </a:lnTo>
                    <a:lnTo>
                      <a:pt x="62" y="320"/>
                    </a:lnTo>
                    <a:lnTo>
                      <a:pt x="54" y="304"/>
                    </a:lnTo>
                    <a:lnTo>
                      <a:pt x="47" y="288"/>
                    </a:lnTo>
                    <a:lnTo>
                      <a:pt x="42" y="269"/>
                    </a:lnTo>
                    <a:lnTo>
                      <a:pt x="38" y="251"/>
                    </a:lnTo>
                    <a:lnTo>
                      <a:pt x="36" y="231"/>
                    </a:lnTo>
                    <a:lnTo>
                      <a:pt x="36" y="231"/>
                    </a:lnTo>
                    <a:lnTo>
                      <a:pt x="36" y="213"/>
                    </a:lnTo>
                    <a:lnTo>
                      <a:pt x="39" y="194"/>
                    </a:lnTo>
                    <a:lnTo>
                      <a:pt x="43" y="175"/>
                    </a:lnTo>
                    <a:lnTo>
                      <a:pt x="48" y="158"/>
                    </a:lnTo>
                    <a:lnTo>
                      <a:pt x="56" y="142"/>
                    </a:lnTo>
                    <a:lnTo>
                      <a:pt x="65" y="126"/>
                    </a:lnTo>
                    <a:lnTo>
                      <a:pt x="75" y="111"/>
                    </a:lnTo>
                    <a:lnTo>
                      <a:pt x="86" y="98"/>
                    </a:lnTo>
                    <a:lnTo>
                      <a:pt x="99" y="85"/>
                    </a:lnTo>
                    <a:lnTo>
                      <a:pt x="113" y="73"/>
                    </a:lnTo>
                    <a:lnTo>
                      <a:pt x="128" y="63"/>
                    </a:lnTo>
                    <a:lnTo>
                      <a:pt x="144" y="54"/>
                    </a:lnTo>
                    <a:lnTo>
                      <a:pt x="162" y="48"/>
                    </a:lnTo>
                    <a:lnTo>
                      <a:pt x="180" y="42"/>
                    </a:lnTo>
                    <a:lnTo>
                      <a:pt x="198" y="39"/>
                    </a:lnTo>
                    <a:lnTo>
                      <a:pt x="217" y="37"/>
                    </a:lnTo>
                    <a:lnTo>
                      <a:pt x="217" y="37"/>
                    </a:lnTo>
                    <a:lnTo>
                      <a:pt x="236" y="37"/>
                    </a:lnTo>
                    <a:lnTo>
                      <a:pt x="255" y="39"/>
                    </a:lnTo>
                    <a:lnTo>
                      <a:pt x="273" y="44"/>
                    </a:lnTo>
                    <a:lnTo>
                      <a:pt x="290" y="49"/>
                    </a:lnTo>
                    <a:lnTo>
                      <a:pt x="308" y="57"/>
                    </a:lnTo>
                    <a:lnTo>
                      <a:pt x="324" y="65"/>
                    </a:lnTo>
                    <a:lnTo>
                      <a:pt x="338" y="76"/>
                    </a:lnTo>
                    <a:lnTo>
                      <a:pt x="352" y="88"/>
                    </a:lnTo>
                    <a:lnTo>
                      <a:pt x="365" y="101"/>
                    </a:lnTo>
                    <a:lnTo>
                      <a:pt x="376" y="115"/>
                    </a:lnTo>
                    <a:lnTo>
                      <a:pt x="386" y="130"/>
                    </a:lnTo>
                    <a:lnTo>
                      <a:pt x="394" y="146"/>
                    </a:lnTo>
                    <a:lnTo>
                      <a:pt x="401" y="162"/>
                    </a:lnTo>
                    <a:lnTo>
                      <a:pt x="407" y="181"/>
                    </a:lnTo>
                    <a:lnTo>
                      <a:pt x="410" y="199"/>
                    </a:lnTo>
                    <a:lnTo>
                      <a:pt x="412" y="219"/>
                    </a:lnTo>
                    <a:lnTo>
                      <a:pt x="412" y="219"/>
                    </a:lnTo>
                    <a:lnTo>
                      <a:pt x="411" y="237"/>
                    </a:lnTo>
                    <a:lnTo>
                      <a:pt x="409" y="256"/>
                    </a:lnTo>
                    <a:lnTo>
                      <a:pt x="406" y="275"/>
                    </a:lnTo>
                    <a:lnTo>
                      <a:pt x="399" y="292"/>
                    </a:lnTo>
                    <a:lnTo>
                      <a:pt x="393" y="308"/>
                    </a:lnTo>
                    <a:lnTo>
                      <a:pt x="383" y="324"/>
                    </a:lnTo>
                    <a:lnTo>
                      <a:pt x="373" y="339"/>
                    </a:lnTo>
                    <a:lnTo>
                      <a:pt x="362" y="352"/>
                    </a:lnTo>
                    <a:lnTo>
                      <a:pt x="349" y="365"/>
                    </a:lnTo>
                    <a:lnTo>
                      <a:pt x="335" y="377"/>
                    </a:lnTo>
                    <a:lnTo>
                      <a:pt x="319" y="387"/>
                    </a:lnTo>
                    <a:lnTo>
                      <a:pt x="303" y="396"/>
                    </a:lnTo>
                    <a:lnTo>
                      <a:pt x="286" y="402"/>
                    </a:lnTo>
                    <a:lnTo>
                      <a:pt x="269" y="408"/>
                    </a:lnTo>
                    <a:lnTo>
                      <a:pt x="250" y="411"/>
                    </a:lnTo>
                    <a:lnTo>
                      <a:pt x="231" y="413"/>
                    </a:lnTo>
                    <a:lnTo>
                      <a:pt x="231" y="413"/>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806" name="Freeform 805"/>
              <p:cNvSpPr>
                <a:spLocks/>
              </p:cNvSpPr>
              <p:nvPr/>
            </p:nvSpPr>
            <p:spPr bwMode="auto">
              <a:xfrm>
                <a:off x="6442095" y="1206933"/>
                <a:ext cx="18218" cy="7445"/>
              </a:xfrm>
              <a:custGeom>
                <a:avLst/>
                <a:gdLst>
                  <a:gd name="T0" fmla="*/ 50 w 50"/>
                  <a:gd name="T1" fmla="*/ 8 h 19"/>
                  <a:gd name="T2" fmla="*/ 50 w 50"/>
                  <a:gd name="T3" fmla="*/ 8 h 19"/>
                  <a:gd name="T4" fmla="*/ 50 w 50"/>
                  <a:gd name="T5" fmla="*/ 13 h 19"/>
                  <a:gd name="T6" fmla="*/ 48 w 50"/>
                  <a:gd name="T7" fmla="*/ 15 h 19"/>
                  <a:gd name="T8" fmla="*/ 44 w 50"/>
                  <a:gd name="T9" fmla="*/ 17 h 19"/>
                  <a:gd name="T10" fmla="*/ 41 w 50"/>
                  <a:gd name="T11" fmla="*/ 18 h 19"/>
                  <a:gd name="T12" fmla="*/ 9 w 50"/>
                  <a:gd name="T13" fmla="*/ 19 h 19"/>
                  <a:gd name="T14" fmla="*/ 9 w 50"/>
                  <a:gd name="T15" fmla="*/ 19 h 19"/>
                  <a:gd name="T16" fmla="*/ 5 w 50"/>
                  <a:gd name="T17" fmla="*/ 18 h 19"/>
                  <a:gd name="T18" fmla="*/ 2 w 50"/>
                  <a:gd name="T19" fmla="*/ 17 h 19"/>
                  <a:gd name="T20" fmla="*/ 0 w 50"/>
                  <a:gd name="T21" fmla="*/ 14 h 19"/>
                  <a:gd name="T22" fmla="*/ 0 w 50"/>
                  <a:gd name="T23" fmla="*/ 10 h 19"/>
                  <a:gd name="T24" fmla="*/ 0 w 50"/>
                  <a:gd name="T25" fmla="*/ 10 h 19"/>
                  <a:gd name="T26" fmla="*/ 0 w 50"/>
                  <a:gd name="T27" fmla="*/ 7 h 19"/>
                  <a:gd name="T28" fmla="*/ 2 w 50"/>
                  <a:gd name="T29" fmla="*/ 4 h 19"/>
                  <a:gd name="T30" fmla="*/ 4 w 50"/>
                  <a:gd name="T31" fmla="*/ 2 h 19"/>
                  <a:gd name="T32" fmla="*/ 9 w 50"/>
                  <a:gd name="T33" fmla="*/ 2 h 19"/>
                  <a:gd name="T34" fmla="*/ 41 w 50"/>
                  <a:gd name="T35" fmla="*/ 0 h 19"/>
                  <a:gd name="T36" fmla="*/ 41 w 50"/>
                  <a:gd name="T37" fmla="*/ 0 h 19"/>
                  <a:gd name="T38" fmla="*/ 44 w 50"/>
                  <a:gd name="T39" fmla="*/ 1 h 19"/>
                  <a:gd name="T40" fmla="*/ 47 w 50"/>
                  <a:gd name="T41" fmla="*/ 3 h 19"/>
                  <a:gd name="T42" fmla="*/ 49 w 50"/>
                  <a:gd name="T43" fmla="*/ 5 h 19"/>
                  <a:gd name="T44" fmla="*/ 50 w 50"/>
                  <a:gd name="T45" fmla="*/ 8 h 19"/>
                  <a:gd name="T46" fmla="*/ 50 w 50"/>
                  <a:gd name="T47"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19">
                    <a:moveTo>
                      <a:pt x="50" y="8"/>
                    </a:moveTo>
                    <a:lnTo>
                      <a:pt x="50" y="8"/>
                    </a:lnTo>
                    <a:lnTo>
                      <a:pt x="50" y="13"/>
                    </a:lnTo>
                    <a:lnTo>
                      <a:pt x="48" y="15"/>
                    </a:lnTo>
                    <a:lnTo>
                      <a:pt x="44" y="17"/>
                    </a:lnTo>
                    <a:lnTo>
                      <a:pt x="41" y="18"/>
                    </a:lnTo>
                    <a:lnTo>
                      <a:pt x="9" y="19"/>
                    </a:lnTo>
                    <a:lnTo>
                      <a:pt x="9" y="19"/>
                    </a:lnTo>
                    <a:lnTo>
                      <a:pt x="5" y="18"/>
                    </a:lnTo>
                    <a:lnTo>
                      <a:pt x="2" y="17"/>
                    </a:lnTo>
                    <a:lnTo>
                      <a:pt x="0" y="14"/>
                    </a:lnTo>
                    <a:lnTo>
                      <a:pt x="0" y="10"/>
                    </a:lnTo>
                    <a:lnTo>
                      <a:pt x="0" y="10"/>
                    </a:lnTo>
                    <a:lnTo>
                      <a:pt x="0" y="7"/>
                    </a:lnTo>
                    <a:lnTo>
                      <a:pt x="2" y="4"/>
                    </a:lnTo>
                    <a:lnTo>
                      <a:pt x="4" y="2"/>
                    </a:lnTo>
                    <a:lnTo>
                      <a:pt x="9" y="2"/>
                    </a:lnTo>
                    <a:lnTo>
                      <a:pt x="41" y="0"/>
                    </a:lnTo>
                    <a:lnTo>
                      <a:pt x="41" y="0"/>
                    </a:lnTo>
                    <a:lnTo>
                      <a:pt x="44" y="1"/>
                    </a:lnTo>
                    <a:lnTo>
                      <a:pt x="47" y="3"/>
                    </a:lnTo>
                    <a:lnTo>
                      <a:pt x="49" y="5"/>
                    </a:lnTo>
                    <a:lnTo>
                      <a:pt x="50" y="8"/>
                    </a:lnTo>
                    <a:lnTo>
                      <a:pt x="50" y="8"/>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807" name="Freeform 806"/>
              <p:cNvSpPr>
                <a:spLocks/>
              </p:cNvSpPr>
              <p:nvPr/>
            </p:nvSpPr>
            <p:spPr bwMode="auto">
              <a:xfrm>
                <a:off x="6558991" y="1202466"/>
                <a:ext cx="19736" cy="7445"/>
              </a:xfrm>
              <a:custGeom>
                <a:avLst/>
                <a:gdLst>
                  <a:gd name="T0" fmla="*/ 0 w 51"/>
                  <a:gd name="T1" fmla="*/ 11 h 18"/>
                  <a:gd name="T2" fmla="*/ 0 w 51"/>
                  <a:gd name="T3" fmla="*/ 11 h 18"/>
                  <a:gd name="T4" fmla="*/ 1 w 51"/>
                  <a:gd name="T5" fmla="*/ 6 h 18"/>
                  <a:gd name="T6" fmla="*/ 2 w 51"/>
                  <a:gd name="T7" fmla="*/ 4 h 18"/>
                  <a:gd name="T8" fmla="*/ 5 w 51"/>
                  <a:gd name="T9" fmla="*/ 2 h 18"/>
                  <a:gd name="T10" fmla="*/ 9 w 51"/>
                  <a:gd name="T11" fmla="*/ 1 h 18"/>
                  <a:gd name="T12" fmla="*/ 41 w 51"/>
                  <a:gd name="T13" fmla="*/ 0 h 18"/>
                  <a:gd name="T14" fmla="*/ 41 w 51"/>
                  <a:gd name="T15" fmla="*/ 0 h 18"/>
                  <a:gd name="T16" fmla="*/ 44 w 51"/>
                  <a:gd name="T17" fmla="*/ 1 h 18"/>
                  <a:gd name="T18" fmla="*/ 47 w 51"/>
                  <a:gd name="T19" fmla="*/ 2 h 18"/>
                  <a:gd name="T20" fmla="*/ 50 w 51"/>
                  <a:gd name="T21" fmla="*/ 5 h 18"/>
                  <a:gd name="T22" fmla="*/ 51 w 51"/>
                  <a:gd name="T23" fmla="*/ 9 h 18"/>
                  <a:gd name="T24" fmla="*/ 51 w 51"/>
                  <a:gd name="T25" fmla="*/ 9 h 18"/>
                  <a:gd name="T26" fmla="*/ 50 w 51"/>
                  <a:gd name="T27" fmla="*/ 12 h 18"/>
                  <a:gd name="T28" fmla="*/ 48 w 51"/>
                  <a:gd name="T29" fmla="*/ 15 h 18"/>
                  <a:gd name="T30" fmla="*/ 45 w 51"/>
                  <a:gd name="T31" fmla="*/ 17 h 18"/>
                  <a:gd name="T32" fmla="*/ 42 w 51"/>
                  <a:gd name="T33" fmla="*/ 17 h 18"/>
                  <a:gd name="T34" fmla="*/ 10 w 51"/>
                  <a:gd name="T35" fmla="*/ 18 h 18"/>
                  <a:gd name="T36" fmla="*/ 10 w 51"/>
                  <a:gd name="T37" fmla="*/ 18 h 18"/>
                  <a:gd name="T38" fmla="*/ 6 w 51"/>
                  <a:gd name="T39" fmla="*/ 18 h 18"/>
                  <a:gd name="T40" fmla="*/ 3 w 51"/>
                  <a:gd name="T41" fmla="*/ 16 h 18"/>
                  <a:gd name="T42" fmla="*/ 1 w 51"/>
                  <a:gd name="T43" fmla="*/ 14 h 18"/>
                  <a:gd name="T44" fmla="*/ 0 w 51"/>
                  <a:gd name="T45" fmla="*/ 11 h 18"/>
                  <a:gd name="T46" fmla="*/ 0 w 51"/>
                  <a:gd name="T47"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18">
                    <a:moveTo>
                      <a:pt x="0" y="11"/>
                    </a:moveTo>
                    <a:lnTo>
                      <a:pt x="0" y="11"/>
                    </a:lnTo>
                    <a:lnTo>
                      <a:pt x="1" y="6"/>
                    </a:lnTo>
                    <a:lnTo>
                      <a:pt x="2" y="4"/>
                    </a:lnTo>
                    <a:lnTo>
                      <a:pt x="5" y="2"/>
                    </a:lnTo>
                    <a:lnTo>
                      <a:pt x="9" y="1"/>
                    </a:lnTo>
                    <a:lnTo>
                      <a:pt x="41" y="0"/>
                    </a:lnTo>
                    <a:lnTo>
                      <a:pt x="41" y="0"/>
                    </a:lnTo>
                    <a:lnTo>
                      <a:pt x="44" y="1"/>
                    </a:lnTo>
                    <a:lnTo>
                      <a:pt x="47" y="2"/>
                    </a:lnTo>
                    <a:lnTo>
                      <a:pt x="50" y="5"/>
                    </a:lnTo>
                    <a:lnTo>
                      <a:pt x="51" y="9"/>
                    </a:lnTo>
                    <a:lnTo>
                      <a:pt x="51" y="9"/>
                    </a:lnTo>
                    <a:lnTo>
                      <a:pt x="50" y="12"/>
                    </a:lnTo>
                    <a:lnTo>
                      <a:pt x="48" y="15"/>
                    </a:lnTo>
                    <a:lnTo>
                      <a:pt x="45" y="17"/>
                    </a:lnTo>
                    <a:lnTo>
                      <a:pt x="42" y="17"/>
                    </a:lnTo>
                    <a:lnTo>
                      <a:pt x="10" y="18"/>
                    </a:lnTo>
                    <a:lnTo>
                      <a:pt x="10" y="18"/>
                    </a:lnTo>
                    <a:lnTo>
                      <a:pt x="6" y="18"/>
                    </a:lnTo>
                    <a:lnTo>
                      <a:pt x="3" y="16"/>
                    </a:lnTo>
                    <a:lnTo>
                      <a:pt x="1" y="14"/>
                    </a:lnTo>
                    <a:lnTo>
                      <a:pt x="0" y="11"/>
                    </a:lnTo>
                    <a:lnTo>
                      <a:pt x="0" y="11"/>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808" name="Freeform 807"/>
              <p:cNvSpPr>
                <a:spLocks/>
              </p:cNvSpPr>
              <p:nvPr/>
            </p:nvSpPr>
            <p:spPr bwMode="auto">
              <a:xfrm>
                <a:off x="6508892" y="1257560"/>
                <a:ext cx="7592" cy="17868"/>
              </a:xfrm>
              <a:custGeom>
                <a:avLst/>
                <a:gdLst>
                  <a:gd name="T0" fmla="*/ 1 w 19"/>
                  <a:gd name="T1" fmla="*/ 41 h 49"/>
                  <a:gd name="T2" fmla="*/ 0 w 19"/>
                  <a:gd name="T3" fmla="*/ 8 h 49"/>
                  <a:gd name="T4" fmla="*/ 0 w 19"/>
                  <a:gd name="T5" fmla="*/ 8 h 49"/>
                  <a:gd name="T6" fmla="*/ 1 w 19"/>
                  <a:gd name="T7" fmla="*/ 5 h 49"/>
                  <a:gd name="T8" fmla="*/ 2 w 19"/>
                  <a:gd name="T9" fmla="*/ 2 h 49"/>
                  <a:gd name="T10" fmla="*/ 5 w 19"/>
                  <a:gd name="T11" fmla="*/ 0 h 49"/>
                  <a:gd name="T12" fmla="*/ 9 w 19"/>
                  <a:gd name="T13" fmla="*/ 0 h 49"/>
                  <a:gd name="T14" fmla="*/ 9 w 19"/>
                  <a:gd name="T15" fmla="*/ 0 h 49"/>
                  <a:gd name="T16" fmla="*/ 12 w 19"/>
                  <a:gd name="T17" fmla="*/ 0 h 49"/>
                  <a:gd name="T18" fmla="*/ 15 w 19"/>
                  <a:gd name="T19" fmla="*/ 2 h 49"/>
                  <a:gd name="T20" fmla="*/ 17 w 19"/>
                  <a:gd name="T21" fmla="*/ 4 h 49"/>
                  <a:gd name="T22" fmla="*/ 18 w 19"/>
                  <a:gd name="T23" fmla="*/ 7 h 49"/>
                  <a:gd name="T24" fmla="*/ 19 w 19"/>
                  <a:gd name="T25" fmla="*/ 41 h 49"/>
                  <a:gd name="T26" fmla="*/ 19 w 19"/>
                  <a:gd name="T27" fmla="*/ 41 h 49"/>
                  <a:gd name="T28" fmla="*/ 18 w 19"/>
                  <a:gd name="T29" fmla="*/ 44 h 49"/>
                  <a:gd name="T30" fmla="*/ 16 w 19"/>
                  <a:gd name="T31" fmla="*/ 46 h 49"/>
                  <a:gd name="T32" fmla="*/ 14 w 19"/>
                  <a:gd name="T33" fmla="*/ 48 h 49"/>
                  <a:gd name="T34" fmla="*/ 11 w 19"/>
                  <a:gd name="T35" fmla="*/ 49 h 49"/>
                  <a:gd name="T36" fmla="*/ 11 w 19"/>
                  <a:gd name="T37" fmla="*/ 49 h 49"/>
                  <a:gd name="T38" fmla="*/ 8 w 19"/>
                  <a:gd name="T39" fmla="*/ 48 h 49"/>
                  <a:gd name="T40" fmla="*/ 4 w 19"/>
                  <a:gd name="T41" fmla="*/ 47 h 49"/>
                  <a:gd name="T42" fmla="*/ 2 w 19"/>
                  <a:gd name="T43" fmla="*/ 44 h 49"/>
                  <a:gd name="T44" fmla="*/ 1 w 19"/>
                  <a:gd name="T45" fmla="*/ 41 h 49"/>
                  <a:gd name="T46" fmla="*/ 1 w 19"/>
                  <a:gd name="T47" fmla="*/ 4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49">
                    <a:moveTo>
                      <a:pt x="1" y="41"/>
                    </a:moveTo>
                    <a:lnTo>
                      <a:pt x="0" y="8"/>
                    </a:lnTo>
                    <a:lnTo>
                      <a:pt x="0" y="8"/>
                    </a:lnTo>
                    <a:lnTo>
                      <a:pt x="1" y="5"/>
                    </a:lnTo>
                    <a:lnTo>
                      <a:pt x="2" y="2"/>
                    </a:lnTo>
                    <a:lnTo>
                      <a:pt x="5" y="0"/>
                    </a:lnTo>
                    <a:lnTo>
                      <a:pt x="9" y="0"/>
                    </a:lnTo>
                    <a:lnTo>
                      <a:pt x="9" y="0"/>
                    </a:lnTo>
                    <a:lnTo>
                      <a:pt x="12" y="0"/>
                    </a:lnTo>
                    <a:lnTo>
                      <a:pt x="15" y="2"/>
                    </a:lnTo>
                    <a:lnTo>
                      <a:pt x="17" y="4"/>
                    </a:lnTo>
                    <a:lnTo>
                      <a:pt x="18" y="7"/>
                    </a:lnTo>
                    <a:lnTo>
                      <a:pt x="19" y="41"/>
                    </a:lnTo>
                    <a:lnTo>
                      <a:pt x="19" y="41"/>
                    </a:lnTo>
                    <a:lnTo>
                      <a:pt x="18" y="44"/>
                    </a:lnTo>
                    <a:lnTo>
                      <a:pt x="16" y="46"/>
                    </a:lnTo>
                    <a:lnTo>
                      <a:pt x="14" y="48"/>
                    </a:lnTo>
                    <a:lnTo>
                      <a:pt x="11" y="49"/>
                    </a:lnTo>
                    <a:lnTo>
                      <a:pt x="11" y="49"/>
                    </a:lnTo>
                    <a:lnTo>
                      <a:pt x="8" y="48"/>
                    </a:lnTo>
                    <a:lnTo>
                      <a:pt x="4" y="47"/>
                    </a:lnTo>
                    <a:lnTo>
                      <a:pt x="2" y="44"/>
                    </a:lnTo>
                    <a:lnTo>
                      <a:pt x="1" y="41"/>
                    </a:lnTo>
                    <a:lnTo>
                      <a:pt x="1" y="41"/>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809" name="Freeform 808"/>
              <p:cNvSpPr>
                <a:spLocks/>
              </p:cNvSpPr>
              <p:nvPr/>
            </p:nvSpPr>
            <p:spPr bwMode="auto">
              <a:xfrm>
                <a:off x="6504338" y="1141416"/>
                <a:ext cx="7592" cy="19357"/>
              </a:xfrm>
              <a:custGeom>
                <a:avLst/>
                <a:gdLst>
                  <a:gd name="T0" fmla="*/ 1 w 19"/>
                  <a:gd name="T1" fmla="*/ 42 h 49"/>
                  <a:gd name="T2" fmla="*/ 0 w 19"/>
                  <a:gd name="T3" fmla="*/ 8 h 49"/>
                  <a:gd name="T4" fmla="*/ 0 w 19"/>
                  <a:gd name="T5" fmla="*/ 8 h 49"/>
                  <a:gd name="T6" fmla="*/ 0 w 19"/>
                  <a:gd name="T7" fmla="*/ 5 h 49"/>
                  <a:gd name="T8" fmla="*/ 2 w 19"/>
                  <a:gd name="T9" fmla="*/ 3 h 49"/>
                  <a:gd name="T10" fmla="*/ 6 w 19"/>
                  <a:gd name="T11" fmla="*/ 1 h 49"/>
                  <a:gd name="T12" fmla="*/ 9 w 19"/>
                  <a:gd name="T13" fmla="*/ 0 h 49"/>
                  <a:gd name="T14" fmla="*/ 9 w 19"/>
                  <a:gd name="T15" fmla="*/ 0 h 49"/>
                  <a:gd name="T16" fmla="*/ 12 w 19"/>
                  <a:gd name="T17" fmla="*/ 0 h 49"/>
                  <a:gd name="T18" fmla="*/ 14 w 19"/>
                  <a:gd name="T19" fmla="*/ 2 h 49"/>
                  <a:gd name="T20" fmla="*/ 16 w 19"/>
                  <a:gd name="T21" fmla="*/ 5 h 49"/>
                  <a:gd name="T22" fmla="*/ 18 w 19"/>
                  <a:gd name="T23" fmla="*/ 8 h 49"/>
                  <a:gd name="T24" fmla="*/ 19 w 19"/>
                  <a:gd name="T25" fmla="*/ 41 h 49"/>
                  <a:gd name="T26" fmla="*/ 19 w 19"/>
                  <a:gd name="T27" fmla="*/ 41 h 49"/>
                  <a:gd name="T28" fmla="*/ 19 w 19"/>
                  <a:gd name="T29" fmla="*/ 44 h 49"/>
                  <a:gd name="T30" fmla="*/ 16 w 19"/>
                  <a:gd name="T31" fmla="*/ 47 h 49"/>
                  <a:gd name="T32" fmla="*/ 13 w 19"/>
                  <a:gd name="T33" fmla="*/ 49 h 49"/>
                  <a:gd name="T34" fmla="*/ 10 w 19"/>
                  <a:gd name="T35" fmla="*/ 49 h 49"/>
                  <a:gd name="T36" fmla="*/ 10 w 19"/>
                  <a:gd name="T37" fmla="*/ 49 h 49"/>
                  <a:gd name="T38" fmla="*/ 7 w 19"/>
                  <a:gd name="T39" fmla="*/ 49 h 49"/>
                  <a:gd name="T40" fmla="*/ 3 w 19"/>
                  <a:gd name="T41" fmla="*/ 47 h 49"/>
                  <a:gd name="T42" fmla="*/ 2 w 19"/>
                  <a:gd name="T43" fmla="*/ 45 h 49"/>
                  <a:gd name="T44" fmla="*/ 1 w 19"/>
                  <a:gd name="T45" fmla="*/ 42 h 49"/>
                  <a:gd name="T46" fmla="*/ 1 w 19"/>
                  <a:gd name="T47" fmla="*/ 4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49">
                    <a:moveTo>
                      <a:pt x="1" y="42"/>
                    </a:moveTo>
                    <a:lnTo>
                      <a:pt x="0" y="8"/>
                    </a:lnTo>
                    <a:lnTo>
                      <a:pt x="0" y="8"/>
                    </a:lnTo>
                    <a:lnTo>
                      <a:pt x="0" y="5"/>
                    </a:lnTo>
                    <a:lnTo>
                      <a:pt x="2" y="3"/>
                    </a:lnTo>
                    <a:lnTo>
                      <a:pt x="6" y="1"/>
                    </a:lnTo>
                    <a:lnTo>
                      <a:pt x="9" y="0"/>
                    </a:lnTo>
                    <a:lnTo>
                      <a:pt x="9" y="0"/>
                    </a:lnTo>
                    <a:lnTo>
                      <a:pt x="12" y="0"/>
                    </a:lnTo>
                    <a:lnTo>
                      <a:pt x="14" y="2"/>
                    </a:lnTo>
                    <a:lnTo>
                      <a:pt x="16" y="5"/>
                    </a:lnTo>
                    <a:lnTo>
                      <a:pt x="18" y="8"/>
                    </a:lnTo>
                    <a:lnTo>
                      <a:pt x="19" y="41"/>
                    </a:lnTo>
                    <a:lnTo>
                      <a:pt x="19" y="41"/>
                    </a:lnTo>
                    <a:lnTo>
                      <a:pt x="19" y="44"/>
                    </a:lnTo>
                    <a:lnTo>
                      <a:pt x="16" y="47"/>
                    </a:lnTo>
                    <a:lnTo>
                      <a:pt x="13" y="49"/>
                    </a:lnTo>
                    <a:lnTo>
                      <a:pt x="10" y="49"/>
                    </a:lnTo>
                    <a:lnTo>
                      <a:pt x="10" y="49"/>
                    </a:lnTo>
                    <a:lnTo>
                      <a:pt x="7" y="49"/>
                    </a:lnTo>
                    <a:lnTo>
                      <a:pt x="3" y="47"/>
                    </a:lnTo>
                    <a:lnTo>
                      <a:pt x="2" y="45"/>
                    </a:lnTo>
                    <a:lnTo>
                      <a:pt x="1" y="42"/>
                    </a:lnTo>
                    <a:lnTo>
                      <a:pt x="1" y="42"/>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810" name="Freeform 809"/>
              <p:cNvSpPr>
                <a:spLocks noEditPoints="1"/>
              </p:cNvSpPr>
              <p:nvPr/>
            </p:nvSpPr>
            <p:spPr bwMode="auto">
              <a:xfrm>
                <a:off x="6464866" y="1166730"/>
                <a:ext cx="85016" cy="68494"/>
              </a:xfrm>
              <a:custGeom>
                <a:avLst/>
                <a:gdLst>
                  <a:gd name="T0" fmla="*/ 55 w 221"/>
                  <a:gd name="T1" fmla="*/ 180 h 183"/>
                  <a:gd name="T2" fmla="*/ 63 w 221"/>
                  <a:gd name="T3" fmla="*/ 183 h 183"/>
                  <a:gd name="T4" fmla="*/ 71 w 221"/>
                  <a:gd name="T5" fmla="*/ 180 h 183"/>
                  <a:gd name="T6" fmla="*/ 113 w 221"/>
                  <a:gd name="T7" fmla="*/ 135 h 183"/>
                  <a:gd name="T8" fmla="*/ 117 w 221"/>
                  <a:gd name="T9" fmla="*/ 135 h 183"/>
                  <a:gd name="T10" fmla="*/ 127 w 221"/>
                  <a:gd name="T11" fmla="*/ 133 h 183"/>
                  <a:gd name="T12" fmla="*/ 134 w 221"/>
                  <a:gd name="T13" fmla="*/ 127 h 183"/>
                  <a:gd name="T14" fmla="*/ 139 w 221"/>
                  <a:gd name="T15" fmla="*/ 121 h 183"/>
                  <a:gd name="T16" fmla="*/ 140 w 221"/>
                  <a:gd name="T17" fmla="*/ 111 h 183"/>
                  <a:gd name="T18" fmla="*/ 139 w 221"/>
                  <a:gd name="T19" fmla="*/ 106 h 183"/>
                  <a:gd name="T20" fmla="*/ 219 w 221"/>
                  <a:gd name="T21" fmla="*/ 10 h 183"/>
                  <a:gd name="T22" fmla="*/ 220 w 221"/>
                  <a:gd name="T23" fmla="*/ 8 h 183"/>
                  <a:gd name="T24" fmla="*/ 220 w 221"/>
                  <a:gd name="T25" fmla="*/ 5 h 183"/>
                  <a:gd name="T26" fmla="*/ 219 w 221"/>
                  <a:gd name="T27" fmla="*/ 3 h 183"/>
                  <a:gd name="T28" fmla="*/ 216 w 221"/>
                  <a:gd name="T29" fmla="*/ 2 h 183"/>
                  <a:gd name="T30" fmla="*/ 212 w 221"/>
                  <a:gd name="T31" fmla="*/ 4 h 183"/>
                  <a:gd name="T32" fmla="*/ 129 w 221"/>
                  <a:gd name="T33" fmla="*/ 93 h 183"/>
                  <a:gd name="T34" fmla="*/ 116 w 221"/>
                  <a:gd name="T35" fmla="*/ 89 h 183"/>
                  <a:gd name="T36" fmla="*/ 111 w 221"/>
                  <a:gd name="T37" fmla="*/ 90 h 183"/>
                  <a:gd name="T38" fmla="*/ 18 w 221"/>
                  <a:gd name="T39" fmla="*/ 3 h 183"/>
                  <a:gd name="T40" fmla="*/ 9 w 221"/>
                  <a:gd name="T41" fmla="*/ 0 h 183"/>
                  <a:gd name="T42" fmla="*/ 2 w 221"/>
                  <a:gd name="T43" fmla="*/ 4 h 183"/>
                  <a:gd name="T44" fmla="*/ 0 w 221"/>
                  <a:gd name="T45" fmla="*/ 7 h 183"/>
                  <a:gd name="T46" fmla="*/ 1 w 221"/>
                  <a:gd name="T47" fmla="*/ 16 h 183"/>
                  <a:gd name="T48" fmla="*/ 95 w 221"/>
                  <a:gd name="T49" fmla="*/ 104 h 183"/>
                  <a:gd name="T50" fmla="*/ 95 w 221"/>
                  <a:gd name="T51" fmla="*/ 109 h 183"/>
                  <a:gd name="T52" fmla="*/ 94 w 221"/>
                  <a:gd name="T53" fmla="*/ 113 h 183"/>
                  <a:gd name="T54" fmla="*/ 54 w 221"/>
                  <a:gd name="T55" fmla="*/ 164 h 183"/>
                  <a:gd name="T56" fmla="*/ 51 w 221"/>
                  <a:gd name="T57" fmla="*/ 167 h 183"/>
                  <a:gd name="T58" fmla="*/ 51 w 221"/>
                  <a:gd name="T59" fmla="*/ 177 h 183"/>
                  <a:gd name="T60" fmla="*/ 55 w 221"/>
                  <a:gd name="T61" fmla="*/ 180 h 183"/>
                  <a:gd name="T62" fmla="*/ 117 w 221"/>
                  <a:gd name="T63" fmla="*/ 122 h 183"/>
                  <a:gd name="T64" fmla="*/ 110 w 221"/>
                  <a:gd name="T65" fmla="*/ 120 h 183"/>
                  <a:gd name="T66" fmla="*/ 107 w 221"/>
                  <a:gd name="T67" fmla="*/ 112 h 183"/>
                  <a:gd name="T68" fmla="*/ 108 w 221"/>
                  <a:gd name="T69" fmla="*/ 109 h 183"/>
                  <a:gd name="T70" fmla="*/ 113 w 221"/>
                  <a:gd name="T71" fmla="*/ 103 h 183"/>
                  <a:gd name="T72" fmla="*/ 116 w 221"/>
                  <a:gd name="T73" fmla="*/ 102 h 183"/>
                  <a:gd name="T74" fmla="*/ 124 w 221"/>
                  <a:gd name="T75" fmla="*/ 104 h 183"/>
                  <a:gd name="T76" fmla="*/ 127 w 221"/>
                  <a:gd name="T77" fmla="*/ 112 h 183"/>
                  <a:gd name="T78" fmla="*/ 126 w 221"/>
                  <a:gd name="T79" fmla="*/ 115 h 183"/>
                  <a:gd name="T80" fmla="*/ 122 w 221"/>
                  <a:gd name="T81" fmla="*/ 121 h 183"/>
                  <a:gd name="T82" fmla="*/ 117 w 221"/>
                  <a:gd name="T83" fmla="*/ 12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1" h="183">
                    <a:moveTo>
                      <a:pt x="55" y="180"/>
                    </a:moveTo>
                    <a:lnTo>
                      <a:pt x="55" y="180"/>
                    </a:lnTo>
                    <a:lnTo>
                      <a:pt x="58" y="182"/>
                    </a:lnTo>
                    <a:lnTo>
                      <a:pt x="63" y="183"/>
                    </a:lnTo>
                    <a:lnTo>
                      <a:pt x="68" y="182"/>
                    </a:lnTo>
                    <a:lnTo>
                      <a:pt x="71" y="180"/>
                    </a:lnTo>
                    <a:lnTo>
                      <a:pt x="113" y="135"/>
                    </a:lnTo>
                    <a:lnTo>
                      <a:pt x="113" y="135"/>
                    </a:lnTo>
                    <a:lnTo>
                      <a:pt x="117" y="135"/>
                    </a:lnTo>
                    <a:lnTo>
                      <a:pt x="117" y="135"/>
                    </a:lnTo>
                    <a:lnTo>
                      <a:pt x="123" y="135"/>
                    </a:lnTo>
                    <a:lnTo>
                      <a:pt x="127" y="133"/>
                    </a:lnTo>
                    <a:lnTo>
                      <a:pt x="130" y="130"/>
                    </a:lnTo>
                    <a:lnTo>
                      <a:pt x="134" y="127"/>
                    </a:lnTo>
                    <a:lnTo>
                      <a:pt x="137" y="124"/>
                    </a:lnTo>
                    <a:lnTo>
                      <a:pt x="139" y="121"/>
                    </a:lnTo>
                    <a:lnTo>
                      <a:pt x="140" y="116"/>
                    </a:lnTo>
                    <a:lnTo>
                      <a:pt x="140" y="111"/>
                    </a:lnTo>
                    <a:lnTo>
                      <a:pt x="140" y="111"/>
                    </a:lnTo>
                    <a:lnTo>
                      <a:pt x="139" y="106"/>
                    </a:lnTo>
                    <a:lnTo>
                      <a:pt x="137" y="100"/>
                    </a:lnTo>
                    <a:lnTo>
                      <a:pt x="219" y="10"/>
                    </a:lnTo>
                    <a:lnTo>
                      <a:pt x="219" y="10"/>
                    </a:lnTo>
                    <a:lnTo>
                      <a:pt x="220" y="8"/>
                    </a:lnTo>
                    <a:lnTo>
                      <a:pt x="221" y="6"/>
                    </a:lnTo>
                    <a:lnTo>
                      <a:pt x="220" y="5"/>
                    </a:lnTo>
                    <a:lnTo>
                      <a:pt x="219" y="3"/>
                    </a:lnTo>
                    <a:lnTo>
                      <a:pt x="219" y="3"/>
                    </a:lnTo>
                    <a:lnTo>
                      <a:pt x="218" y="2"/>
                    </a:lnTo>
                    <a:lnTo>
                      <a:pt x="216" y="2"/>
                    </a:lnTo>
                    <a:lnTo>
                      <a:pt x="213" y="2"/>
                    </a:lnTo>
                    <a:lnTo>
                      <a:pt x="212" y="4"/>
                    </a:lnTo>
                    <a:lnTo>
                      <a:pt x="129" y="93"/>
                    </a:lnTo>
                    <a:lnTo>
                      <a:pt x="129" y="93"/>
                    </a:lnTo>
                    <a:lnTo>
                      <a:pt x="124" y="90"/>
                    </a:lnTo>
                    <a:lnTo>
                      <a:pt x="116" y="89"/>
                    </a:lnTo>
                    <a:lnTo>
                      <a:pt x="116" y="89"/>
                    </a:lnTo>
                    <a:lnTo>
                      <a:pt x="111" y="90"/>
                    </a:lnTo>
                    <a:lnTo>
                      <a:pt x="18" y="3"/>
                    </a:lnTo>
                    <a:lnTo>
                      <a:pt x="18" y="3"/>
                    </a:lnTo>
                    <a:lnTo>
                      <a:pt x="14" y="1"/>
                    </a:lnTo>
                    <a:lnTo>
                      <a:pt x="9" y="0"/>
                    </a:lnTo>
                    <a:lnTo>
                      <a:pt x="6" y="1"/>
                    </a:lnTo>
                    <a:lnTo>
                      <a:pt x="2" y="4"/>
                    </a:lnTo>
                    <a:lnTo>
                      <a:pt x="2" y="4"/>
                    </a:lnTo>
                    <a:lnTo>
                      <a:pt x="0" y="7"/>
                    </a:lnTo>
                    <a:lnTo>
                      <a:pt x="0" y="12"/>
                    </a:lnTo>
                    <a:lnTo>
                      <a:pt x="1" y="16"/>
                    </a:lnTo>
                    <a:lnTo>
                      <a:pt x="3" y="19"/>
                    </a:lnTo>
                    <a:lnTo>
                      <a:pt x="95" y="104"/>
                    </a:lnTo>
                    <a:lnTo>
                      <a:pt x="95" y="104"/>
                    </a:lnTo>
                    <a:lnTo>
                      <a:pt x="95" y="109"/>
                    </a:lnTo>
                    <a:lnTo>
                      <a:pt x="94" y="113"/>
                    </a:lnTo>
                    <a:lnTo>
                      <a:pt x="94" y="113"/>
                    </a:lnTo>
                    <a:lnTo>
                      <a:pt x="95" y="118"/>
                    </a:lnTo>
                    <a:lnTo>
                      <a:pt x="54" y="164"/>
                    </a:lnTo>
                    <a:lnTo>
                      <a:pt x="54" y="164"/>
                    </a:lnTo>
                    <a:lnTo>
                      <a:pt x="51" y="167"/>
                    </a:lnTo>
                    <a:lnTo>
                      <a:pt x="50" y="171"/>
                    </a:lnTo>
                    <a:lnTo>
                      <a:pt x="51" y="177"/>
                    </a:lnTo>
                    <a:lnTo>
                      <a:pt x="55" y="180"/>
                    </a:lnTo>
                    <a:lnTo>
                      <a:pt x="55" y="180"/>
                    </a:lnTo>
                    <a:close/>
                    <a:moveTo>
                      <a:pt x="117" y="122"/>
                    </a:moveTo>
                    <a:lnTo>
                      <a:pt x="117" y="122"/>
                    </a:lnTo>
                    <a:lnTo>
                      <a:pt x="113" y="122"/>
                    </a:lnTo>
                    <a:lnTo>
                      <a:pt x="110" y="120"/>
                    </a:lnTo>
                    <a:lnTo>
                      <a:pt x="108" y="116"/>
                    </a:lnTo>
                    <a:lnTo>
                      <a:pt x="107" y="112"/>
                    </a:lnTo>
                    <a:lnTo>
                      <a:pt x="107" y="112"/>
                    </a:lnTo>
                    <a:lnTo>
                      <a:pt x="108" y="109"/>
                    </a:lnTo>
                    <a:lnTo>
                      <a:pt x="110" y="106"/>
                    </a:lnTo>
                    <a:lnTo>
                      <a:pt x="113" y="103"/>
                    </a:lnTo>
                    <a:lnTo>
                      <a:pt x="116" y="102"/>
                    </a:lnTo>
                    <a:lnTo>
                      <a:pt x="116" y="102"/>
                    </a:lnTo>
                    <a:lnTo>
                      <a:pt x="121" y="102"/>
                    </a:lnTo>
                    <a:lnTo>
                      <a:pt x="124" y="104"/>
                    </a:lnTo>
                    <a:lnTo>
                      <a:pt x="126" y="108"/>
                    </a:lnTo>
                    <a:lnTo>
                      <a:pt x="127" y="112"/>
                    </a:lnTo>
                    <a:lnTo>
                      <a:pt x="127" y="112"/>
                    </a:lnTo>
                    <a:lnTo>
                      <a:pt x="126" y="115"/>
                    </a:lnTo>
                    <a:lnTo>
                      <a:pt x="125" y="118"/>
                    </a:lnTo>
                    <a:lnTo>
                      <a:pt x="122" y="121"/>
                    </a:lnTo>
                    <a:lnTo>
                      <a:pt x="117" y="122"/>
                    </a:lnTo>
                    <a:lnTo>
                      <a:pt x="117" y="122"/>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grpSp>
          <p:nvGrpSpPr>
            <p:cNvPr id="460" name="Group 459"/>
            <p:cNvGrpSpPr/>
            <p:nvPr/>
          </p:nvGrpSpPr>
          <p:grpSpPr>
            <a:xfrm>
              <a:off x="2273504" y="1297784"/>
              <a:ext cx="357814" cy="362732"/>
              <a:chOff x="2415689" y="1342376"/>
              <a:chExt cx="315773" cy="320132"/>
            </a:xfrm>
          </p:grpSpPr>
          <p:sp>
            <p:nvSpPr>
              <p:cNvPr id="801" name="Rectangle 800"/>
              <p:cNvSpPr>
                <a:spLocks noChangeArrowheads="1"/>
              </p:cNvSpPr>
              <p:nvPr/>
            </p:nvSpPr>
            <p:spPr bwMode="auto">
              <a:xfrm>
                <a:off x="2500705" y="1515098"/>
                <a:ext cx="103233" cy="8934"/>
              </a:xfrm>
              <a:prstGeom prst="rect">
                <a:avLst/>
              </a:prstGeom>
              <a:solidFill>
                <a:srgbClr val="C4C2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802" name="Rectangle 801"/>
              <p:cNvSpPr>
                <a:spLocks noChangeArrowheads="1"/>
              </p:cNvSpPr>
              <p:nvPr/>
            </p:nvSpPr>
            <p:spPr bwMode="auto">
              <a:xfrm>
                <a:off x="2500705" y="1535945"/>
                <a:ext cx="103233" cy="8934"/>
              </a:xfrm>
              <a:prstGeom prst="rect">
                <a:avLst/>
              </a:prstGeom>
              <a:solidFill>
                <a:srgbClr val="C4C2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803" name="Freeform 802"/>
              <p:cNvSpPr>
                <a:spLocks noEditPoints="1"/>
              </p:cNvSpPr>
              <p:nvPr/>
            </p:nvSpPr>
            <p:spPr bwMode="auto">
              <a:xfrm>
                <a:off x="2415689" y="1342376"/>
                <a:ext cx="315773" cy="320132"/>
              </a:xfrm>
              <a:custGeom>
                <a:avLst/>
                <a:gdLst>
                  <a:gd name="T0" fmla="*/ 330 w 828"/>
                  <a:gd name="T1" fmla="*/ 8 h 862"/>
                  <a:gd name="T2" fmla="*/ 217 w 828"/>
                  <a:gd name="T3" fmla="*/ 51 h 862"/>
                  <a:gd name="T4" fmla="*/ 122 w 828"/>
                  <a:gd name="T5" fmla="*/ 121 h 862"/>
                  <a:gd name="T6" fmla="*/ 51 w 828"/>
                  <a:gd name="T7" fmla="*/ 217 h 862"/>
                  <a:gd name="T8" fmla="*/ 8 w 828"/>
                  <a:gd name="T9" fmla="*/ 330 h 862"/>
                  <a:gd name="T10" fmla="*/ 1 w 828"/>
                  <a:gd name="T11" fmla="*/ 439 h 862"/>
                  <a:gd name="T12" fmla="*/ 37 w 828"/>
                  <a:gd name="T13" fmla="*/ 583 h 862"/>
                  <a:gd name="T14" fmla="*/ 61 w 828"/>
                  <a:gd name="T15" fmla="*/ 693 h 862"/>
                  <a:gd name="T16" fmla="*/ 38 w 828"/>
                  <a:gd name="T17" fmla="*/ 804 h 862"/>
                  <a:gd name="T18" fmla="*/ 50 w 828"/>
                  <a:gd name="T19" fmla="*/ 840 h 862"/>
                  <a:gd name="T20" fmla="*/ 152 w 828"/>
                  <a:gd name="T21" fmla="*/ 734 h 862"/>
                  <a:gd name="T22" fmla="*/ 224 w 828"/>
                  <a:gd name="T23" fmla="*/ 782 h 862"/>
                  <a:gd name="T24" fmla="*/ 324 w 828"/>
                  <a:gd name="T25" fmla="*/ 817 h 862"/>
                  <a:gd name="T26" fmla="*/ 415 w 828"/>
                  <a:gd name="T27" fmla="*/ 827 h 862"/>
                  <a:gd name="T28" fmla="*/ 537 w 828"/>
                  <a:gd name="T29" fmla="*/ 809 h 862"/>
                  <a:gd name="T30" fmla="*/ 646 w 828"/>
                  <a:gd name="T31" fmla="*/ 757 h 862"/>
                  <a:gd name="T32" fmla="*/ 733 w 828"/>
                  <a:gd name="T33" fmla="*/ 677 h 862"/>
                  <a:gd name="T34" fmla="*/ 795 w 828"/>
                  <a:gd name="T35" fmla="*/ 574 h 862"/>
                  <a:gd name="T36" fmla="*/ 826 w 828"/>
                  <a:gd name="T37" fmla="*/ 457 h 862"/>
                  <a:gd name="T38" fmla="*/ 823 w 828"/>
                  <a:gd name="T39" fmla="*/ 351 h 862"/>
                  <a:gd name="T40" fmla="*/ 787 w 828"/>
                  <a:gd name="T41" fmla="*/ 234 h 862"/>
                  <a:gd name="T42" fmla="*/ 720 w 828"/>
                  <a:gd name="T43" fmla="*/ 136 h 862"/>
                  <a:gd name="T44" fmla="*/ 628 w 828"/>
                  <a:gd name="T45" fmla="*/ 60 h 862"/>
                  <a:gd name="T46" fmla="*/ 517 w 828"/>
                  <a:gd name="T47" fmla="*/ 13 h 862"/>
                  <a:gd name="T48" fmla="*/ 415 w 828"/>
                  <a:gd name="T49" fmla="*/ 0 h 862"/>
                  <a:gd name="T50" fmla="*/ 531 w 828"/>
                  <a:gd name="T51" fmla="*/ 164 h 862"/>
                  <a:gd name="T52" fmla="*/ 573 w 828"/>
                  <a:gd name="T53" fmla="*/ 200 h 862"/>
                  <a:gd name="T54" fmla="*/ 591 w 828"/>
                  <a:gd name="T55" fmla="*/ 255 h 862"/>
                  <a:gd name="T56" fmla="*/ 579 w 828"/>
                  <a:gd name="T57" fmla="*/ 301 h 862"/>
                  <a:gd name="T58" fmla="*/ 539 w 828"/>
                  <a:gd name="T59" fmla="*/ 340 h 862"/>
                  <a:gd name="T60" fmla="*/ 492 w 828"/>
                  <a:gd name="T61" fmla="*/ 352 h 862"/>
                  <a:gd name="T62" fmla="*/ 438 w 828"/>
                  <a:gd name="T63" fmla="*/ 336 h 862"/>
                  <a:gd name="T64" fmla="*/ 403 w 828"/>
                  <a:gd name="T65" fmla="*/ 292 h 862"/>
                  <a:gd name="T66" fmla="*/ 396 w 828"/>
                  <a:gd name="T67" fmla="*/ 244 h 862"/>
                  <a:gd name="T68" fmla="*/ 418 w 828"/>
                  <a:gd name="T69" fmla="*/ 192 h 862"/>
                  <a:gd name="T70" fmla="*/ 464 w 828"/>
                  <a:gd name="T71" fmla="*/ 161 h 862"/>
                  <a:gd name="T72" fmla="*/ 289 w 828"/>
                  <a:gd name="T73" fmla="*/ 156 h 862"/>
                  <a:gd name="T74" fmla="*/ 343 w 828"/>
                  <a:gd name="T75" fmla="*/ 174 h 862"/>
                  <a:gd name="T76" fmla="*/ 379 w 828"/>
                  <a:gd name="T77" fmla="*/ 217 h 862"/>
                  <a:gd name="T78" fmla="*/ 386 w 828"/>
                  <a:gd name="T79" fmla="*/ 264 h 862"/>
                  <a:gd name="T80" fmla="*/ 365 w 828"/>
                  <a:gd name="T81" fmla="*/ 316 h 862"/>
                  <a:gd name="T82" fmla="*/ 318 w 828"/>
                  <a:gd name="T83" fmla="*/ 348 h 862"/>
                  <a:gd name="T84" fmla="*/ 270 w 828"/>
                  <a:gd name="T85" fmla="*/ 350 h 862"/>
                  <a:gd name="T86" fmla="*/ 220 w 828"/>
                  <a:gd name="T87" fmla="*/ 324 h 862"/>
                  <a:gd name="T88" fmla="*/ 193 w 828"/>
                  <a:gd name="T89" fmla="*/ 274 h 862"/>
                  <a:gd name="T90" fmla="*/ 196 w 828"/>
                  <a:gd name="T91" fmla="*/ 225 h 862"/>
                  <a:gd name="T92" fmla="*/ 227 w 828"/>
                  <a:gd name="T93" fmla="*/ 179 h 862"/>
                  <a:gd name="T94" fmla="*/ 280 w 828"/>
                  <a:gd name="T95" fmla="*/ 157 h 862"/>
                  <a:gd name="T96" fmla="*/ 654 w 828"/>
                  <a:gd name="T97" fmla="*/ 568 h 862"/>
                  <a:gd name="T98" fmla="*/ 611 w 828"/>
                  <a:gd name="T99" fmla="*/ 546 h 862"/>
                  <a:gd name="T100" fmla="*/ 383 w 828"/>
                  <a:gd name="T101" fmla="*/ 621 h 862"/>
                  <a:gd name="T102" fmla="*/ 190 w 828"/>
                  <a:gd name="T103" fmla="*/ 384 h 862"/>
                  <a:gd name="T104" fmla="*/ 606 w 828"/>
                  <a:gd name="T105" fmla="*/ 363 h 862"/>
                  <a:gd name="T106" fmla="*/ 631 w 828"/>
                  <a:gd name="T107" fmla="*/ 431 h 862"/>
                  <a:gd name="T108" fmla="*/ 688 w 828"/>
                  <a:gd name="T109" fmla="*/ 569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8" h="862">
                    <a:moveTo>
                      <a:pt x="415" y="0"/>
                    </a:moveTo>
                    <a:lnTo>
                      <a:pt x="415" y="0"/>
                    </a:lnTo>
                    <a:lnTo>
                      <a:pt x="393" y="1"/>
                    </a:lnTo>
                    <a:lnTo>
                      <a:pt x="371" y="2"/>
                    </a:lnTo>
                    <a:lnTo>
                      <a:pt x="351" y="5"/>
                    </a:lnTo>
                    <a:lnTo>
                      <a:pt x="330" y="8"/>
                    </a:lnTo>
                    <a:lnTo>
                      <a:pt x="311" y="13"/>
                    </a:lnTo>
                    <a:lnTo>
                      <a:pt x="291" y="18"/>
                    </a:lnTo>
                    <a:lnTo>
                      <a:pt x="272" y="26"/>
                    </a:lnTo>
                    <a:lnTo>
                      <a:pt x="253" y="32"/>
                    </a:lnTo>
                    <a:lnTo>
                      <a:pt x="234" y="41"/>
                    </a:lnTo>
                    <a:lnTo>
                      <a:pt x="217" y="51"/>
                    </a:lnTo>
                    <a:lnTo>
                      <a:pt x="200" y="60"/>
                    </a:lnTo>
                    <a:lnTo>
                      <a:pt x="182" y="71"/>
                    </a:lnTo>
                    <a:lnTo>
                      <a:pt x="166" y="82"/>
                    </a:lnTo>
                    <a:lnTo>
                      <a:pt x="151" y="95"/>
                    </a:lnTo>
                    <a:lnTo>
                      <a:pt x="136" y="108"/>
                    </a:lnTo>
                    <a:lnTo>
                      <a:pt x="122" y="121"/>
                    </a:lnTo>
                    <a:lnTo>
                      <a:pt x="108" y="136"/>
                    </a:lnTo>
                    <a:lnTo>
                      <a:pt x="95" y="151"/>
                    </a:lnTo>
                    <a:lnTo>
                      <a:pt x="83" y="166"/>
                    </a:lnTo>
                    <a:lnTo>
                      <a:pt x="71" y="182"/>
                    </a:lnTo>
                    <a:lnTo>
                      <a:pt x="60" y="200"/>
                    </a:lnTo>
                    <a:lnTo>
                      <a:pt x="51" y="217"/>
                    </a:lnTo>
                    <a:lnTo>
                      <a:pt x="41" y="234"/>
                    </a:lnTo>
                    <a:lnTo>
                      <a:pt x="33" y="252"/>
                    </a:lnTo>
                    <a:lnTo>
                      <a:pt x="26" y="272"/>
                    </a:lnTo>
                    <a:lnTo>
                      <a:pt x="19" y="290"/>
                    </a:lnTo>
                    <a:lnTo>
                      <a:pt x="13" y="311"/>
                    </a:lnTo>
                    <a:lnTo>
                      <a:pt x="8" y="330"/>
                    </a:lnTo>
                    <a:lnTo>
                      <a:pt x="5" y="351"/>
                    </a:lnTo>
                    <a:lnTo>
                      <a:pt x="2" y="371"/>
                    </a:lnTo>
                    <a:lnTo>
                      <a:pt x="1" y="393"/>
                    </a:lnTo>
                    <a:lnTo>
                      <a:pt x="0" y="413"/>
                    </a:lnTo>
                    <a:lnTo>
                      <a:pt x="0" y="413"/>
                    </a:lnTo>
                    <a:lnTo>
                      <a:pt x="1" y="439"/>
                    </a:lnTo>
                    <a:lnTo>
                      <a:pt x="3" y="465"/>
                    </a:lnTo>
                    <a:lnTo>
                      <a:pt x="7" y="490"/>
                    </a:lnTo>
                    <a:lnTo>
                      <a:pt x="13" y="514"/>
                    </a:lnTo>
                    <a:lnTo>
                      <a:pt x="19" y="538"/>
                    </a:lnTo>
                    <a:lnTo>
                      <a:pt x="27" y="560"/>
                    </a:lnTo>
                    <a:lnTo>
                      <a:pt x="37" y="583"/>
                    </a:lnTo>
                    <a:lnTo>
                      <a:pt x="47" y="605"/>
                    </a:lnTo>
                    <a:lnTo>
                      <a:pt x="47" y="605"/>
                    </a:lnTo>
                    <a:lnTo>
                      <a:pt x="53" y="626"/>
                    </a:lnTo>
                    <a:lnTo>
                      <a:pt x="57" y="648"/>
                    </a:lnTo>
                    <a:lnTo>
                      <a:pt x="60" y="670"/>
                    </a:lnTo>
                    <a:lnTo>
                      <a:pt x="61" y="693"/>
                    </a:lnTo>
                    <a:lnTo>
                      <a:pt x="61" y="693"/>
                    </a:lnTo>
                    <a:lnTo>
                      <a:pt x="60" y="717"/>
                    </a:lnTo>
                    <a:lnTo>
                      <a:pt x="57" y="740"/>
                    </a:lnTo>
                    <a:lnTo>
                      <a:pt x="53" y="762"/>
                    </a:lnTo>
                    <a:lnTo>
                      <a:pt x="46" y="784"/>
                    </a:lnTo>
                    <a:lnTo>
                      <a:pt x="38" y="804"/>
                    </a:lnTo>
                    <a:lnTo>
                      <a:pt x="28" y="825"/>
                    </a:lnTo>
                    <a:lnTo>
                      <a:pt x="17" y="844"/>
                    </a:lnTo>
                    <a:lnTo>
                      <a:pt x="4" y="862"/>
                    </a:lnTo>
                    <a:lnTo>
                      <a:pt x="4" y="862"/>
                    </a:lnTo>
                    <a:lnTo>
                      <a:pt x="28" y="852"/>
                    </a:lnTo>
                    <a:lnTo>
                      <a:pt x="50" y="840"/>
                    </a:lnTo>
                    <a:lnTo>
                      <a:pt x="70" y="826"/>
                    </a:lnTo>
                    <a:lnTo>
                      <a:pt x="89" y="811"/>
                    </a:lnTo>
                    <a:lnTo>
                      <a:pt x="108" y="794"/>
                    </a:lnTo>
                    <a:lnTo>
                      <a:pt x="124" y="775"/>
                    </a:lnTo>
                    <a:lnTo>
                      <a:pt x="139" y="755"/>
                    </a:lnTo>
                    <a:lnTo>
                      <a:pt x="152" y="734"/>
                    </a:lnTo>
                    <a:lnTo>
                      <a:pt x="152" y="734"/>
                    </a:lnTo>
                    <a:lnTo>
                      <a:pt x="165" y="745"/>
                    </a:lnTo>
                    <a:lnTo>
                      <a:pt x="179" y="755"/>
                    </a:lnTo>
                    <a:lnTo>
                      <a:pt x="194" y="764"/>
                    </a:lnTo>
                    <a:lnTo>
                      <a:pt x="209" y="773"/>
                    </a:lnTo>
                    <a:lnTo>
                      <a:pt x="224" y="782"/>
                    </a:lnTo>
                    <a:lnTo>
                      <a:pt x="240" y="789"/>
                    </a:lnTo>
                    <a:lnTo>
                      <a:pt x="256" y="796"/>
                    </a:lnTo>
                    <a:lnTo>
                      <a:pt x="272" y="802"/>
                    </a:lnTo>
                    <a:lnTo>
                      <a:pt x="289" y="809"/>
                    </a:lnTo>
                    <a:lnTo>
                      <a:pt x="307" y="813"/>
                    </a:lnTo>
                    <a:lnTo>
                      <a:pt x="324" y="817"/>
                    </a:lnTo>
                    <a:lnTo>
                      <a:pt x="341" y="822"/>
                    </a:lnTo>
                    <a:lnTo>
                      <a:pt x="359" y="824"/>
                    </a:lnTo>
                    <a:lnTo>
                      <a:pt x="377" y="826"/>
                    </a:lnTo>
                    <a:lnTo>
                      <a:pt x="395" y="827"/>
                    </a:lnTo>
                    <a:lnTo>
                      <a:pt x="415" y="827"/>
                    </a:lnTo>
                    <a:lnTo>
                      <a:pt x="415" y="827"/>
                    </a:lnTo>
                    <a:lnTo>
                      <a:pt x="435" y="827"/>
                    </a:lnTo>
                    <a:lnTo>
                      <a:pt x="457" y="825"/>
                    </a:lnTo>
                    <a:lnTo>
                      <a:pt x="477" y="823"/>
                    </a:lnTo>
                    <a:lnTo>
                      <a:pt x="498" y="819"/>
                    </a:lnTo>
                    <a:lnTo>
                      <a:pt x="517" y="814"/>
                    </a:lnTo>
                    <a:lnTo>
                      <a:pt x="537" y="809"/>
                    </a:lnTo>
                    <a:lnTo>
                      <a:pt x="556" y="802"/>
                    </a:lnTo>
                    <a:lnTo>
                      <a:pt x="575" y="795"/>
                    </a:lnTo>
                    <a:lnTo>
                      <a:pt x="594" y="787"/>
                    </a:lnTo>
                    <a:lnTo>
                      <a:pt x="611" y="777"/>
                    </a:lnTo>
                    <a:lnTo>
                      <a:pt x="628" y="768"/>
                    </a:lnTo>
                    <a:lnTo>
                      <a:pt x="646" y="757"/>
                    </a:lnTo>
                    <a:lnTo>
                      <a:pt x="662" y="745"/>
                    </a:lnTo>
                    <a:lnTo>
                      <a:pt x="677" y="733"/>
                    </a:lnTo>
                    <a:lnTo>
                      <a:pt x="692" y="720"/>
                    </a:lnTo>
                    <a:lnTo>
                      <a:pt x="706" y="706"/>
                    </a:lnTo>
                    <a:lnTo>
                      <a:pt x="720" y="692"/>
                    </a:lnTo>
                    <a:lnTo>
                      <a:pt x="733" y="677"/>
                    </a:lnTo>
                    <a:lnTo>
                      <a:pt x="745" y="662"/>
                    </a:lnTo>
                    <a:lnTo>
                      <a:pt x="757" y="646"/>
                    </a:lnTo>
                    <a:lnTo>
                      <a:pt x="768" y="628"/>
                    </a:lnTo>
                    <a:lnTo>
                      <a:pt x="777" y="611"/>
                    </a:lnTo>
                    <a:lnTo>
                      <a:pt x="787" y="593"/>
                    </a:lnTo>
                    <a:lnTo>
                      <a:pt x="795" y="574"/>
                    </a:lnTo>
                    <a:lnTo>
                      <a:pt x="802" y="556"/>
                    </a:lnTo>
                    <a:lnTo>
                      <a:pt x="809" y="537"/>
                    </a:lnTo>
                    <a:lnTo>
                      <a:pt x="815" y="517"/>
                    </a:lnTo>
                    <a:lnTo>
                      <a:pt x="820" y="498"/>
                    </a:lnTo>
                    <a:lnTo>
                      <a:pt x="823" y="477"/>
                    </a:lnTo>
                    <a:lnTo>
                      <a:pt x="826" y="457"/>
                    </a:lnTo>
                    <a:lnTo>
                      <a:pt x="827" y="435"/>
                    </a:lnTo>
                    <a:lnTo>
                      <a:pt x="828" y="413"/>
                    </a:lnTo>
                    <a:lnTo>
                      <a:pt x="828" y="413"/>
                    </a:lnTo>
                    <a:lnTo>
                      <a:pt x="827" y="393"/>
                    </a:lnTo>
                    <a:lnTo>
                      <a:pt x="826" y="371"/>
                    </a:lnTo>
                    <a:lnTo>
                      <a:pt x="823" y="351"/>
                    </a:lnTo>
                    <a:lnTo>
                      <a:pt x="820" y="330"/>
                    </a:lnTo>
                    <a:lnTo>
                      <a:pt x="815" y="311"/>
                    </a:lnTo>
                    <a:lnTo>
                      <a:pt x="809" y="290"/>
                    </a:lnTo>
                    <a:lnTo>
                      <a:pt x="802" y="272"/>
                    </a:lnTo>
                    <a:lnTo>
                      <a:pt x="795" y="252"/>
                    </a:lnTo>
                    <a:lnTo>
                      <a:pt x="787" y="234"/>
                    </a:lnTo>
                    <a:lnTo>
                      <a:pt x="777" y="217"/>
                    </a:lnTo>
                    <a:lnTo>
                      <a:pt x="768" y="200"/>
                    </a:lnTo>
                    <a:lnTo>
                      <a:pt x="757" y="182"/>
                    </a:lnTo>
                    <a:lnTo>
                      <a:pt x="745" y="166"/>
                    </a:lnTo>
                    <a:lnTo>
                      <a:pt x="733" y="151"/>
                    </a:lnTo>
                    <a:lnTo>
                      <a:pt x="720" y="136"/>
                    </a:lnTo>
                    <a:lnTo>
                      <a:pt x="706" y="121"/>
                    </a:lnTo>
                    <a:lnTo>
                      <a:pt x="692" y="108"/>
                    </a:lnTo>
                    <a:lnTo>
                      <a:pt x="677" y="95"/>
                    </a:lnTo>
                    <a:lnTo>
                      <a:pt x="662" y="82"/>
                    </a:lnTo>
                    <a:lnTo>
                      <a:pt x="646" y="71"/>
                    </a:lnTo>
                    <a:lnTo>
                      <a:pt x="628" y="60"/>
                    </a:lnTo>
                    <a:lnTo>
                      <a:pt x="611" y="51"/>
                    </a:lnTo>
                    <a:lnTo>
                      <a:pt x="594" y="41"/>
                    </a:lnTo>
                    <a:lnTo>
                      <a:pt x="575" y="32"/>
                    </a:lnTo>
                    <a:lnTo>
                      <a:pt x="556" y="26"/>
                    </a:lnTo>
                    <a:lnTo>
                      <a:pt x="537" y="18"/>
                    </a:lnTo>
                    <a:lnTo>
                      <a:pt x="517" y="13"/>
                    </a:lnTo>
                    <a:lnTo>
                      <a:pt x="498" y="8"/>
                    </a:lnTo>
                    <a:lnTo>
                      <a:pt x="477" y="5"/>
                    </a:lnTo>
                    <a:lnTo>
                      <a:pt x="457" y="2"/>
                    </a:lnTo>
                    <a:lnTo>
                      <a:pt x="435" y="1"/>
                    </a:lnTo>
                    <a:lnTo>
                      <a:pt x="415" y="0"/>
                    </a:lnTo>
                    <a:lnTo>
                      <a:pt x="415" y="0"/>
                    </a:lnTo>
                    <a:close/>
                    <a:moveTo>
                      <a:pt x="492" y="156"/>
                    </a:moveTo>
                    <a:lnTo>
                      <a:pt x="492" y="156"/>
                    </a:lnTo>
                    <a:lnTo>
                      <a:pt x="503" y="157"/>
                    </a:lnTo>
                    <a:lnTo>
                      <a:pt x="513" y="159"/>
                    </a:lnTo>
                    <a:lnTo>
                      <a:pt x="521" y="161"/>
                    </a:lnTo>
                    <a:lnTo>
                      <a:pt x="531" y="164"/>
                    </a:lnTo>
                    <a:lnTo>
                      <a:pt x="539" y="168"/>
                    </a:lnTo>
                    <a:lnTo>
                      <a:pt x="547" y="174"/>
                    </a:lnTo>
                    <a:lnTo>
                      <a:pt x="555" y="179"/>
                    </a:lnTo>
                    <a:lnTo>
                      <a:pt x="561" y="186"/>
                    </a:lnTo>
                    <a:lnTo>
                      <a:pt x="568" y="192"/>
                    </a:lnTo>
                    <a:lnTo>
                      <a:pt x="573" y="200"/>
                    </a:lnTo>
                    <a:lnTo>
                      <a:pt x="579" y="208"/>
                    </a:lnTo>
                    <a:lnTo>
                      <a:pt x="583" y="217"/>
                    </a:lnTo>
                    <a:lnTo>
                      <a:pt x="586" y="225"/>
                    </a:lnTo>
                    <a:lnTo>
                      <a:pt x="588" y="235"/>
                    </a:lnTo>
                    <a:lnTo>
                      <a:pt x="590" y="244"/>
                    </a:lnTo>
                    <a:lnTo>
                      <a:pt x="591" y="255"/>
                    </a:lnTo>
                    <a:lnTo>
                      <a:pt x="591" y="255"/>
                    </a:lnTo>
                    <a:lnTo>
                      <a:pt x="590" y="264"/>
                    </a:lnTo>
                    <a:lnTo>
                      <a:pt x="588" y="274"/>
                    </a:lnTo>
                    <a:lnTo>
                      <a:pt x="586" y="284"/>
                    </a:lnTo>
                    <a:lnTo>
                      <a:pt x="583" y="292"/>
                    </a:lnTo>
                    <a:lnTo>
                      <a:pt x="579" y="301"/>
                    </a:lnTo>
                    <a:lnTo>
                      <a:pt x="573" y="309"/>
                    </a:lnTo>
                    <a:lnTo>
                      <a:pt x="568" y="316"/>
                    </a:lnTo>
                    <a:lnTo>
                      <a:pt x="561" y="324"/>
                    </a:lnTo>
                    <a:lnTo>
                      <a:pt x="555" y="329"/>
                    </a:lnTo>
                    <a:lnTo>
                      <a:pt x="547" y="336"/>
                    </a:lnTo>
                    <a:lnTo>
                      <a:pt x="539" y="340"/>
                    </a:lnTo>
                    <a:lnTo>
                      <a:pt x="531" y="344"/>
                    </a:lnTo>
                    <a:lnTo>
                      <a:pt x="521" y="348"/>
                    </a:lnTo>
                    <a:lnTo>
                      <a:pt x="513" y="350"/>
                    </a:lnTo>
                    <a:lnTo>
                      <a:pt x="503" y="352"/>
                    </a:lnTo>
                    <a:lnTo>
                      <a:pt x="492" y="352"/>
                    </a:lnTo>
                    <a:lnTo>
                      <a:pt x="492" y="352"/>
                    </a:lnTo>
                    <a:lnTo>
                      <a:pt x="483" y="352"/>
                    </a:lnTo>
                    <a:lnTo>
                      <a:pt x="473" y="350"/>
                    </a:lnTo>
                    <a:lnTo>
                      <a:pt x="464" y="348"/>
                    </a:lnTo>
                    <a:lnTo>
                      <a:pt x="455" y="344"/>
                    </a:lnTo>
                    <a:lnTo>
                      <a:pt x="446" y="340"/>
                    </a:lnTo>
                    <a:lnTo>
                      <a:pt x="438" y="336"/>
                    </a:lnTo>
                    <a:lnTo>
                      <a:pt x="431" y="329"/>
                    </a:lnTo>
                    <a:lnTo>
                      <a:pt x="424" y="324"/>
                    </a:lnTo>
                    <a:lnTo>
                      <a:pt x="418" y="316"/>
                    </a:lnTo>
                    <a:lnTo>
                      <a:pt x="412" y="309"/>
                    </a:lnTo>
                    <a:lnTo>
                      <a:pt x="407" y="301"/>
                    </a:lnTo>
                    <a:lnTo>
                      <a:pt x="403" y="292"/>
                    </a:lnTo>
                    <a:lnTo>
                      <a:pt x="399" y="284"/>
                    </a:lnTo>
                    <a:lnTo>
                      <a:pt x="397" y="274"/>
                    </a:lnTo>
                    <a:lnTo>
                      <a:pt x="396" y="264"/>
                    </a:lnTo>
                    <a:lnTo>
                      <a:pt x="395" y="255"/>
                    </a:lnTo>
                    <a:lnTo>
                      <a:pt x="395" y="255"/>
                    </a:lnTo>
                    <a:lnTo>
                      <a:pt x="396" y="244"/>
                    </a:lnTo>
                    <a:lnTo>
                      <a:pt x="397" y="235"/>
                    </a:lnTo>
                    <a:lnTo>
                      <a:pt x="399" y="225"/>
                    </a:lnTo>
                    <a:lnTo>
                      <a:pt x="403" y="217"/>
                    </a:lnTo>
                    <a:lnTo>
                      <a:pt x="407" y="208"/>
                    </a:lnTo>
                    <a:lnTo>
                      <a:pt x="412" y="200"/>
                    </a:lnTo>
                    <a:lnTo>
                      <a:pt x="418" y="192"/>
                    </a:lnTo>
                    <a:lnTo>
                      <a:pt x="424" y="186"/>
                    </a:lnTo>
                    <a:lnTo>
                      <a:pt x="431" y="179"/>
                    </a:lnTo>
                    <a:lnTo>
                      <a:pt x="438" y="174"/>
                    </a:lnTo>
                    <a:lnTo>
                      <a:pt x="446" y="168"/>
                    </a:lnTo>
                    <a:lnTo>
                      <a:pt x="455" y="164"/>
                    </a:lnTo>
                    <a:lnTo>
                      <a:pt x="464" y="161"/>
                    </a:lnTo>
                    <a:lnTo>
                      <a:pt x="473" y="159"/>
                    </a:lnTo>
                    <a:lnTo>
                      <a:pt x="483" y="157"/>
                    </a:lnTo>
                    <a:lnTo>
                      <a:pt x="492" y="156"/>
                    </a:lnTo>
                    <a:lnTo>
                      <a:pt x="492" y="156"/>
                    </a:lnTo>
                    <a:close/>
                    <a:moveTo>
                      <a:pt x="289" y="156"/>
                    </a:moveTo>
                    <a:lnTo>
                      <a:pt x="289" y="156"/>
                    </a:lnTo>
                    <a:lnTo>
                      <a:pt x="299" y="157"/>
                    </a:lnTo>
                    <a:lnTo>
                      <a:pt x="309" y="159"/>
                    </a:lnTo>
                    <a:lnTo>
                      <a:pt x="318" y="161"/>
                    </a:lnTo>
                    <a:lnTo>
                      <a:pt x="327" y="164"/>
                    </a:lnTo>
                    <a:lnTo>
                      <a:pt x="336" y="168"/>
                    </a:lnTo>
                    <a:lnTo>
                      <a:pt x="343" y="174"/>
                    </a:lnTo>
                    <a:lnTo>
                      <a:pt x="351" y="179"/>
                    </a:lnTo>
                    <a:lnTo>
                      <a:pt x="358" y="186"/>
                    </a:lnTo>
                    <a:lnTo>
                      <a:pt x="365" y="192"/>
                    </a:lnTo>
                    <a:lnTo>
                      <a:pt x="370" y="200"/>
                    </a:lnTo>
                    <a:lnTo>
                      <a:pt x="375" y="208"/>
                    </a:lnTo>
                    <a:lnTo>
                      <a:pt x="379" y="217"/>
                    </a:lnTo>
                    <a:lnTo>
                      <a:pt x="382" y="225"/>
                    </a:lnTo>
                    <a:lnTo>
                      <a:pt x="384" y="235"/>
                    </a:lnTo>
                    <a:lnTo>
                      <a:pt x="386" y="244"/>
                    </a:lnTo>
                    <a:lnTo>
                      <a:pt x="386" y="255"/>
                    </a:lnTo>
                    <a:lnTo>
                      <a:pt x="386" y="255"/>
                    </a:lnTo>
                    <a:lnTo>
                      <a:pt x="386" y="264"/>
                    </a:lnTo>
                    <a:lnTo>
                      <a:pt x="384" y="274"/>
                    </a:lnTo>
                    <a:lnTo>
                      <a:pt x="382" y="284"/>
                    </a:lnTo>
                    <a:lnTo>
                      <a:pt x="379" y="292"/>
                    </a:lnTo>
                    <a:lnTo>
                      <a:pt x="375" y="301"/>
                    </a:lnTo>
                    <a:lnTo>
                      <a:pt x="370" y="309"/>
                    </a:lnTo>
                    <a:lnTo>
                      <a:pt x="365" y="316"/>
                    </a:lnTo>
                    <a:lnTo>
                      <a:pt x="358" y="324"/>
                    </a:lnTo>
                    <a:lnTo>
                      <a:pt x="351" y="329"/>
                    </a:lnTo>
                    <a:lnTo>
                      <a:pt x="343" y="336"/>
                    </a:lnTo>
                    <a:lnTo>
                      <a:pt x="336" y="340"/>
                    </a:lnTo>
                    <a:lnTo>
                      <a:pt x="327" y="344"/>
                    </a:lnTo>
                    <a:lnTo>
                      <a:pt x="318" y="348"/>
                    </a:lnTo>
                    <a:lnTo>
                      <a:pt x="309" y="350"/>
                    </a:lnTo>
                    <a:lnTo>
                      <a:pt x="299" y="352"/>
                    </a:lnTo>
                    <a:lnTo>
                      <a:pt x="289" y="352"/>
                    </a:lnTo>
                    <a:lnTo>
                      <a:pt x="289" y="352"/>
                    </a:lnTo>
                    <a:lnTo>
                      <a:pt x="280" y="352"/>
                    </a:lnTo>
                    <a:lnTo>
                      <a:pt x="270" y="350"/>
                    </a:lnTo>
                    <a:lnTo>
                      <a:pt x="260" y="348"/>
                    </a:lnTo>
                    <a:lnTo>
                      <a:pt x="251" y="344"/>
                    </a:lnTo>
                    <a:lnTo>
                      <a:pt x="243" y="340"/>
                    </a:lnTo>
                    <a:lnTo>
                      <a:pt x="234" y="336"/>
                    </a:lnTo>
                    <a:lnTo>
                      <a:pt x="227" y="329"/>
                    </a:lnTo>
                    <a:lnTo>
                      <a:pt x="220" y="324"/>
                    </a:lnTo>
                    <a:lnTo>
                      <a:pt x="214" y="316"/>
                    </a:lnTo>
                    <a:lnTo>
                      <a:pt x="208" y="309"/>
                    </a:lnTo>
                    <a:lnTo>
                      <a:pt x="203" y="301"/>
                    </a:lnTo>
                    <a:lnTo>
                      <a:pt x="200" y="292"/>
                    </a:lnTo>
                    <a:lnTo>
                      <a:pt x="196" y="284"/>
                    </a:lnTo>
                    <a:lnTo>
                      <a:pt x="193" y="274"/>
                    </a:lnTo>
                    <a:lnTo>
                      <a:pt x="192" y="264"/>
                    </a:lnTo>
                    <a:lnTo>
                      <a:pt x="192" y="255"/>
                    </a:lnTo>
                    <a:lnTo>
                      <a:pt x="192" y="255"/>
                    </a:lnTo>
                    <a:lnTo>
                      <a:pt x="192" y="244"/>
                    </a:lnTo>
                    <a:lnTo>
                      <a:pt x="193" y="235"/>
                    </a:lnTo>
                    <a:lnTo>
                      <a:pt x="196" y="225"/>
                    </a:lnTo>
                    <a:lnTo>
                      <a:pt x="200" y="217"/>
                    </a:lnTo>
                    <a:lnTo>
                      <a:pt x="203" y="208"/>
                    </a:lnTo>
                    <a:lnTo>
                      <a:pt x="208" y="200"/>
                    </a:lnTo>
                    <a:lnTo>
                      <a:pt x="214" y="192"/>
                    </a:lnTo>
                    <a:lnTo>
                      <a:pt x="220" y="186"/>
                    </a:lnTo>
                    <a:lnTo>
                      <a:pt x="227" y="179"/>
                    </a:lnTo>
                    <a:lnTo>
                      <a:pt x="234" y="174"/>
                    </a:lnTo>
                    <a:lnTo>
                      <a:pt x="243" y="168"/>
                    </a:lnTo>
                    <a:lnTo>
                      <a:pt x="251" y="164"/>
                    </a:lnTo>
                    <a:lnTo>
                      <a:pt x="260" y="161"/>
                    </a:lnTo>
                    <a:lnTo>
                      <a:pt x="270" y="159"/>
                    </a:lnTo>
                    <a:lnTo>
                      <a:pt x="280" y="157"/>
                    </a:lnTo>
                    <a:lnTo>
                      <a:pt x="289" y="156"/>
                    </a:lnTo>
                    <a:lnTo>
                      <a:pt x="289" y="156"/>
                    </a:lnTo>
                    <a:close/>
                    <a:moveTo>
                      <a:pt x="688" y="569"/>
                    </a:moveTo>
                    <a:lnTo>
                      <a:pt x="663" y="569"/>
                    </a:lnTo>
                    <a:lnTo>
                      <a:pt x="663" y="569"/>
                    </a:lnTo>
                    <a:lnTo>
                      <a:pt x="654" y="568"/>
                    </a:lnTo>
                    <a:lnTo>
                      <a:pt x="647" y="567"/>
                    </a:lnTo>
                    <a:lnTo>
                      <a:pt x="638" y="565"/>
                    </a:lnTo>
                    <a:lnTo>
                      <a:pt x="631" y="561"/>
                    </a:lnTo>
                    <a:lnTo>
                      <a:pt x="624" y="557"/>
                    </a:lnTo>
                    <a:lnTo>
                      <a:pt x="618" y="552"/>
                    </a:lnTo>
                    <a:lnTo>
                      <a:pt x="611" y="546"/>
                    </a:lnTo>
                    <a:lnTo>
                      <a:pt x="606" y="540"/>
                    </a:lnTo>
                    <a:lnTo>
                      <a:pt x="606" y="621"/>
                    </a:lnTo>
                    <a:lnTo>
                      <a:pt x="383" y="621"/>
                    </a:lnTo>
                    <a:lnTo>
                      <a:pt x="383" y="621"/>
                    </a:lnTo>
                    <a:lnTo>
                      <a:pt x="383" y="609"/>
                    </a:lnTo>
                    <a:lnTo>
                      <a:pt x="383" y="621"/>
                    </a:lnTo>
                    <a:lnTo>
                      <a:pt x="182" y="621"/>
                    </a:lnTo>
                    <a:lnTo>
                      <a:pt x="182" y="411"/>
                    </a:lnTo>
                    <a:lnTo>
                      <a:pt x="182" y="411"/>
                    </a:lnTo>
                    <a:lnTo>
                      <a:pt x="183" y="402"/>
                    </a:lnTo>
                    <a:lnTo>
                      <a:pt x="186" y="393"/>
                    </a:lnTo>
                    <a:lnTo>
                      <a:pt x="190" y="384"/>
                    </a:lnTo>
                    <a:lnTo>
                      <a:pt x="196" y="377"/>
                    </a:lnTo>
                    <a:lnTo>
                      <a:pt x="204" y="371"/>
                    </a:lnTo>
                    <a:lnTo>
                      <a:pt x="212" y="367"/>
                    </a:lnTo>
                    <a:lnTo>
                      <a:pt x="221" y="364"/>
                    </a:lnTo>
                    <a:lnTo>
                      <a:pt x="231" y="363"/>
                    </a:lnTo>
                    <a:lnTo>
                      <a:pt x="606" y="363"/>
                    </a:lnTo>
                    <a:lnTo>
                      <a:pt x="606" y="451"/>
                    </a:lnTo>
                    <a:lnTo>
                      <a:pt x="606" y="451"/>
                    </a:lnTo>
                    <a:lnTo>
                      <a:pt x="611" y="445"/>
                    </a:lnTo>
                    <a:lnTo>
                      <a:pt x="618" y="439"/>
                    </a:lnTo>
                    <a:lnTo>
                      <a:pt x="624" y="434"/>
                    </a:lnTo>
                    <a:lnTo>
                      <a:pt x="631" y="431"/>
                    </a:lnTo>
                    <a:lnTo>
                      <a:pt x="638" y="426"/>
                    </a:lnTo>
                    <a:lnTo>
                      <a:pt x="647" y="424"/>
                    </a:lnTo>
                    <a:lnTo>
                      <a:pt x="654" y="423"/>
                    </a:lnTo>
                    <a:lnTo>
                      <a:pt x="663" y="422"/>
                    </a:lnTo>
                    <a:lnTo>
                      <a:pt x="688" y="422"/>
                    </a:lnTo>
                    <a:lnTo>
                      <a:pt x="688" y="569"/>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804" name="Rectangle 803"/>
              <p:cNvSpPr>
                <a:spLocks noChangeArrowheads="1"/>
              </p:cNvSpPr>
              <p:nvPr/>
            </p:nvSpPr>
            <p:spPr bwMode="auto">
              <a:xfrm>
                <a:off x="2500705" y="1494253"/>
                <a:ext cx="103233" cy="8934"/>
              </a:xfrm>
              <a:prstGeom prst="rect">
                <a:avLst/>
              </a:prstGeom>
              <a:solidFill>
                <a:srgbClr val="C4C2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sp>
          <p:nvSpPr>
            <p:cNvPr id="461" name="Freeform 460"/>
            <p:cNvSpPr>
              <a:spLocks noEditPoints="1"/>
            </p:cNvSpPr>
            <p:nvPr/>
          </p:nvSpPr>
          <p:spPr bwMode="auto">
            <a:xfrm>
              <a:off x="3272477" y="752568"/>
              <a:ext cx="177186" cy="173784"/>
            </a:xfrm>
            <a:custGeom>
              <a:avLst/>
              <a:gdLst>
                <a:gd name="T0" fmla="*/ 235 w 284"/>
                <a:gd name="T1" fmla="*/ 130 h 284"/>
                <a:gd name="T2" fmla="*/ 218 w 284"/>
                <a:gd name="T3" fmla="*/ 89 h 284"/>
                <a:gd name="T4" fmla="*/ 183 w 284"/>
                <a:gd name="T5" fmla="*/ 60 h 284"/>
                <a:gd name="T6" fmla="*/ 154 w 284"/>
                <a:gd name="T7" fmla="*/ 51 h 284"/>
                <a:gd name="T8" fmla="*/ 153 w 284"/>
                <a:gd name="T9" fmla="*/ 8 h 284"/>
                <a:gd name="T10" fmla="*/ 142 w 284"/>
                <a:gd name="T11" fmla="*/ 0 h 284"/>
                <a:gd name="T12" fmla="*/ 132 w 284"/>
                <a:gd name="T13" fmla="*/ 4 h 284"/>
                <a:gd name="T14" fmla="*/ 129 w 284"/>
                <a:gd name="T15" fmla="*/ 51 h 284"/>
                <a:gd name="T16" fmla="*/ 114 w 284"/>
                <a:gd name="T17" fmla="*/ 54 h 284"/>
                <a:gd name="T18" fmla="*/ 75 w 284"/>
                <a:gd name="T19" fmla="*/ 77 h 284"/>
                <a:gd name="T20" fmla="*/ 51 w 284"/>
                <a:gd name="T21" fmla="*/ 115 h 284"/>
                <a:gd name="T22" fmla="*/ 13 w 284"/>
                <a:gd name="T23" fmla="*/ 130 h 284"/>
                <a:gd name="T24" fmla="*/ 1 w 284"/>
                <a:gd name="T25" fmla="*/ 137 h 284"/>
                <a:gd name="T26" fmla="*/ 1 w 284"/>
                <a:gd name="T27" fmla="*/ 147 h 284"/>
                <a:gd name="T28" fmla="*/ 13 w 284"/>
                <a:gd name="T29" fmla="*/ 155 h 284"/>
                <a:gd name="T30" fmla="*/ 49 w 284"/>
                <a:gd name="T31" fmla="*/ 163 h 284"/>
                <a:gd name="T32" fmla="*/ 56 w 284"/>
                <a:gd name="T33" fmla="*/ 185 h 284"/>
                <a:gd name="T34" fmla="*/ 86 w 284"/>
                <a:gd name="T35" fmla="*/ 220 h 284"/>
                <a:gd name="T36" fmla="*/ 114 w 284"/>
                <a:gd name="T37" fmla="*/ 234 h 284"/>
                <a:gd name="T38" fmla="*/ 129 w 284"/>
                <a:gd name="T39" fmla="*/ 272 h 284"/>
                <a:gd name="T40" fmla="*/ 132 w 284"/>
                <a:gd name="T41" fmla="*/ 281 h 284"/>
                <a:gd name="T42" fmla="*/ 142 w 284"/>
                <a:gd name="T43" fmla="*/ 284 h 284"/>
                <a:gd name="T44" fmla="*/ 153 w 284"/>
                <a:gd name="T45" fmla="*/ 277 h 284"/>
                <a:gd name="T46" fmla="*/ 154 w 284"/>
                <a:gd name="T47" fmla="*/ 238 h 284"/>
                <a:gd name="T48" fmla="*/ 177 w 284"/>
                <a:gd name="T49" fmla="*/ 232 h 284"/>
                <a:gd name="T50" fmla="*/ 209 w 284"/>
                <a:gd name="T51" fmla="*/ 211 h 284"/>
                <a:gd name="T52" fmla="*/ 231 w 284"/>
                <a:gd name="T53" fmla="*/ 178 h 284"/>
                <a:gd name="T54" fmla="*/ 236 w 284"/>
                <a:gd name="T55" fmla="*/ 155 h 284"/>
                <a:gd name="T56" fmla="*/ 276 w 284"/>
                <a:gd name="T57" fmla="*/ 153 h 284"/>
                <a:gd name="T58" fmla="*/ 284 w 284"/>
                <a:gd name="T59" fmla="*/ 143 h 284"/>
                <a:gd name="T60" fmla="*/ 280 w 284"/>
                <a:gd name="T61" fmla="*/ 134 h 284"/>
                <a:gd name="T62" fmla="*/ 272 w 284"/>
                <a:gd name="T63" fmla="*/ 130 h 284"/>
                <a:gd name="T64" fmla="*/ 154 w 284"/>
                <a:gd name="T65" fmla="*/ 179 h 284"/>
                <a:gd name="T66" fmla="*/ 146 w 284"/>
                <a:gd name="T67" fmla="*/ 168 h 284"/>
                <a:gd name="T68" fmla="*/ 137 w 284"/>
                <a:gd name="T69" fmla="*/ 168 h 284"/>
                <a:gd name="T70" fmla="*/ 129 w 284"/>
                <a:gd name="T71" fmla="*/ 179 h 284"/>
                <a:gd name="T72" fmla="*/ 119 w 284"/>
                <a:gd name="T73" fmla="*/ 206 h 284"/>
                <a:gd name="T74" fmla="*/ 95 w 284"/>
                <a:gd name="T75" fmla="*/ 190 h 284"/>
                <a:gd name="T76" fmla="*/ 78 w 284"/>
                <a:gd name="T77" fmla="*/ 164 h 284"/>
                <a:gd name="T78" fmla="*/ 104 w 284"/>
                <a:gd name="T79" fmla="*/ 155 h 284"/>
                <a:gd name="T80" fmla="*/ 116 w 284"/>
                <a:gd name="T81" fmla="*/ 147 h 284"/>
                <a:gd name="T82" fmla="*/ 116 w 284"/>
                <a:gd name="T83" fmla="*/ 137 h 284"/>
                <a:gd name="T84" fmla="*/ 104 w 284"/>
                <a:gd name="T85" fmla="*/ 130 h 284"/>
                <a:gd name="T86" fmla="*/ 79 w 284"/>
                <a:gd name="T87" fmla="*/ 121 h 284"/>
                <a:gd name="T88" fmla="*/ 96 w 284"/>
                <a:gd name="T89" fmla="*/ 97 h 284"/>
                <a:gd name="T90" fmla="*/ 119 w 284"/>
                <a:gd name="T91" fmla="*/ 82 h 284"/>
                <a:gd name="T92" fmla="*/ 129 w 284"/>
                <a:gd name="T93" fmla="*/ 105 h 284"/>
                <a:gd name="T94" fmla="*/ 137 w 284"/>
                <a:gd name="T95" fmla="*/ 117 h 284"/>
                <a:gd name="T96" fmla="*/ 146 w 284"/>
                <a:gd name="T97" fmla="*/ 117 h 284"/>
                <a:gd name="T98" fmla="*/ 154 w 284"/>
                <a:gd name="T99" fmla="*/ 105 h 284"/>
                <a:gd name="T100" fmla="*/ 164 w 284"/>
                <a:gd name="T101" fmla="*/ 82 h 284"/>
                <a:gd name="T102" fmla="*/ 187 w 284"/>
                <a:gd name="T103" fmla="*/ 97 h 284"/>
                <a:gd name="T104" fmla="*/ 204 w 284"/>
                <a:gd name="T105" fmla="*/ 121 h 284"/>
                <a:gd name="T106" fmla="*/ 179 w 284"/>
                <a:gd name="T107" fmla="*/ 130 h 284"/>
                <a:gd name="T108" fmla="*/ 167 w 284"/>
                <a:gd name="T109" fmla="*/ 137 h 284"/>
                <a:gd name="T110" fmla="*/ 167 w 284"/>
                <a:gd name="T111" fmla="*/ 147 h 284"/>
                <a:gd name="T112" fmla="*/ 179 w 284"/>
                <a:gd name="T113" fmla="*/ 155 h 284"/>
                <a:gd name="T114" fmla="*/ 205 w 284"/>
                <a:gd name="T115" fmla="*/ 164 h 284"/>
                <a:gd name="T116" fmla="*/ 190 w 284"/>
                <a:gd name="T117" fmla="*/ 190 h 284"/>
                <a:gd name="T118" fmla="*/ 164 w 284"/>
                <a:gd name="T119" fmla="*/ 20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4" h="284">
                  <a:moveTo>
                    <a:pt x="272" y="130"/>
                  </a:moveTo>
                  <a:lnTo>
                    <a:pt x="235" y="130"/>
                  </a:lnTo>
                  <a:lnTo>
                    <a:pt x="235" y="130"/>
                  </a:lnTo>
                  <a:lnTo>
                    <a:pt x="232" y="115"/>
                  </a:lnTo>
                  <a:lnTo>
                    <a:pt x="225" y="101"/>
                  </a:lnTo>
                  <a:lnTo>
                    <a:pt x="218" y="89"/>
                  </a:lnTo>
                  <a:lnTo>
                    <a:pt x="208" y="77"/>
                  </a:lnTo>
                  <a:lnTo>
                    <a:pt x="196" y="67"/>
                  </a:lnTo>
                  <a:lnTo>
                    <a:pt x="183" y="60"/>
                  </a:lnTo>
                  <a:lnTo>
                    <a:pt x="169" y="54"/>
                  </a:lnTo>
                  <a:lnTo>
                    <a:pt x="162" y="52"/>
                  </a:lnTo>
                  <a:lnTo>
                    <a:pt x="154" y="51"/>
                  </a:lnTo>
                  <a:lnTo>
                    <a:pt x="154" y="13"/>
                  </a:lnTo>
                  <a:lnTo>
                    <a:pt x="154" y="13"/>
                  </a:lnTo>
                  <a:lnTo>
                    <a:pt x="153" y="8"/>
                  </a:lnTo>
                  <a:lnTo>
                    <a:pt x="151" y="4"/>
                  </a:lnTo>
                  <a:lnTo>
                    <a:pt x="146" y="1"/>
                  </a:lnTo>
                  <a:lnTo>
                    <a:pt x="142" y="0"/>
                  </a:lnTo>
                  <a:lnTo>
                    <a:pt x="142" y="0"/>
                  </a:lnTo>
                  <a:lnTo>
                    <a:pt x="137" y="1"/>
                  </a:lnTo>
                  <a:lnTo>
                    <a:pt x="132" y="4"/>
                  </a:lnTo>
                  <a:lnTo>
                    <a:pt x="130" y="8"/>
                  </a:lnTo>
                  <a:lnTo>
                    <a:pt x="129" y="13"/>
                  </a:lnTo>
                  <a:lnTo>
                    <a:pt x="129" y="51"/>
                  </a:lnTo>
                  <a:lnTo>
                    <a:pt x="129" y="51"/>
                  </a:lnTo>
                  <a:lnTo>
                    <a:pt x="122" y="52"/>
                  </a:lnTo>
                  <a:lnTo>
                    <a:pt x="114" y="54"/>
                  </a:lnTo>
                  <a:lnTo>
                    <a:pt x="100" y="60"/>
                  </a:lnTo>
                  <a:lnTo>
                    <a:pt x="87" y="67"/>
                  </a:lnTo>
                  <a:lnTo>
                    <a:pt x="75" y="77"/>
                  </a:lnTo>
                  <a:lnTo>
                    <a:pt x="65" y="89"/>
                  </a:lnTo>
                  <a:lnTo>
                    <a:pt x="58" y="101"/>
                  </a:lnTo>
                  <a:lnTo>
                    <a:pt x="51" y="115"/>
                  </a:lnTo>
                  <a:lnTo>
                    <a:pt x="48" y="130"/>
                  </a:lnTo>
                  <a:lnTo>
                    <a:pt x="13" y="130"/>
                  </a:lnTo>
                  <a:lnTo>
                    <a:pt x="13" y="130"/>
                  </a:lnTo>
                  <a:lnTo>
                    <a:pt x="7" y="131"/>
                  </a:lnTo>
                  <a:lnTo>
                    <a:pt x="3" y="134"/>
                  </a:lnTo>
                  <a:lnTo>
                    <a:pt x="1" y="137"/>
                  </a:lnTo>
                  <a:lnTo>
                    <a:pt x="0" y="143"/>
                  </a:lnTo>
                  <a:lnTo>
                    <a:pt x="0" y="143"/>
                  </a:lnTo>
                  <a:lnTo>
                    <a:pt x="1" y="147"/>
                  </a:lnTo>
                  <a:lnTo>
                    <a:pt x="3" y="151"/>
                  </a:lnTo>
                  <a:lnTo>
                    <a:pt x="7" y="153"/>
                  </a:lnTo>
                  <a:lnTo>
                    <a:pt x="13" y="155"/>
                  </a:lnTo>
                  <a:lnTo>
                    <a:pt x="47" y="155"/>
                  </a:lnTo>
                  <a:lnTo>
                    <a:pt x="47" y="155"/>
                  </a:lnTo>
                  <a:lnTo>
                    <a:pt x="49" y="163"/>
                  </a:lnTo>
                  <a:lnTo>
                    <a:pt x="50" y="171"/>
                  </a:lnTo>
                  <a:lnTo>
                    <a:pt x="54" y="178"/>
                  </a:lnTo>
                  <a:lnTo>
                    <a:pt x="56" y="185"/>
                  </a:lnTo>
                  <a:lnTo>
                    <a:pt x="64" y="199"/>
                  </a:lnTo>
                  <a:lnTo>
                    <a:pt x="74" y="211"/>
                  </a:lnTo>
                  <a:lnTo>
                    <a:pt x="86" y="220"/>
                  </a:lnTo>
                  <a:lnTo>
                    <a:pt x="99" y="229"/>
                  </a:lnTo>
                  <a:lnTo>
                    <a:pt x="106" y="232"/>
                  </a:lnTo>
                  <a:lnTo>
                    <a:pt x="114" y="234"/>
                  </a:lnTo>
                  <a:lnTo>
                    <a:pt x="122" y="237"/>
                  </a:lnTo>
                  <a:lnTo>
                    <a:pt x="129" y="238"/>
                  </a:lnTo>
                  <a:lnTo>
                    <a:pt x="129" y="272"/>
                  </a:lnTo>
                  <a:lnTo>
                    <a:pt x="129" y="272"/>
                  </a:lnTo>
                  <a:lnTo>
                    <a:pt x="130" y="277"/>
                  </a:lnTo>
                  <a:lnTo>
                    <a:pt x="132" y="281"/>
                  </a:lnTo>
                  <a:lnTo>
                    <a:pt x="137" y="283"/>
                  </a:lnTo>
                  <a:lnTo>
                    <a:pt x="142" y="284"/>
                  </a:lnTo>
                  <a:lnTo>
                    <a:pt x="142" y="284"/>
                  </a:lnTo>
                  <a:lnTo>
                    <a:pt x="146" y="283"/>
                  </a:lnTo>
                  <a:lnTo>
                    <a:pt x="151" y="281"/>
                  </a:lnTo>
                  <a:lnTo>
                    <a:pt x="153" y="277"/>
                  </a:lnTo>
                  <a:lnTo>
                    <a:pt x="154" y="272"/>
                  </a:lnTo>
                  <a:lnTo>
                    <a:pt x="154" y="238"/>
                  </a:lnTo>
                  <a:lnTo>
                    <a:pt x="154" y="238"/>
                  </a:lnTo>
                  <a:lnTo>
                    <a:pt x="162" y="237"/>
                  </a:lnTo>
                  <a:lnTo>
                    <a:pt x="170" y="234"/>
                  </a:lnTo>
                  <a:lnTo>
                    <a:pt x="177" y="232"/>
                  </a:lnTo>
                  <a:lnTo>
                    <a:pt x="184" y="229"/>
                  </a:lnTo>
                  <a:lnTo>
                    <a:pt x="197" y="220"/>
                  </a:lnTo>
                  <a:lnTo>
                    <a:pt x="209" y="211"/>
                  </a:lnTo>
                  <a:lnTo>
                    <a:pt x="219" y="199"/>
                  </a:lnTo>
                  <a:lnTo>
                    <a:pt x="227" y="185"/>
                  </a:lnTo>
                  <a:lnTo>
                    <a:pt x="231" y="178"/>
                  </a:lnTo>
                  <a:lnTo>
                    <a:pt x="233" y="171"/>
                  </a:lnTo>
                  <a:lnTo>
                    <a:pt x="235" y="163"/>
                  </a:lnTo>
                  <a:lnTo>
                    <a:pt x="236" y="155"/>
                  </a:lnTo>
                  <a:lnTo>
                    <a:pt x="272" y="155"/>
                  </a:lnTo>
                  <a:lnTo>
                    <a:pt x="272" y="155"/>
                  </a:lnTo>
                  <a:lnTo>
                    <a:pt x="276" y="153"/>
                  </a:lnTo>
                  <a:lnTo>
                    <a:pt x="280" y="151"/>
                  </a:lnTo>
                  <a:lnTo>
                    <a:pt x="283" y="147"/>
                  </a:lnTo>
                  <a:lnTo>
                    <a:pt x="284" y="143"/>
                  </a:lnTo>
                  <a:lnTo>
                    <a:pt x="284" y="143"/>
                  </a:lnTo>
                  <a:lnTo>
                    <a:pt x="283" y="137"/>
                  </a:lnTo>
                  <a:lnTo>
                    <a:pt x="280" y="134"/>
                  </a:lnTo>
                  <a:lnTo>
                    <a:pt x="276" y="131"/>
                  </a:lnTo>
                  <a:lnTo>
                    <a:pt x="272" y="130"/>
                  </a:lnTo>
                  <a:lnTo>
                    <a:pt x="272" y="130"/>
                  </a:lnTo>
                  <a:close/>
                  <a:moveTo>
                    <a:pt x="154" y="210"/>
                  </a:moveTo>
                  <a:lnTo>
                    <a:pt x="154" y="179"/>
                  </a:lnTo>
                  <a:lnTo>
                    <a:pt x="154" y="179"/>
                  </a:lnTo>
                  <a:lnTo>
                    <a:pt x="153" y="175"/>
                  </a:lnTo>
                  <a:lnTo>
                    <a:pt x="151" y="171"/>
                  </a:lnTo>
                  <a:lnTo>
                    <a:pt x="146" y="168"/>
                  </a:lnTo>
                  <a:lnTo>
                    <a:pt x="142" y="168"/>
                  </a:lnTo>
                  <a:lnTo>
                    <a:pt x="142" y="168"/>
                  </a:lnTo>
                  <a:lnTo>
                    <a:pt x="137" y="168"/>
                  </a:lnTo>
                  <a:lnTo>
                    <a:pt x="132" y="171"/>
                  </a:lnTo>
                  <a:lnTo>
                    <a:pt x="130" y="175"/>
                  </a:lnTo>
                  <a:lnTo>
                    <a:pt x="129" y="179"/>
                  </a:lnTo>
                  <a:lnTo>
                    <a:pt x="129" y="210"/>
                  </a:lnTo>
                  <a:lnTo>
                    <a:pt x="129" y="210"/>
                  </a:lnTo>
                  <a:lnTo>
                    <a:pt x="119" y="206"/>
                  </a:lnTo>
                  <a:lnTo>
                    <a:pt x="110" y="203"/>
                  </a:lnTo>
                  <a:lnTo>
                    <a:pt x="101" y="197"/>
                  </a:lnTo>
                  <a:lnTo>
                    <a:pt x="95" y="190"/>
                  </a:lnTo>
                  <a:lnTo>
                    <a:pt x="88" y="183"/>
                  </a:lnTo>
                  <a:lnTo>
                    <a:pt x="83" y="174"/>
                  </a:lnTo>
                  <a:lnTo>
                    <a:pt x="78" y="164"/>
                  </a:lnTo>
                  <a:lnTo>
                    <a:pt x="76" y="155"/>
                  </a:lnTo>
                  <a:lnTo>
                    <a:pt x="104" y="155"/>
                  </a:lnTo>
                  <a:lnTo>
                    <a:pt x="104" y="155"/>
                  </a:lnTo>
                  <a:lnTo>
                    <a:pt x="110" y="153"/>
                  </a:lnTo>
                  <a:lnTo>
                    <a:pt x="113" y="151"/>
                  </a:lnTo>
                  <a:lnTo>
                    <a:pt x="116" y="147"/>
                  </a:lnTo>
                  <a:lnTo>
                    <a:pt x="117" y="143"/>
                  </a:lnTo>
                  <a:lnTo>
                    <a:pt x="117" y="143"/>
                  </a:lnTo>
                  <a:lnTo>
                    <a:pt x="116" y="137"/>
                  </a:lnTo>
                  <a:lnTo>
                    <a:pt x="113" y="134"/>
                  </a:lnTo>
                  <a:lnTo>
                    <a:pt x="110" y="131"/>
                  </a:lnTo>
                  <a:lnTo>
                    <a:pt x="104" y="130"/>
                  </a:lnTo>
                  <a:lnTo>
                    <a:pt x="77" y="130"/>
                  </a:lnTo>
                  <a:lnTo>
                    <a:pt x="77" y="130"/>
                  </a:lnTo>
                  <a:lnTo>
                    <a:pt x="79" y="121"/>
                  </a:lnTo>
                  <a:lnTo>
                    <a:pt x="84" y="112"/>
                  </a:lnTo>
                  <a:lnTo>
                    <a:pt x="89" y="104"/>
                  </a:lnTo>
                  <a:lnTo>
                    <a:pt x="96" y="97"/>
                  </a:lnTo>
                  <a:lnTo>
                    <a:pt x="103" y="91"/>
                  </a:lnTo>
                  <a:lnTo>
                    <a:pt x="111" y="85"/>
                  </a:lnTo>
                  <a:lnTo>
                    <a:pt x="119" y="82"/>
                  </a:lnTo>
                  <a:lnTo>
                    <a:pt x="129" y="79"/>
                  </a:lnTo>
                  <a:lnTo>
                    <a:pt x="129" y="105"/>
                  </a:lnTo>
                  <a:lnTo>
                    <a:pt x="129" y="105"/>
                  </a:lnTo>
                  <a:lnTo>
                    <a:pt x="130" y="110"/>
                  </a:lnTo>
                  <a:lnTo>
                    <a:pt x="132" y="115"/>
                  </a:lnTo>
                  <a:lnTo>
                    <a:pt x="137" y="117"/>
                  </a:lnTo>
                  <a:lnTo>
                    <a:pt x="142" y="118"/>
                  </a:lnTo>
                  <a:lnTo>
                    <a:pt x="142" y="118"/>
                  </a:lnTo>
                  <a:lnTo>
                    <a:pt x="146" y="117"/>
                  </a:lnTo>
                  <a:lnTo>
                    <a:pt x="151" y="115"/>
                  </a:lnTo>
                  <a:lnTo>
                    <a:pt x="153" y="110"/>
                  </a:lnTo>
                  <a:lnTo>
                    <a:pt x="154" y="105"/>
                  </a:lnTo>
                  <a:lnTo>
                    <a:pt x="154" y="79"/>
                  </a:lnTo>
                  <a:lnTo>
                    <a:pt x="154" y="79"/>
                  </a:lnTo>
                  <a:lnTo>
                    <a:pt x="164" y="82"/>
                  </a:lnTo>
                  <a:lnTo>
                    <a:pt x="172" y="85"/>
                  </a:lnTo>
                  <a:lnTo>
                    <a:pt x="181" y="91"/>
                  </a:lnTo>
                  <a:lnTo>
                    <a:pt x="187" y="97"/>
                  </a:lnTo>
                  <a:lnTo>
                    <a:pt x="194" y="104"/>
                  </a:lnTo>
                  <a:lnTo>
                    <a:pt x="199" y="112"/>
                  </a:lnTo>
                  <a:lnTo>
                    <a:pt x="204" y="121"/>
                  </a:lnTo>
                  <a:lnTo>
                    <a:pt x="206" y="130"/>
                  </a:lnTo>
                  <a:lnTo>
                    <a:pt x="179" y="130"/>
                  </a:lnTo>
                  <a:lnTo>
                    <a:pt x="179" y="130"/>
                  </a:lnTo>
                  <a:lnTo>
                    <a:pt x="173" y="131"/>
                  </a:lnTo>
                  <a:lnTo>
                    <a:pt x="170" y="134"/>
                  </a:lnTo>
                  <a:lnTo>
                    <a:pt x="167" y="137"/>
                  </a:lnTo>
                  <a:lnTo>
                    <a:pt x="166" y="143"/>
                  </a:lnTo>
                  <a:lnTo>
                    <a:pt x="166" y="143"/>
                  </a:lnTo>
                  <a:lnTo>
                    <a:pt x="167" y="147"/>
                  </a:lnTo>
                  <a:lnTo>
                    <a:pt x="170" y="151"/>
                  </a:lnTo>
                  <a:lnTo>
                    <a:pt x="173" y="153"/>
                  </a:lnTo>
                  <a:lnTo>
                    <a:pt x="179" y="155"/>
                  </a:lnTo>
                  <a:lnTo>
                    <a:pt x="207" y="155"/>
                  </a:lnTo>
                  <a:lnTo>
                    <a:pt x="207" y="155"/>
                  </a:lnTo>
                  <a:lnTo>
                    <a:pt x="205" y="164"/>
                  </a:lnTo>
                  <a:lnTo>
                    <a:pt x="200" y="174"/>
                  </a:lnTo>
                  <a:lnTo>
                    <a:pt x="196" y="183"/>
                  </a:lnTo>
                  <a:lnTo>
                    <a:pt x="190" y="190"/>
                  </a:lnTo>
                  <a:lnTo>
                    <a:pt x="182" y="197"/>
                  </a:lnTo>
                  <a:lnTo>
                    <a:pt x="173" y="203"/>
                  </a:lnTo>
                  <a:lnTo>
                    <a:pt x="164" y="206"/>
                  </a:lnTo>
                  <a:lnTo>
                    <a:pt x="154" y="210"/>
                  </a:lnTo>
                  <a:lnTo>
                    <a:pt x="154" y="210"/>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62" name="Freeform 461"/>
            <p:cNvSpPr>
              <a:spLocks noEditPoints="1"/>
            </p:cNvSpPr>
            <p:nvPr/>
          </p:nvSpPr>
          <p:spPr bwMode="auto">
            <a:xfrm>
              <a:off x="2195433" y="2201704"/>
              <a:ext cx="235842" cy="240659"/>
            </a:xfrm>
            <a:custGeom>
              <a:avLst/>
              <a:gdLst>
                <a:gd name="T0" fmla="*/ 341 w 397"/>
                <a:gd name="T1" fmla="*/ 55 h 411"/>
                <a:gd name="T2" fmla="*/ 266 w 397"/>
                <a:gd name="T3" fmla="*/ 12 h 411"/>
                <a:gd name="T4" fmla="*/ 189 w 397"/>
                <a:gd name="T5" fmla="*/ 0 h 411"/>
                <a:gd name="T6" fmla="*/ 126 w 397"/>
                <a:gd name="T7" fmla="*/ 15 h 411"/>
                <a:gd name="T8" fmla="*/ 70 w 397"/>
                <a:gd name="T9" fmla="*/ 50 h 411"/>
                <a:gd name="T10" fmla="*/ 21 w 397"/>
                <a:gd name="T11" fmla="*/ 114 h 411"/>
                <a:gd name="T12" fmla="*/ 1 w 397"/>
                <a:gd name="T13" fmla="*/ 177 h 411"/>
                <a:gd name="T14" fmla="*/ 3 w 397"/>
                <a:gd name="T15" fmla="*/ 242 h 411"/>
                <a:gd name="T16" fmla="*/ 33 w 397"/>
                <a:gd name="T17" fmla="*/ 314 h 411"/>
                <a:gd name="T18" fmla="*/ 80 w 397"/>
                <a:gd name="T19" fmla="*/ 363 h 411"/>
                <a:gd name="T20" fmla="*/ 139 w 397"/>
                <a:gd name="T21" fmla="*/ 394 h 411"/>
                <a:gd name="T22" fmla="*/ 211 w 397"/>
                <a:gd name="T23" fmla="*/ 405 h 411"/>
                <a:gd name="T24" fmla="*/ 290 w 397"/>
                <a:gd name="T25" fmla="*/ 381 h 411"/>
                <a:gd name="T26" fmla="*/ 260 w 397"/>
                <a:gd name="T27" fmla="*/ 347 h 411"/>
                <a:gd name="T28" fmla="*/ 219 w 397"/>
                <a:gd name="T29" fmla="*/ 380 h 411"/>
                <a:gd name="T30" fmla="*/ 135 w 397"/>
                <a:gd name="T31" fmla="*/ 368 h 411"/>
                <a:gd name="T32" fmla="*/ 83 w 397"/>
                <a:gd name="T33" fmla="*/ 336 h 411"/>
                <a:gd name="T34" fmla="*/ 44 w 397"/>
                <a:gd name="T35" fmla="*/ 291 h 411"/>
                <a:gd name="T36" fmla="*/ 21 w 397"/>
                <a:gd name="T37" fmla="*/ 225 h 411"/>
                <a:gd name="T38" fmla="*/ 24 w 397"/>
                <a:gd name="T39" fmla="*/ 167 h 411"/>
                <a:gd name="T40" fmla="*/ 45 w 397"/>
                <a:gd name="T41" fmla="*/ 110 h 411"/>
                <a:gd name="T42" fmla="*/ 91 w 397"/>
                <a:gd name="T43" fmla="*/ 57 h 411"/>
                <a:gd name="T44" fmla="*/ 142 w 397"/>
                <a:gd name="T45" fmla="*/ 30 h 411"/>
                <a:gd name="T46" fmla="*/ 199 w 397"/>
                <a:gd name="T47" fmla="*/ 22 h 411"/>
                <a:gd name="T48" fmla="*/ 270 w 397"/>
                <a:gd name="T49" fmla="*/ 37 h 411"/>
                <a:gd name="T50" fmla="*/ 334 w 397"/>
                <a:gd name="T51" fmla="*/ 81 h 411"/>
                <a:gd name="T52" fmla="*/ 372 w 397"/>
                <a:gd name="T53" fmla="*/ 148 h 411"/>
                <a:gd name="T54" fmla="*/ 366 w 397"/>
                <a:gd name="T55" fmla="*/ 238 h 411"/>
                <a:gd name="T56" fmla="*/ 329 w 397"/>
                <a:gd name="T57" fmla="*/ 290 h 411"/>
                <a:gd name="T58" fmla="*/ 263 w 397"/>
                <a:gd name="T59" fmla="*/ 319 h 411"/>
                <a:gd name="T60" fmla="*/ 226 w 397"/>
                <a:gd name="T61" fmla="*/ 310 h 411"/>
                <a:gd name="T62" fmla="*/ 325 w 397"/>
                <a:gd name="T63" fmla="*/ 148 h 411"/>
                <a:gd name="T64" fmla="*/ 269 w 397"/>
                <a:gd name="T65" fmla="*/ 136 h 411"/>
                <a:gd name="T66" fmla="*/ 232 w 397"/>
                <a:gd name="T67" fmla="*/ 106 h 411"/>
                <a:gd name="T68" fmla="*/ 175 w 397"/>
                <a:gd name="T69" fmla="*/ 98 h 411"/>
                <a:gd name="T70" fmla="*/ 124 w 397"/>
                <a:gd name="T71" fmla="*/ 122 h 411"/>
                <a:gd name="T72" fmla="*/ 84 w 397"/>
                <a:gd name="T73" fmla="*/ 175 h 411"/>
                <a:gd name="T74" fmla="*/ 74 w 397"/>
                <a:gd name="T75" fmla="*/ 222 h 411"/>
                <a:gd name="T76" fmla="*/ 87 w 397"/>
                <a:gd name="T77" fmla="*/ 263 h 411"/>
                <a:gd name="T78" fmla="*/ 126 w 397"/>
                <a:gd name="T79" fmla="*/ 294 h 411"/>
                <a:gd name="T80" fmla="*/ 158 w 397"/>
                <a:gd name="T81" fmla="*/ 299 h 411"/>
                <a:gd name="T82" fmla="*/ 185 w 397"/>
                <a:gd name="T83" fmla="*/ 298 h 411"/>
                <a:gd name="T84" fmla="*/ 193 w 397"/>
                <a:gd name="T85" fmla="*/ 323 h 411"/>
                <a:gd name="T86" fmla="*/ 242 w 397"/>
                <a:gd name="T87" fmla="*/ 336 h 411"/>
                <a:gd name="T88" fmla="*/ 297 w 397"/>
                <a:gd name="T89" fmla="*/ 327 h 411"/>
                <a:gd name="T90" fmla="*/ 341 w 397"/>
                <a:gd name="T91" fmla="*/ 303 h 411"/>
                <a:gd name="T92" fmla="*/ 381 w 397"/>
                <a:gd name="T93" fmla="*/ 252 h 411"/>
                <a:gd name="T94" fmla="*/ 397 w 397"/>
                <a:gd name="T95" fmla="*/ 178 h 411"/>
                <a:gd name="T96" fmla="*/ 183 w 397"/>
                <a:gd name="T97" fmla="*/ 275 h 411"/>
                <a:gd name="T98" fmla="*/ 150 w 397"/>
                <a:gd name="T99" fmla="*/ 272 h 411"/>
                <a:gd name="T100" fmla="*/ 116 w 397"/>
                <a:gd name="T101" fmla="*/ 238 h 411"/>
                <a:gd name="T102" fmla="*/ 120 w 397"/>
                <a:gd name="T103" fmla="*/ 185 h 411"/>
                <a:gd name="T104" fmla="*/ 144 w 397"/>
                <a:gd name="T105" fmla="*/ 149 h 411"/>
                <a:gd name="T106" fmla="*/ 180 w 397"/>
                <a:gd name="T107" fmla="*/ 130 h 411"/>
                <a:gd name="T108" fmla="*/ 224 w 397"/>
                <a:gd name="T109" fmla="*/ 133 h 411"/>
                <a:gd name="T110" fmla="*/ 252 w 397"/>
                <a:gd name="T111" fmla="*/ 162 h 411"/>
                <a:gd name="T112" fmla="*/ 244 w 397"/>
                <a:gd name="T113" fmla="*/ 219 h 411"/>
                <a:gd name="T114" fmla="*/ 201 w 397"/>
                <a:gd name="T115" fmla="*/ 268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7" h="411">
                  <a:moveTo>
                    <a:pt x="381" y="114"/>
                  </a:moveTo>
                  <a:lnTo>
                    <a:pt x="381" y="114"/>
                  </a:lnTo>
                  <a:lnTo>
                    <a:pt x="373" y="97"/>
                  </a:lnTo>
                  <a:lnTo>
                    <a:pt x="364" y="82"/>
                  </a:lnTo>
                  <a:lnTo>
                    <a:pt x="353" y="68"/>
                  </a:lnTo>
                  <a:lnTo>
                    <a:pt x="341" y="55"/>
                  </a:lnTo>
                  <a:lnTo>
                    <a:pt x="327" y="44"/>
                  </a:lnTo>
                  <a:lnTo>
                    <a:pt x="313" y="34"/>
                  </a:lnTo>
                  <a:lnTo>
                    <a:pt x="297" y="25"/>
                  </a:lnTo>
                  <a:lnTo>
                    <a:pt x="279" y="16"/>
                  </a:lnTo>
                  <a:lnTo>
                    <a:pt x="279" y="16"/>
                  </a:lnTo>
                  <a:lnTo>
                    <a:pt x="266" y="12"/>
                  </a:lnTo>
                  <a:lnTo>
                    <a:pt x="255" y="8"/>
                  </a:lnTo>
                  <a:lnTo>
                    <a:pt x="242" y="5"/>
                  </a:lnTo>
                  <a:lnTo>
                    <a:pt x="229" y="2"/>
                  </a:lnTo>
                  <a:lnTo>
                    <a:pt x="216" y="1"/>
                  </a:lnTo>
                  <a:lnTo>
                    <a:pt x="203" y="0"/>
                  </a:lnTo>
                  <a:lnTo>
                    <a:pt x="189" y="0"/>
                  </a:lnTo>
                  <a:lnTo>
                    <a:pt x="176" y="1"/>
                  </a:lnTo>
                  <a:lnTo>
                    <a:pt x="176" y="1"/>
                  </a:lnTo>
                  <a:lnTo>
                    <a:pt x="163" y="3"/>
                  </a:lnTo>
                  <a:lnTo>
                    <a:pt x="150" y="7"/>
                  </a:lnTo>
                  <a:lnTo>
                    <a:pt x="138" y="10"/>
                  </a:lnTo>
                  <a:lnTo>
                    <a:pt x="126" y="15"/>
                  </a:lnTo>
                  <a:lnTo>
                    <a:pt x="114" y="21"/>
                  </a:lnTo>
                  <a:lnTo>
                    <a:pt x="102" y="27"/>
                  </a:lnTo>
                  <a:lnTo>
                    <a:pt x="90" y="34"/>
                  </a:lnTo>
                  <a:lnTo>
                    <a:pt x="80" y="41"/>
                  </a:lnTo>
                  <a:lnTo>
                    <a:pt x="80" y="41"/>
                  </a:lnTo>
                  <a:lnTo>
                    <a:pt x="70" y="50"/>
                  </a:lnTo>
                  <a:lnTo>
                    <a:pt x="60" y="60"/>
                  </a:lnTo>
                  <a:lnTo>
                    <a:pt x="50" y="69"/>
                  </a:lnTo>
                  <a:lnTo>
                    <a:pt x="42" y="80"/>
                  </a:lnTo>
                  <a:lnTo>
                    <a:pt x="34" y="91"/>
                  </a:lnTo>
                  <a:lnTo>
                    <a:pt x="28" y="102"/>
                  </a:lnTo>
                  <a:lnTo>
                    <a:pt x="21" y="114"/>
                  </a:lnTo>
                  <a:lnTo>
                    <a:pt x="16" y="127"/>
                  </a:lnTo>
                  <a:lnTo>
                    <a:pt x="16" y="127"/>
                  </a:lnTo>
                  <a:lnTo>
                    <a:pt x="10" y="138"/>
                  </a:lnTo>
                  <a:lnTo>
                    <a:pt x="6" y="151"/>
                  </a:lnTo>
                  <a:lnTo>
                    <a:pt x="4" y="164"/>
                  </a:lnTo>
                  <a:lnTo>
                    <a:pt x="1" y="177"/>
                  </a:lnTo>
                  <a:lnTo>
                    <a:pt x="0" y="190"/>
                  </a:lnTo>
                  <a:lnTo>
                    <a:pt x="0" y="203"/>
                  </a:lnTo>
                  <a:lnTo>
                    <a:pt x="0" y="216"/>
                  </a:lnTo>
                  <a:lnTo>
                    <a:pt x="1" y="229"/>
                  </a:lnTo>
                  <a:lnTo>
                    <a:pt x="1" y="229"/>
                  </a:lnTo>
                  <a:lnTo>
                    <a:pt x="3" y="242"/>
                  </a:lnTo>
                  <a:lnTo>
                    <a:pt x="6" y="255"/>
                  </a:lnTo>
                  <a:lnTo>
                    <a:pt x="9" y="267"/>
                  </a:lnTo>
                  <a:lnTo>
                    <a:pt x="15" y="280"/>
                  </a:lnTo>
                  <a:lnTo>
                    <a:pt x="20" y="292"/>
                  </a:lnTo>
                  <a:lnTo>
                    <a:pt x="27" y="303"/>
                  </a:lnTo>
                  <a:lnTo>
                    <a:pt x="33" y="314"/>
                  </a:lnTo>
                  <a:lnTo>
                    <a:pt x="42" y="325"/>
                  </a:lnTo>
                  <a:lnTo>
                    <a:pt x="42" y="325"/>
                  </a:lnTo>
                  <a:lnTo>
                    <a:pt x="50" y="335"/>
                  </a:lnTo>
                  <a:lnTo>
                    <a:pt x="59" y="345"/>
                  </a:lnTo>
                  <a:lnTo>
                    <a:pt x="69" y="354"/>
                  </a:lnTo>
                  <a:lnTo>
                    <a:pt x="80" y="363"/>
                  </a:lnTo>
                  <a:lnTo>
                    <a:pt x="90" y="371"/>
                  </a:lnTo>
                  <a:lnTo>
                    <a:pt x="102" y="377"/>
                  </a:lnTo>
                  <a:lnTo>
                    <a:pt x="114" y="384"/>
                  </a:lnTo>
                  <a:lnTo>
                    <a:pt x="127" y="390"/>
                  </a:lnTo>
                  <a:lnTo>
                    <a:pt x="127" y="390"/>
                  </a:lnTo>
                  <a:lnTo>
                    <a:pt x="139" y="394"/>
                  </a:lnTo>
                  <a:lnTo>
                    <a:pt x="151" y="399"/>
                  </a:lnTo>
                  <a:lnTo>
                    <a:pt x="164" y="401"/>
                  </a:lnTo>
                  <a:lnTo>
                    <a:pt x="176" y="403"/>
                  </a:lnTo>
                  <a:lnTo>
                    <a:pt x="188" y="405"/>
                  </a:lnTo>
                  <a:lnTo>
                    <a:pt x="199" y="405"/>
                  </a:lnTo>
                  <a:lnTo>
                    <a:pt x="211" y="405"/>
                  </a:lnTo>
                  <a:lnTo>
                    <a:pt x="223" y="404"/>
                  </a:lnTo>
                  <a:lnTo>
                    <a:pt x="223" y="404"/>
                  </a:lnTo>
                  <a:lnTo>
                    <a:pt x="238" y="401"/>
                  </a:lnTo>
                  <a:lnTo>
                    <a:pt x="255" y="397"/>
                  </a:lnTo>
                  <a:lnTo>
                    <a:pt x="272" y="390"/>
                  </a:lnTo>
                  <a:lnTo>
                    <a:pt x="290" y="381"/>
                  </a:lnTo>
                  <a:lnTo>
                    <a:pt x="290" y="381"/>
                  </a:lnTo>
                  <a:lnTo>
                    <a:pt x="286" y="411"/>
                  </a:lnTo>
                  <a:lnTo>
                    <a:pt x="305" y="403"/>
                  </a:lnTo>
                  <a:lnTo>
                    <a:pt x="311" y="363"/>
                  </a:lnTo>
                  <a:lnTo>
                    <a:pt x="279" y="338"/>
                  </a:lnTo>
                  <a:lnTo>
                    <a:pt x="260" y="347"/>
                  </a:lnTo>
                  <a:lnTo>
                    <a:pt x="280" y="363"/>
                  </a:lnTo>
                  <a:lnTo>
                    <a:pt x="280" y="363"/>
                  </a:lnTo>
                  <a:lnTo>
                    <a:pt x="280" y="363"/>
                  </a:lnTo>
                  <a:lnTo>
                    <a:pt x="259" y="371"/>
                  </a:lnTo>
                  <a:lnTo>
                    <a:pt x="238" y="377"/>
                  </a:lnTo>
                  <a:lnTo>
                    <a:pt x="219" y="380"/>
                  </a:lnTo>
                  <a:lnTo>
                    <a:pt x="202" y="383"/>
                  </a:lnTo>
                  <a:lnTo>
                    <a:pt x="202" y="383"/>
                  </a:lnTo>
                  <a:lnTo>
                    <a:pt x="185" y="381"/>
                  </a:lnTo>
                  <a:lnTo>
                    <a:pt x="168" y="379"/>
                  </a:lnTo>
                  <a:lnTo>
                    <a:pt x="152" y="375"/>
                  </a:lnTo>
                  <a:lnTo>
                    <a:pt x="135" y="368"/>
                  </a:lnTo>
                  <a:lnTo>
                    <a:pt x="135" y="368"/>
                  </a:lnTo>
                  <a:lnTo>
                    <a:pt x="123" y="363"/>
                  </a:lnTo>
                  <a:lnTo>
                    <a:pt x="112" y="358"/>
                  </a:lnTo>
                  <a:lnTo>
                    <a:pt x="101" y="351"/>
                  </a:lnTo>
                  <a:lnTo>
                    <a:pt x="91" y="344"/>
                  </a:lnTo>
                  <a:lnTo>
                    <a:pt x="83" y="336"/>
                  </a:lnTo>
                  <a:lnTo>
                    <a:pt x="73" y="329"/>
                  </a:lnTo>
                  <a:lnTo>
                    <a:pt x="66" y="320"/>
                  </a:lnTo>
                  <a:lnTo>
                    <a:pt x="58" y="310"/>
                  </a:lnTo>
                  <a:lnTo>
                    <a:pt x="58" y="310"/>
                  </a:lnTo>
                  <a:lnTo>
                    <a:pt x="50" y="300"/>
                  </a:lnTo>
                  <a:lnTo>
                    <a:pt x="44" y="291"/>
                  </a:lnTo>
                  <a:lnTo>
                    <a:pt x="39" y="281"/>
                  </a:lnTo>
                  <a:lnTo>
                    <a:pt x="34" y="270"/>
                  </a:lnTo>
                  <a:lnTo>
                    <a:pt x="30" y="259"/>
                  </a:lnTo>
                  <a:lnTo>
                    <a:pt x="27" y="248"/>
                  </a:lnTo>
                  <a:lnTo>
                    <a:pt x="23" y="237"/>
                  </a:lnTo>
                  <a:lnTo>
                    <a:pt x="21" y="225"/>
                  </a:lnTo>
                  <a:lnTo>
                    <a:pt x="21" y="225"/>
                  </a:lnTo>
                  <a:lnTo>
                    <a:pt x="20" y="213"/>
                  </a:lnTo>
                  <a:lnTo>
                    <a:pt x="20" y="201"/>
                  </a:lnTo>
                  <a:lnTo>
                    <a:pt x="21" y="189"/>
                  </a:lnTo>
                  <a:lnTo>
                    <a:pt x="22" y="177"/>
                  </a:lnTo>
                  <a:lnTo>
                    <a:pt x="24" y="167"/>
                  </a:lnTo>
                  <a:lnTo>
                    <a:pt x="27" y="155"/>
                  </a:lnTo>
                  <a:lnTo>
                    <a:pt x="30" y="143"/>
                  </a:lnTo>
                  <a:lnTo>
                    <a:pt x="34" y="132"/>
                  </a:lnTo>
                  <a:lnTo>
                    <a:pt x="34" y="132"/>
                  </a:lnTo>
                  <a:lnTo>
                    <a:pt x="40" y="121"/>
                  </a:lnTo>
                  <a:lnTo>
                    <a:pt x="45" y="110"/>
                  </a:lnTo>
                  <a:lnTo>
                    <a:pt x="51" y="101"/>
                  </a:lnTo>
                  <a:lnTo>
                    <a:pt x="58" y="91"/>
                  </a:lnTo>
                  <a:lnTo>
                    <a:pt x="66" y="82"/>
                  </a:lnTo>
                  <a:lnTo>
                    <a:pt x="74" y="74"/>
                  </a:lnTo>
                  <a:lnTo>
                    <a:pt x="83" y="65"/>
                  </a:lnTo>
                  <a:lnTo>
                    <a:pt x="91" y="57"/>
                  </a:lnTo>
                  <a:lnTo>
                    <a:pt x="91" y="57"/>
                  </a:lnTo>
                  <a:lnTo>
                    <a:pt x="101" y="51"/>
                  </a:lnTo>
                  <a:lnTo>
                    <a:pt x="111" y="44"/>
                  </a:lnTo>
                  <a:lnTo>
                    <a:pt x="122" y="39"/>
                  </a:lnTo>
                  <a:lnTo>
                    <a:pt x="131" y="35"/>
                  </a:lnTo>
                  <a:lnTo>
                    <a:pt x="142" y="30"/>
                  </a:lnTo>
                  <a:lnTo>
                    <a:pt x="154" y="27"/>
                  </a:lnTo>
                  <a:lnTo>
                    <a:pt x="165" y="25"/>
                  </a:lnTo>
                  <a:lnTo>
                    <a:pt x="177" y="23"/>
                  </a:lnTo>
                  <a:lnTo>
                    <a:pt x="177" y="23"/>
                  </a:lnTo>
                  <a:lnTo>
                    <a:pt x="189" y="22"/>
                  </a:lnTo>
                  <a:lnTo>
                    <a:pt x="199" y="22"/>
                  </a:lnTo>
                  <a:lnTo>
                    <a:pt x="211" y="23"/>
                  </a:lnTo>
                  <a:lnTo>
                    <a:pt x="223" y="24"/>
                  </a:lnTo>
                  <a:lnTo>
                    <a:pt x="235" y="26"/>
                  </a:lnTo>
                  <a:lnTo>
                    <a:pt x="246" y="28"/>
                  </a:lnTo>
                  <a:lnTo>
                    <a:pt x="258" y="33"/>
                  </a:lnTo>
                  <a:lnTo>
                    <a:pt x="270" y="37"/>
                  </a:lnTo>
                  <a:lnTo>
                    <a:pt x="270" y="37"/>
                  </a:lnTo>
                  <a:lnTo>
                    <a:pt x="285" y="44"/>
                  </a:lnTo>
                  <a:lnTo>
                    <a:pt x="299" y="52"/>
                  </a:lnTo>
                  <a:lnTo>
                    <a:pt x="312" y="61"/>
                  </a:lnTo>
                  <a:lnTo>
                    <a:pt x="324" y="70"/>
                  </a:lnTo>
                  <a:lnTo>
                    <a:pt x="334" y="81"/>
                  </a:lnTo>
                  <a:lnTo>
                    <a:pt x="344" y="93"/>
                  </a:lnTo>
                  <a:lnTo>
                    <a:pt x="353" y="105"/>
                  </a:lnTo>
                  <a:lnTo>
                    <a:pt x="360" y="118"/>
                  </a:lnTo>
                  <a:lnTo>
                    <a:pt x="360" y="118"/>
                  </a:lnTo>
                  <a:lnTo>
                    <a:pt x="367" y="133"/>
                  </a:lnTo>
                  <a:lnTo>
                    <a:pt x="372" y="148"/>
                  </a:lnTo>
                  <a:lnTo>
                    <a:pt x="375" y="163"/>
                  </a:lnTo>
                  <a:lnTo>
                    <a:pt x="377" y="177"/>
                  </a:lnTo>
                  <a:lnTo>
                    <a:pt x="377" y="192"/>
                  </a:lnTo>
                  <a:lnTo>
                    <a:pt x="374" y="208"/>
                  </a:lnTo>
                  <a:lnTo>
                    <a:pt x="371" y="223"/>
                  </a:lnTo>
                  <a:lnTo>
                    <a:pt x="366" y="238"/>
                  </a:lnTo>
                  <a:lnTo>
                    <a:pt x="366" y="238"/>
                  </a:lnTo>
                  <a:lnTo>
                    <a:pt x="358" y="253"/>
                  </a:lnTo>
                  <a:lnTo>
                    <a:pt x="350" y="266"/>
                  </a:lnTo>
                  <a:lnTo>
                    <a:pt x="340" y="279"/>
                  </a:lnTo>
                  <a:lnTo>
                    <a:pt x="329" y="290"/>
                  </a:lnTo>
                  <a:lnTo>
                    <a:pt x="329" y="290"/>
                  </a:lnTo>
                  <a:lnTo>
                    <a:pt x="317" y="298"/>
                  </a:lnTo>
                  <a:lnTo>
                    <a:pt x="304" y="306"/>
                  </a:lnTo>
                  <a:lnTo>
                    <a:pt x="291" y="312"/>
                  </a:lnTo>
                  <a:lnTo>
                    <a:pt x="277" y="317"/>
                  </a:lnTo>
                  <a:lnTo>
                    <a:pt x="277" y="317"/>
                  </a:lnTo>
                  <a:lnTo>
                    <a:pt x="263" y="319"/>
                  </a:lnTo>
                  <a:lnTo>
                    <a:pt x="251" y="320"/>
                  </a:lnTo>
                  <a:lnTo>
                    <a:pt x="242" y="320"/>
                  </a:lnTo>
                  <a:lnTo>
                    <a:pt x="234" y="318"/>
                  </a:lnTo>
                  <a:lnTo>
                    <a:pt x="234" y="318"/>
                  </a:lnTo>
                  <a:lnTo>
                    <a:pt x="229" y="314"/>
                  </a:lnTo>
                  <a:lnTo>
                    <a:pt x="226" y="310"/>
                  </a:lnTo>
                  <a:lnTo>
                    <a:pt x="226" y="310"/>
                  </a:lnTo>
                  <a:lnTo>
                    <a:pt x="225" y="306"/>
                  </a:lnTo>
                  <a:lnTo>
                    <a:pt x="226" y="300"/>
                  </a:lnTo>
                  <a:lnTo>
                    <a:pt x="226" y="300"/>
                  </a:lnTo>
                  <a:lnTo>
                    <a:pt x="232" y="292"/>
                  </a:lnTo>
                  <a:lnTo>
                    <a:pt x="325" y="148"/>
                  </a:lnTo>
                  <a:lnTo>
                    <a:pt x="299" y="137"/>
                  </a:lnTo>
                  <a:lnTo>
                    <a:pt x="278" y="168"/>
                  </a:lnTo>
                  <a:lnTo>
                    <a:pt x="278" y="168"/>
                  </a:lnTo>
                  <a:lnTo>
                    <a:pt x="276" y="156"/>
                  </a:lnTo>
                  <a:lnTo>
                    <a:pt x="273" y="145"/>
                  </a:lnTo>
                  <a:lnTo>
                    <a:pt x="269" y="136"/>
                  </a:lnTo>
                  <a:lnTo>
                    <a:pt x="263" y="129"/>
                  </a:lnTo>
                  <a:lnTo>
                    <a:pt x="263" y="129"/>
                  </a:lnTo>
                  <a:lnTo>
                    <a:pt x="258" y="122"/>
                  </a:lnTo>
                  <a:lnTo>
                    <a:pt x="250" y="116"/>
                  </a:lnTo>
                  <a:lnTo>
                    <a:pt x="242" y="110"/>
                  </a:lnTo>
                  <a:lnTo>
                    <a:pt x="232" y="106"/>
                  </a:lnTo>
                  <a:lnTo>
                    <a:pt x="232" y="106"/>
                  </a:lnTo>
                  <a:lnTo>
                    <a:pt x="220" y="102"/>
                  </a:lnTo>
                  <a:lnTo>
                    <a:pt x="208" y="98"/>
                  </a:lnTo>
                  <a:lnTo>
                    <a:pt x="197" y="97"/>
                  </a:lnTo>
                  <a:lnTo>
                    <a:pt x="186" y="97"/>
                  </a:lnTo>
                  <a:lnTo>
                    <a:pt x="175" y="98"/>
                  </a:lnTo>
                  <a:lnTo>
                    <a:pt x="164" y="101"/>
                  </a:lnTo>
                  <a:lnTo>
                    <a:pt x="153" y="105"/>
                  </a:lnTo>
                  <a:lnTo>
                    <a:pt x="143" y="109"/>
                  </a:lnTo>
                  <a:lnTo>
                    <a:pt x="143" y="109"/>
                  </a:lnTo>
                  <a:lnTo>
                    <a:pt x="132" y="116"/>
                  </a:lnTo>
                  <a:lnTo>
                    <a:pt x="124" y="122"/>
                  </a:lnTo>
                  <a:lnTo>
                    <a:pt x="115" y="130"/>
                  </a:lnTo>
                  <a:lnTo>
                    <a:pt x="108" y="137"/>
                  </a:lnTo>
                  <a:lnTo>
                    <a:pt x="100" y="146"/>
                  </a:lnTo>
                  <a:lnTo>
                    <a:pt x="94" y="156"/>
                  </a:lnTo>
                  <a:lnTo>
                    <a:pt x="88" y="164"/>
                  </a:lnTo>
                  <a:lnTo>
                    <a:pt x="84" y="175"/>
                  </a:lnTo>
                  <a:lnTo>
                    <a:pt x="84" y="175"/>
                  </a:lnTo>
                  <a:lnTo>
                    <a:pt x="81" y="185"/>
                  </a:lnTo>
                  <a:lnTo>
                    <a:pt x="77" y="195"/>
                  </a:lnTo>
                  <a:lnTo>
                    <a:pt x="75" y="203"/>
                  </a:lnTo>
                  <a:lnTo>
                    <a:pt x="74" y="213"/>
                  </a:lnTo>
                  <a:lnTo>
                    <a:pt x="74" y="222"/>
                  </a:lnTo>
                  <a:lnTo>
                    <a:pt x="75" y="230"/>
                  </a:lnTo>
                  <a:lnTo>
                    <a:pt x="77" y="239"/>
                  </a:lnTo>
                  <a:lnTo>
                    <a:pt x="80" y="246"/>
                  </a:lnTo>
                  <a:lnTo>
                    <a:pt x="80" y="246"/>
                  </a:lnTo>
                  <a:lnTo>
                    <a:pt x="83" y="255"/>
                  </a:lnTo>
                  <a:lnTo>
                    <a:pt x="87" y="263"/>
                  </a:lnTo>
                  <a:lnTo>
                    <a:pt x="93" y="269"/>
                  </a:lnTo>
                  <a:lnTo>
                    <a:pt x="98" y="276"/>
                  </a:lnTo>
                  <a:lnTo>
                    <a:pt x="104" y="281"/>
                  </a:lnTo>
                  <a:lnTo>
                    <a:pt x="111" y="285"/>
                  </a:lnTo>
                  <a:lnTo>
                    <a:pt x="118" y="291"/>
                  </a:lnTo>
                  <a:lnTo>
                    <a:pt x="126" y="294"/>
                  </a:lnTo>
                  <a:lnTo>
                    <a:pt x="126" y="294"/>
                  </a:lnTo>
                  <a:lnTo>
                    <a:pt x="134" y="297"/>
                  </a:lnTo>
                  <a:lnTo>
                    <a:pt x="142" y="298"/>
                  </a:lnTo>
                  <a:lnTo>
                    <a:pt x="150" y="299"/>
                  </a:lnTo>
                  <a:lnTo>
                    <a:pt x="158" y="299"/>
                  </a:lnTo>
                  <a:lnTo>
                    <a:pt x="158" y="299"/>
                  </a:lnTo>
                  <a:lnTo>
                    <a:pt x="167" y="298"/>
                  </a:lnTo>
                  <a:lnTo>
                    <a:pt x="175" y="297"/>
                  </a:lnTo>
                  <a:lnTo>
                    <a:pt x="181" y="295"/>
                  </a:lnTo>
                  <a:lnTo>
                    <a:pt x="188" y="292"/>
                  </a:lnTo>
                  <a:lnTo>
                    <a:pt x="188" y="292"/>
                  </a:lnTo>
                  <a:lnTo>
                    <a:pt x="185" y="298"/>
                  </a:lnTo>
                  <a:lnTo>
                    <a:pt x="184" y="304"/>
                  </a:lnTo>
                  <a:lnTo>
                    <a:pt x="185" y="309"/>
                  </a:lnTo>
                  <a:lnTo>
                    <a:pt x="186" y="313"/>
                  </a:lnTo>
                  <a:lnTo>
                    <a:pt x="186" y="313"/>
                  </a:lnTo>
                  <a:lnTo>
                    <a:pt x="190" y="319"/>
                  </a:lnTo>
                  <a:lnTo>
                    <a:pt x="193" y="323"/>
                  </a:lnTo>
                  <a:lnTo>
                    <a:pt x="198" y="326"/>
                  </a:lnTo>
                  <a:lnTo>
                    <a:pt x="205" y="330"/>
                  </a:lnTo>
                  <a:lnTo>
                    <a:pt x="205" y="330"/>
                  </a:lnTo>
                  <a:lnTo>
                    <a:pt x="216" y="333"/>
                  </a:lnTo>
                  <a:lnTo>
                    <a:pt x="228" y="335"/>
                  </a:lnTo>
                  <a:lnTo>
                    <a:pt x="242" y="336"/>
                  </a:lnTo>
                  <a:lnTo>
                    <a:pt x="257" y="335"/>
                  </a:lnTo>
                  <a:lnTo>
                    <a:pt x="257" y="335"/>
                  </a:lnTo>
                  <a:lnTo>
                    <a:pt x="267" y="334"/>
                  </a:lnTo>
                  <a:lnTo>
                    <a:pt x="277" y="333"/>
                  </a:lnTo>
                  <a:lnTo>
                    <a:pt x="287" y="331"/>
                  </a:lnTo>
                  <a:lnTo>
                    <a:pt x="297" y="327"/>
                  </a:lnTo>
                  <a:lnTo>
                    <a:pt x="306" y="323"/>
                  </a:lnTo>
                  <a:lnTo>
                    <a:pt x="316" y="319"/>
                  </a:lnTo>
                  <a:lnTo>
                    <a:pt x="325" y="314"/>
                  </a:lnTo>
                  <a:lnTo>
                    <a:pt x="333" y="309"/>
                  </a:lnTo>
                  <a:lnTo>
                    <a:pt x="333" y="309"/>
                  </a:lnTo>
                  <a:lnTo>
                    <a:pt x="341" y="303"/>
                  </a:lnTo>
                  <a:lnTo>
                    <a:pt x="350" y="296"/>
                  </a:lnTo>
                  <a:lnTo>
                    <a:pt x="356" y="289"/>
                  </a:lnTo>
                  <a:lnTo>
                    <a:pt x="364" y="280"/>
                  </a:lnTo>
                  <a:lnTo>
                    <a:pt x="370" y="271"/>
                  </a:lnTo>
                  <a:lnTo>
                    <a:pt x="375" y="262"/>
                  </a:lnTo>
                  <a:lnTo>
                    <a:pt x="381" y="252"/>
                  </a:lnTo>
                  <a:lnTo>
                    <a:pt x="386" y="241"/>
                  </a:lnTo>
                  <a:lnTo>
                    <a:pt x="386" y="241"/>
                  </a:lnTo>
                  <a:lnTo>
                    <a:pt x="392" y="226"/>
                  </a:lnTo>
                  <a:lnTo>
                    <a:pt x="395" y="210"/>
                  </a:lnTo>
                  <a:lnTo>
                    <a:pt x="397" y="195"/>
                  </a:lnTo>
                  <a:lnTo>
                    <a:pt x="397" y="178"/>
                  </a:lnTo>
                  <a:lnTo>
                    <a:pt x="396" y="162"/>
                  </a:lnTo>
                  <a:lnTo>
                    <a:pt x="393" y="146"/>
                  </a:lnTo>
                  <a:lnTo>
                    <a:pt x="387" y="130"/>
                  </a:lnTo>
                  <a:lnTo>
                    <a:pt x="381" y="114"/>
                  </a:lnTo>
                  <a:lnTo>
                    <a:pt x="381" y="114"/>
                  </a:lnTo>
                  <a:close/>
                  <a:moveTo>
                    <a:pt x="183" y="275"/>
                  </a:moveTo>
                  <a:lnTo>
                    <a:pt x="183" y="275"/>
                  </a:lnTo>
                  <a:lnTo>
                    <a:pt x="175" y="277"/>
                  </a:lnTo>
                  <a:lnTo>
                    <a:pt x="166" y="277"/>
                  </a:lnTo>
                  <a:lnTo>
                    <a:pt x="157" y="275"/>
                  </a:lnTo>
                  <a:lnTo>
                    <a:pt x="150" y="272"/>
                  </a:lnTo>
                  <a:lnTo>
                    <a:pt x="150" y="272"/>
                  </a:lnTo>
                  <a:lnTo>
                    <a:pt x="138" y="266"/>
                  </a:lnTo>
                  <a:lnTo>
                    <a:pt x="128" y="258"/>
                  </a:lnTo>
                  <a:lnTo>
                    <a:pt x="125" y="254"/>
                  </a:lnTo>
                  <a:lnTo>
                    <a:pt x="122" y="250"/>
                  </a:lnTo>
                  <a:lnTo>
                    <a:pt x="116" y="238"/>
                  </a:lnTo>
                  <a:lnTo>
                    <a:pt x="116" y="238"/>
                  </a:lnTo>
                  <a:lnTo>
                    <a:pt x="114" y="232"/>
                  </a:lnTo>
                  <a:lnTo>
                    <a:pt x="113" y="226"/>
                  </a:lnTo>
                  <a:lnTo>
                    <a:pt x="113" y="219"/>
                  </a:lnTo>
                  <a:lnTo>
                    <a:pt x="113" y="213"/>
                  </a:lnTo>
                  <a:lnTo>
                    <a:pt x="115" y="199"/>
                  </a:lnTo>
                  <a:lnTo>
                    <a:pt x="120" y="185"/>
                  </a:lnTo>
                  <a:lnTo>
                    <a:pt x="120" y="185"/>
                  </a:lnTo>
                  <a:lnTo>
                    <a:pt x="124" y="176"/>
                  </a:lnTo>
                  <a:lnTo>
                    <a:pt x="128" y="169"/>
                  </a:lnTo>
                  <a:lnTo>
                    <a:pt x="132" y="162"/>
                  </a:lnTo>
                  <a:lnTo>
                    <a:pt x="138" y="156"/>
                  </a:lnTo>
                  <a:lnTo>
                    <a:pt x="144" y="149"/>
                  </a:lnTo>
                  <a:lnTo>
                    <a:pt x="151" y="144"/>
                  </a:lnTo>
                  <a:lnTo>
                    <a:pt x="157" y="140"/>
                  </a:lnTo>
                  <a:lnTo>
                    <a:pt x="165" y="135"/>
                  </a:lnTo>
                  <a:lnTo>
                    <a:pt x="165" y="135"/>
                  </a:lnTo>
                  <a:lnTo>
                    <a:pt x="172" y="132"/>
                  </a:lnTo>
                  <a:lnTo>
                    <a:pt x="180" y="130"/>
                  </a:lnTo>
                  <a:lnTo>
                    <a:pt x="188" y="128"/>
                  </a:lnTo>
                  <a:lnTo>
                    <a:pt x="195" y="128"/>
                  </a:lnTo>
                  <a:lnTo>
                    <a:pt x="203" y="128"/>
                  </a:lnTo>
                  <a:lnTo>
                    <a:pt x="209" y="129"/>
                  </a:lnTo>
                  <a:lnTo>
                    <a:pt x="217" y="130"/>
                  </a:lnTo>
                  <a:lnTo>
                    <a:pt x="224" y="133"/>
                  </a:lnTo>
                  <a:lnTo>
                    <a:pt x="224" y="133"/>
                  </a:lnTo>
                  <a:lnTo>
                    <a:pt x="234" y="137"/>
                  </a:lnTo>
                  <a:lnTo>
                    <a:pt x="242" y="145"/>
                  </a:lnTo>
                  <a:lnTo>
                    <a:pt x="248" y="152"/>
                  </a:lnTo>
                  <a:lnTo>
                    <a:pt x="252" y="162"/>
                  </a:lnTo>
                  <a:lnTo>
                    <a:pt x="252" y="162"/>
                  </a:lnTo>
                  <a:lnTo>
                    <a:pt x="255" y="173"/>
                  </a:lnTo>
                  <a:lnTo>
                    <a:pt x="256" y="184"/>
                  </a:lnTo>
                  <a:lnTo>
                    <a:pt x="253" y="195"/>
                  </a:lnTo>
                  <a:lnTo>
                    <a:pt x="249" y="206"/>
                  </a:lnTo>
                  <a:lnTo>
                    <a:pt x="249" y="206"/>
                  </a:lnTo>
                  <a:lnTo>
                    <a:pt x="244" y="219"/>
                  </a:lnTo>
                  <a:lnTo>
                    <a:pt x="236" y="231"/>
                  </a:lnTo>
                  <a:lnTo>
                    <a:pt x="228" y="243"/>
                  </a:lnTo>
                  <a:lnTo>
                    <a:pt x="217" y="254"/>
                  </a:lnTo>
                  <a:lnTo>
                    <a:pt x="217" y="254"/>
                  </a:lnTo>
                  <a:lnTo>
                    <a:pt x="209" y="262"/>
                  </a:lnTo>
                  <a:lnTo>
                    <a:pt x="201" y="268"/>
                  </a:lnTo>
                  <a:lnTo>
                    <a:pt x="192" y="272"/>
                  </a:lnTo>
                  <a:lnTo>
                    <a:pt x="183" y="275"/>
                  </a:lnTo>
                  <a:lnTo>
                    <a:pt x="183" y="275"/>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nvGrpSpPr>
            <p:cNvPr id="463" name="Group 462"/>
            <p:cNvGrpSpPr/>
            <p:nvPr/>
          </p:nvGrpSpPr>
          <p:grpSpPr>
            <a:xfrm>
              <a:off x="5791338" y="4585373"/>
              <a:ext cx="194389" cy="195718"/>
              <a:chOff x="5761997" y="4510638"/>
              <a:chExt cx="171550" cy="172723"/>
            </a:xfrm>
          </p:grpSpPr>
          <p:sp>
            <p:nvSpPr>
              <p:cNvPr id="798" name="Freeform 797"/>
              <p:cNvSpPr>
                <a:spLocks noEditPoints="1"/>
              </p:cNvSpPr>
              <p:nvPr/>
            </p:nvSpPr>
            <p:spPr bwMode="auto">
              <a:xfrm>
                <a:off x="5761997" y="4510638"/>
                <a:ext cx="171550" cy="172723"/>
              </a:xfrm>
              <a:custGeom>
                <a:avLst/>
                <a:gdLst>
                  <a:gd name="T0" fmla="*/ 204 w 451"/>
                  <a:gd name="T1" fmla="*/ 14 h 463"/>
                  <a:gd name="T2" fmla="*/ 163 w 451"/>
                  <a:gd name="T3" fmla="*/ 22 h 463"/>
                  <a:gd name="T4" fmla="*/ 125 w 451"/>
                  <a:gd name="T5" fmla="*/ 37 h 463"/>
                  <a:gd name="T6" fmla="*/ 105 w 451"/>
                  <a:gd name="T7" fmla="*/ 34 h 463"/>
                  <a:gd name="T8" fmla="*/ 73 w 451"/>
                  <a:gd name="T9" fmla="*/ 14 h 463"/>
                  <a:gd name="T10" fmla="*/ 39 w 451"/>
                  <a:gd name="T11" fmla="*/ 2 h 463"/>
                  <a:gd name="T12" fmla="*/ 34 w 451"/>
                  <a:gd name="T13" fmla="*/ 7 h 463"/>
                  <a:gd name="T14" fmla="*/ 51 w 451"/>
                  <a:gd name="T15" fmla="*/ 31 h 463"/>
                  <a:gd name="T16" fmla="*/ 68 w 451"/>
                  <a:gd name="T17" fmla="*/ 78 h 463"/>
                  <a:gd name="T18" fmla="*/ 39 w 451"/>
                  <a:gd name="T19" fmla="*/ 112 h 463"/>
                  <a:gd name="T20" fmla="*/ 10 w 451"/>
                  <a:gd name="T21" fmla="*/ 175 h 463"/>
                  <a:gd name="T22" fmla="*/ 0 w 451"/>
                  <a:gd name="T23" fmla="*/ 233 h 463"/>
                  <a:gd name="T24" fmla="*/ 2 w 451"/>
                  <a:gd name="T25" fmla="*/ 269 h 463"/>
                  <a:gd name="T26" fmla="*/ 20 w 451"/>
                  <a:gd name="T27" fmla="*/ 333 h 463"/>
                  <a:gd name="T28" fmla="*/ 56 w 451"/>
                  <a:gd name="T29" fmla="*/ 388 h 463"/>
                  <a:gd name="T30" fmla="*/ 106 w 451"/>
                  <a:gd name="T31" fmla="*/ 430 h 463"/>
                  <a:gd name="T32" fmla="*/ 166 w 451"/>
                  <a:gd name="T33" fmla="*/ 456 h 463"/>
                  <a:gd name="T34" fmla="*/ 233 w 451"/>
                  <a:gd name="T35" fmla="*/ 463 h 463"/>
                  <a:gd name="T36" fmla="*/ 278 w 451"/>
                  <a:gd name="T37" fmla="*/ 458 h 463"/>
                  <a:gd name="T38" fmla="*/ 340 w 451"/>
                  <a:gd name="T39" fmla="*/ 433 h 463"/>
                  <a:gd name="T40" fmla="*/ 390 w 451"/>
                  <a:gd name="T41" fmla="*/ 392 h 463"/>
                  <a:gd name="T42" fmla="*/ 427 w 451"/>
                  <a:gd name="T43" fmla="*/ 339 h 463"/>
                  <a:gd name="T44" fmla="*/ 448 w 451"/>
                  <a:gd name="T45" fmla="*/ 276 h 463"/>
                  <a:gd name="T46" fmla="*/ 451 w 451"/>
                  <a:gd name="T47" fmla="*/ 231 h 463"/>
                  <a:gd name="T48" fmla="*/ 438 w 451"/>
                  <a:gd name="T49" fmla="*/ 164 h 463"/>
                  <a:gd name="T50" fmla="*/ 408 w 451"/>
                  <a:gd name="T51" fmla="*/ 106 h 463"/>
                  <a:gd name="T52" fmla="*/ 363 w 451"/>
                  <a:gd name="T53" fmla="*/ 59 h 463"/>
                  <a:gd name="T54" fmla="*/ 307 w 451"/>
                  <a:gd name="T55" fmla="*/ 28 h 463"/>
                  <a:gd name="T56" fmla="*/ 241 w 451"/>
                  <a:gd name="T57" fmla="*/ 14 h 463"/>
                  <a:gd name="T58" fmla="*/ 231 w 451"/>
                  <a:gd name="T59" fmla="*/ 387 h 463"/>
                  <a:gd name="T60" fmla="*/ 201 w 451"/>
                  <a:gd name="T61" fmla="*/ 384 h 463"/>
                  <a:gd name="T62" fmla="*/ 161 w 451"/>
                  <a:gd name="T63" fmla="*/ 371 h 463"/>
                  <a:gd name="T64" fmla="*/ 126 w 451"/>
                  <a:gd name="T65" fmla="*/ 348 h 463"/>
                  <a:gd name="T66" fmla="*/ 100 w 451"/>
                  <a:gd name="T67" fmla="*/ 315 h 463"/>
                  <a:gd name="T68" fmla="*/ 84 w 451"/>
                  <a:gd name="T69" fmla="*/ 275 h 463"/>
                  <a:gd name="T70" fmla="*/ 80 w 451"/>
                  <a:gd name="T71" fmla="*/ 246 h 463"/>
                  <a:gd name="T72" fmla="*/ 85 w 451"/>
                  <a:gd name="T73" fmla="*/ 203 h 463"/>
                  <a:gd name="T74" fmla="*/ 102 w 451"/>
                  <a:gd name="T75" fmla="*/ 164 h 463"/>
                  <a:gd name="T76" fmla="*/ 129 w 451"/>
                  <a:gd name="T77" fmla="*/ 133 h 463"/>
                  <a:gd name="T78" fmla="*/ 164 w 451"/>
                  <a:gd name="T79" fmla="*/ 109 h 463"/>
                  <a:gd name="T80" fmla="*/ 206 w 451"/>
                  <a:gd name="T81" fmla="*/ 97 h 463"/>
                  <a:gd name="T82" fmla="*/ 235 w 451"/>
                  <a:gd name="T83" fmla="*/ 96 h 463"/>
                  <a:gd name="T84" fmla="*/ 277 w 451"/>
                  <a:gd name="T85" fmla="*/ 106 h 463"/>
                  <a:gd name="T86" fmla="*/ 314 w 451"/>
                  <a:gd name="T87" fmla="*/ 126 h 463"/>
                  <a:gd name="T88" fmla="*/ 343 w 451"/>
                  <a:gd name="T89" fmla="*/ 157 h 463"/>
                  <a:gd name="T90" fmla="*/ 363 w 451"/>
                  <a:gd name="T91" fmla="*/ 193 h 463"/>
                  <a:gd name="T92" fmla="*/ 371 w 451"/>
                  <a:gd name="T93" fmla="*/ 236 h 463"/>
                  <a:gd name="T94" fmla="*/ 369 w 451"/>
                  <a:gd name="T95" fmla="*/ 266 h 463"/>
                  <a:gd name="T96" fmla="*/ 356 w 451"/>
                  <a:gd name="T97" fmla="*/ 307 h 463"/>
                  <a:gd name="T98" fmla="*/ 331 w 451"/>
                  <a:gd name="T99" fmla="*/ 341 h 463"/>
                  <a:gd name="T100" fmla="*/ 299 w 451"/>
                  <a:gd name="T101" fmla="*/ 367 h 463"/>
                  <a:gd name="T102" fmla="*/ 260 w 451"/>
                  <a:gd name="T103" fmla="*/ 383 h 463"/>
                  <a:gd name="T104" fmla="*/ 231 w 451"/>
                  <a:gd name="T105" fmla="*/ 387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1" h="463">
                    <a:moveTo>
                      <a:pt x="218" y="13"/>
                    </a:moveTo>
                    <a:lnTo>
                      <a:pt x="218" y="13"/>
                    </a:lnTo>
                    <a:lnTo>
                      <a:pt x="204" y="14"/>
                    </a:lnTo>
                    <a:lnTo>
                      <a:pt x="190" y="16"/>
                    </a:lnTo>
                    <a:lnTo>
                      <a:pt x="176" y="18"/>
                    </a:lnTo>
                    <a:lnTo>
                      <a:pt x="163" y="22"/>
                    </a:lnTo>
                    <a:lnTo>
                      <a:pt x="150" y="26"/>
                    </a:lnTo>
                    <a:lnTo>
                      <a:pt x="137" y="31"/>
                    </a:lnTo>
                    <a:lnTo>
                      <a:pt x="125" y="37"/>
                    </a:lnTo>
                    <a:lnTo>
                      <a:pt x="113" y="43"/>
                    </a:lnTo>
                    <a:lnTo>
                      <a:pt x="113" y="43"/>
                    </a:lnTo>
                    <a:lnTo>
                      <a:pt x="105" y="34"/>
                    </a:lnTo>
                    <a:lnTo>
                      <a:pt x="95" y="26"/>
                    </a:lnTo>
                    <a:lnTo>
                      <a:pt x="84" y="19"/>
                    </a:lnTo>
                    <a:lnTo>
                      <a:pt x="73" y="14"/>
                    </a:lnTo>
                    <a:lnTo>
                      <a:pt x="62" y="9"/>
                    </a:lnTo>
                    <a:lnTo>
                      <a:pt x="51" y="5"/>
                    </a:lnTo>
                    <a:lnTo>
                      <a:pt x="39" y="2"/>
                    </a:lnTo>
                    <a:lnTo>
                      <a:pt x="27" y="0"/>
                    </a:lnTo>
                    <a:lnTo>
                      <a:pt x="27" y="0"/>
                    </a:lnTo>
                    <a:lnTo>
                      <a:pt x="34" y="7"/>
                    </a:lnTo>
                    <a:lnTo>
                      <a:pt x="41" y="16"/>
                    </a:lnTo>
                    <a:lnTo>
                      <a:pt x="41" y="16"/>
                    </a:lnTo>
                    <a:lnTo>
                      <a:pt x="51" y="31"/>
                    </a:lnTo>
                    <a:lnTo>
                      <a:pt x="58" y="45"/>
                    </a:lnTo>
                    <a:lnTo>
                      <a:pt x="64" y="61"/>
                    </a:lnTo>
                    <a:lnTo>
                      <a:pt x="68" y="78"/>
                    </a:lnTo>
                    <a:lnTo>
                      <a:pt x="68" y="78"/>
                    </a:lnTo>
                    <a:lnTo>
                      <a:pt x="53" y="94"/>
                    </a:lnTo>
                    <a:lnTo>
                      <a:pt x="39" y="112"/>
                    </a:lnTo>
                    <a:lnTo>
                      <a:pt x="27" y="132"/>
                    </a:lnTo>
                    <a:lnTo>
                      <a:pt x="17" y="153"/>
                    </a:lnTo>
                    <a:lnTo>
                      <a:pt x="10" y="175"/>
                    </a:lnTo>
                    <a:lnTo>
                      <a:pt x="4" y="198"/>
                    </a:lnTo>
                    <a:lnTo>
                      <a:pt x="1" y="221"/>
                    </a:lnTo>
                    <a:lnTo>
                      <a:pt x="0" y="233"/>
                    </a:lnTo>
                    <a:lnTo>
                      <a:pt x="0" y="246"/>
                    </a:lnTo>
                    <a:lnTo>
                      <a:pt x="0" y="246"/>
                    </a:lnTo>
                    <a:lnTo>
                      <a:pt x="2" y="269"/>
                    </a:lnTo>
                    <a:lnTo>
                      <a:pt x="6" y="292"/>
                    </a:lnTo>
                    <a:lnTo>
                      <a:pt x="13" y="313"/>
                    </a:lnTo>
                    <a:lnTo>
                      <a:pt x="20" y="333"/>
                    </a:lnTo>
                    <a:lnTo>
                      <a:pt x="31" y="352"/>
                    </a:lnTo>
                    <a:lnTo>
                      <a:pt x="43" y="370"/>
                    </a:lnTo>
                    <a:lnTo>
                      <a:pt x="56" y="388"/>
                    </a:lnTo>
                    <a:lnTo>
                      <a:pt x="71" y="403"/>
                    </a:lnTo>
                    <a:lnTo>
                      <a:pt x="88" y="417"/>
                    </a:lnTo>
                    <a:lnTo>
                      <a:pt x="106" y="430"/>
                    </a:lnTo>
                    <a:lnTo>
                      <a:pt x="125" y="441"/>
                    </a:lnTo>
                    <a:lnTo>
                      <a:pt x="145" y="449"/>
                    </a:lnTo>
                    <a:lnTo>
                      <a:pt x="166" y="456"/>
                    </a:lnTo>
                    <a:lnTo>
                      <a:pt x="188" y="461"/>
                    </a:lnTo>
                    <a:lnTo>
                      <a:pt x="210" y="463"/>
                    </a:lnTo>
                    <a:lnTo>
                      <a:pt x="233" y="463"/>
                    </a:lnTo>
                    <a:lnTo>
                      <a:pt x="233" y="463"/>
                    </a:lnTo>
                    <a:lnTo>
                      <a:pt x="256" y="462"/>
                    </a:lnTo>
                    <a:lnTo>
                      <a:pt x="278" y="458"/>
                    </a:lnTo>
                    <a:lnTo>
                      <a:pt x="300" y="451"/>
                    </a:lnTo>
                    <a:lnTo>
                      <a:pt x="321" y="443"/>
                    </a:lnTo>
                    <a:lnTo>
                      <a:pt x="340" y="433"/>
                    </a:lnTo>
                    <a:lnTo>
                      <a:pt x="357" y="421"/>
                    </a:lnTo>
                    <a:lnTo>
                      <a:pt x="375" y="407"/>
                    </a:lnTo>
                    <a:lnTo>
                      <a:pt x="390" y="392"/>
                    </a:lnTo>
                    <a:lnTo>
                      <a:pt x="404" y="376"/>
                    </a:lnTo>
                    <a:lnTo>
                      <a:pt x="417" y="358"/>
                    </a:lnTo>
                    <a:lnTo>
                      <a:pt x="427" y="339"/>
                    </a:lnTo>
                    <a:lnTo>
                      <a:pt x="436" y="320"/>
                    </a:lnTo>
                    <a:lnTo>
                      <a:pt x="443" y="298"/>
                    </a:lnTo>
                    <a:lnTo>
                      <a:pt x="448" y="276"/>
                    </a:lnTo>
                    <a:lnTo>
                      <a:pt x="450" y="254"/>
                    </a:lnTo>
                    <a:lnTo>
                      <a:pt x="451" y="231"/>
                    </a:lnTo>
                    <a:lnTo>
                      <a:pt x="451" y="231"/>
                    </a:lnTo>
                    <a:lnTo>
                      <a:pt x="449" y="207"/>
                    </a:lnTo>
                    <a:lnTo>
                      <a:pt x="445" y="186"/>
                    </a:lnTo>
                    <a:lnTo>
                      <a:pt x="438" y="164"/>
                    </a:lnTo>
                    <a:lnTo>
                      <a:pt x="430" y="144"/>
                    </a:lnTo>
                    <a:lnTo>
                      <a:pt x="420" y="124"/>
                    </a:lnTo>
                    <a:lnTo>
                      <a:pt x="408" y="106"/>
                    </a:lnTo>
                    <a:lnTo>
                      <a:pt x="394" y="90"/>
                    </a:lnTo>
                    <a:lnTo>
                      <a:pt x="379" y="73"/>
                    </a:lnTo>
                    <a:lnTo>
                      <a:pt x="363" y="59"/>
                    </a:lnTo>
                    <a:lnTo>
                      <a:pt x="345" y="47"/>
                    </a:lnTo>
                    <a:lnTo>
                      <a:pt x="326" y="37"/>
                    </a:lnTo>
                    <a:lnTo>
                      <a:pt x="307" y="28"/>
                    </a:lnTo>
                    <a:lnTo>
                      <a:pt x="285" y="20"/>
                    </a:lnTo>
                    <a:lnTo>
                      <a:pt x="263" y="16"/>
                    </a:lnTo>
                    <a:lnTo>
                      <a:pt x="241" y="14"/>
                    </a:lnTo>
                    <a:lnTo>
                      <a:pt x="218" y="13"/>
                    </a:lnTo>
                    <a:lnTo>
                      <a:pt x="218" y="13"/>
                    </a:lnTo>
                    <a:close/>
                    <a:moveTo>
                      <a:pt x="231" y="387"/>
                    </a:moveTo>
                    <a:lnTo>
                      <a:pt x="231" y="387"/>
                    </a:lnTo>
                    <a:lnTo>
                      <a:pt x="216" y="387"/>
                    </a:lnTo>
                    <a:lnTo>
                      <a:pt x="201" y="384"/>
                    </a:lnTo>
                    <a:lnTo>
                      <a:pt x="187" y="382"/>
                    </a:lnTo>
                    <a:lnTo>
                      <a:pt x="174" y="377"/>
                    </a:lnTo>
                    <a:lnTo>
                      <a:pt x="161" y="371"/>
                    </a:lnTo>
                    <a:lnTo>
                      <a:pt x="148" y="365"/>
                    </a:lnTo>
                    <a:lnTo>
                      <a:pt x="137" y="356"/>
                    </a:lnTo>
                    <a:lnTo>
                      <a:pt x="126" y="348"/>
                    </a:lnTo>
                    <a:lnTo>
                      <a:pt x="116" y="338"/>
                    </a:lnTo>
                    <a:lnTo>
                      <a:pt x="108" y="327"/>
                    </a:lnTo>
                    <a:lnTo>
                      <a:pt x="100" y="315"/>
                    </a:lnTo>
                    <a:lnTo>
                      <a:pt x="94" y="302"/>
                    </a:lnTo>
                    <a:lnTo>
                      <a:pt x="88" y="289"/>
                    </a:lnTo>
                    <a:lnTo>
                      <a:pt x="84" y="275"/>
                    </a:lnTo>
                    <a:lnTo>
                      <a:pt x="82" y="261"/>
                    </a:lnTo>
                    <a:lnTo>
                      <a:pt x="80" y="246"/>
                    </a:lnTo>
                    <a:lnTo>
                      <a:pt x="80" y="246"/>
                    </a:lnTo>
                    <a:lnTo>
                      <a:pt x="81" y="231"/>
                    </a:lnTo>
                    <a:lnTo>
                      <a:pt x="82" y="217"/>
                    </a:lnTo>
                    <a:lnTo>
                      <a:pt x="85" y="203"/>
                    </a:lnTo>
                    <a:lnTo>
                      <a:pt x="89" y="189"/>
                    </a:lnTo>
                    <a:lnTo>
                      <a:pt x="95" y="176"/>
                    </a:lnTo>
                    <a:lnTo>
                      <a:pt x="102" y="164"/>
                    </a:lnTo>
                    <a:lnTo>
                      <a:pt x="110" y="152"/>
                    </a:lnTo>
                    <a:lnTo>
                      <a:pt x="120" y="142"/>
                    </a:lnTo>
                    <a:lnTo>
                      <a:pt x="129" y="133"/>
                    </a:lnTo>
                    <a:lnTo>
                      <a:pt x="140" y="123"/>
                    </a:lnTo>
                    <a:lnTo>
                      <a:pt x="152" y="115"/>
                    </a:lnTo>
                    <a:lnTo>
                      <a:pt x="164" y="109"/>
                    </a:lnTo>
                    <a:lnTo>
                      <a:pt x="178" y="104"/>
                    </a:lnTo>
                    <a:lnTo>
                      <a:pt x="191" y="100"/>
                    </a:lnTo>
                    <a:lnTo>
                      <a:pt x="206" y="97"/>
                    </a:lnTo>
                    <a:lnTo>
                      <a:pt x="220" y="96"/>
                    </a:lnTo>
                    <a:lnTo>
                      <a:pt x="220" y="96"/>
                    </a:lnTo>
                    <a:lnTo>
                      <a:pt x="235" y="96"/>
                    </a:lnTo>
                    <a:lnTo>
                      <a:pt x="250" y="98"/>
                    </a:lnTo>
                    <a:lnTo>
                      <a:pt x="264" y="101"/>
                    </a:lnTo>
                    <a:lnTo>
                      <a:pt x="277" y="106"/>
                    </a:lnTo>
                    <a:lnTo>
                      <a:pt x="290" y="111"/>
                    </a:lnTo>
                    <a:lnTo>
                      <a:pt x="303" y="118"/>
                    </a:lnTo>
                    <a:lnTo>
                      <a:pt x="314" y="126"/>
                    </a:lnTo>
                    <a:lnTo>
                      <a:pt x="325" y="135"/>
                    </a:lnTo>
                    <a:lnTo>
                      <a:pt x="335" y="145"/>
                    </a:lnTo>
                    <a:lnTo>
                      <a:pt x="343" y="157"/>
                    </a:lnTo>
                    <a:lnTo>
                      <a:pt x="351" y="167"/>
                    </a:lnTo>
                    <a:lnTo>
                      <a:pt x="357" y="180"/>
                    </a:lnTo>
                    <a:lnTo>
                      <a:pt x="363" y="193"/>
                    </a:lnTo>
                    <a:lnTo>
                      <a:pt x="367" y="207"/>
                    </a:lnTo>
                    <a:lnTo>
                      <a:pt x="370" y="221"/>
                    </a:lnTo>
                    <a:lnTo>
                      <a:pt x="371" y="236"/>
                    </a:lnTo>
                    <a:lnTo>
                      <a:pt x="371" y="236"/>
                    </a:lnTo>
                    <a:lnTo>
                      <a:pt x="370" y="252"/>
                    </a:lnTo>
                    <a:lnTo>
                      <a:pt x="369" y="266"/>
                    </a:lnTo>
                    <a:lnTo>
                      <a:pt x="366" y="280"/>
                    </a:lnTo>
                    <a:lnTo>
                      <a:pt x="362" y="294"/>
                    </a:lnTo>
                    <a:lnTo>
                      <a:pt x="356" y="307"/>
                    </a:lnTo>
                    <a:lnTo>
                      <a:pt x="349" y="319"/>
                    </a:lnTo>
                    <a:lnTo>
                      <a:pt x="341" y="330"/>
                    </a:lnTo>
                    <a:lnTo>
                      <a:pt x="331" y="341"/>
                    </a:lnTo>
                    <a:lnTo>
                      <a:pt x="322" y="351"/>
                    </a:lnTo>
                    <a:lnTo>
                      <a:pt x="311" y="360"/>
                    </a:lnTo>
                    <a:lnTo>
                      <a:pt x="299" y="367"/>
                    </a:lnTo>
                    <a:lnTo>
                      <a:pt x="287" y="374"/>
                    </a:lnTo>
                    <a:lnTo>
                      <a:pt x="273" y="379"/>
                    </a:lnTo>
                    <a:lnTo>
                      <a:pt x="260" y="383"/>
                    </a:lnTo>
                    <a:lnTo>
                      <a:pt x="245" y="385"/>
                    </a:lnTo>
                    <a:lnTo>
                      <a:pt x="231" y="387"/>
                    </a:lnTo>
                    <a:lnTo>
                      <a:pt x="231" y="387"/>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99" name="Freeform 798"/>
              <p:cNvSpPr>
                <a:spLocks/>
              </p:cNvSpPr>
              <p:nvPr/>
            </p:nvSpPr>
            <p:spPr bwMode="auto">
              <a:xfrm>
                <a:off x="5836385" y="4559775"/>
                <a:ext cx="19736" cy="17868"/>
              </a:xfrm>
              <a:custGeom>
                <a:avLst/>
                <a:gdLst>
                  <a:gd name="T0" fmla="*/ 26 w 53"/>
                  <a:gd name="T1" fmla="*/ 0 h 49"/>
                  <a:gd name="T2" fmla="*/ 26 w 53"/>
                  <a:gd name="T3" fmla="*/ 0 h 49"/>
                  <a:gd name="T4" fmla="*/ 20 w 53"/>
                  <a:gd name="T5" fmla="*/ 1 h 49"/>
                  <a:gd name="T6" fmla="*/ 14 w 53"/>
                  <a:gd name="T7" fmla="*/ 2 h 49"/>
                  <a:gd name="T8" fmla="*/ 10 w 53"/>
                  <a:gd name="T9" fmla="*/ 4 h 49"/>
                  <a:gd name="T10" fmla="*/ 7 w 53"/>
                  <a:gd name="T11" fmla="*/ 7 h 49"/>
                  <a:gd name="T12" fmla="*/ 4 w 53"/>
                  <a:gd name="T13" fmla="*/ 12 h 49"/>
                  <a:gd name="T14" fmla="*/ 1 w 53"/>
                  <a:gd name="T15" fmla="*/ 16 h 49"/>
                  <a:gd name="T16" fmla="*/ 0 w 53"/>
                  <a:gd name="T17" fmla="*/ 20 h 49"/>
                  <a:gd name="T18" fmla="*/ 0 w 53"/>
                  <a:gd name="T19" fmla="*/ 26 h 49"/>
                  <a:gd name="T20" fmla="*/ 0 w 53"/>
                  <a:gd name="T21" fmla="*/ 26 h 49"/>
                  <a:gd name="T22" fmla="*/ 0 w 53"/>
                  <a:gd name="T23" fmla="*/ 31 h 49"/>
                  <a:gd name="T24" fmla="*/ 3 w 53"/>
                  <a:gd name="T25" fmla="*/ 35 h 49"/>
                  <a:gd name="T26" fmla="*/ 5 w 53"/>
                  <a:gd name="T27" fmla="*/ 40 h 49"/>
                  <a:gd name="T28" fmla="*/ 8 w 53"/>
                  <a:gd name="T29" fmla="*/ 43 h 49"/>
                  <a:gd name="T30" fmla="*/ 11 w 53"/>
                  <a:gd name="T31" fmla="*/ 46 h 49"/>
                  <a:gd name="T32" fmla="*/ 17 w 53"/>
                  <a:gd name="T33" fmla="*/ 48 h 49"/>
                  <a:gd name="T34" fmla="*/ 22 w 53"/>
                  <a:gd name="T35" fmla="*/ 49 h 49"/>
                  <a:gd name="T36" fmla="*/ 27 w 53"/>
                  <a:gd name="T37" fmla="*/ 49 h 49"/>
                  <a:gd name="T38" fmla="*/ 27 w 53"/>
                  <a:gd name="T39" fmla="*/ 49 h 49"/>
                  <a:gd name="T40" fmla="*/ 33 w 53"/>
                  <a:gd name="T41" fmla="*/ 48 h 49"/>
                  <a:gd name="T42" fmla="*/ 38 w 53"/>
                  <a:gd name="T43" fmla="*/ 47 h 49"/>
                  <a:gd name="T44" fmla="*/ 42 w 53"/>
                  <a:gd name="T45" fmla="*/ 45 h 49"/>
                  <a:gd name="T46" fmla="*/ 47 w 53"/>
                  <a:gd name="T47" fmla="*/ 42 h 49"/>
                  <a:gd name="T48" fmla="*/ 50 w 53"/>
                  <a:gd name="T49" fmla="*/ 37 h 49"/>
                  <a:gd name="T50" fmla="*/ 52 w 53"/>
                  <a:gd name="T51" fmla="*/ 33 h 49"/>
                  <a:gd name="T52" fmla="*/ 53 w 53"/>
                  <a:gd name="T53" fmla="*/ 29 h 49"/>
                  <a:gd name="T54" fmla="*/ 53 w 53"/>
                  <a:gd name="T55" fmla="*/ 23 h 49"/>
                  <a:gd name="T56" fmla="*/ 53 w 53"/>
                  <a:gd name="T57" fmla="*/ 23 h 49"/>
                  <a:gd name="T58" fmla="*/ 52 w 53"/>
                  <a:gd name="T59" fmla="*/ 18 h 49"/>
                  <a:gd name="T60" fmla="*/ 51 w 53"/>
                  <a:gd name="T61" fmla="*/ 14 h 49"/>
                  <a:gd name="T62" fmla="*/ 49 w 53"/>
                  <a:gd name="T63" fmla="*/ 9 h 49"/>
                  <a:gd name="T64" fmla="*/ 46 w 53"/>
                  <a:gd name="T65" fmla="*/ 6 h 49"/>
                  <a:gd name="T66" fmla="*/ 41 w 53"/>
                  <a:gd name="T67" fmla="*/ 4 h 49"/>
                  <a:gd name="T68" fmla="*/ 37 w 53"/>
                  <a:gd name="T69" fmla="*/ 2 h 49"/>
                  <a:gd name="T70" fmla="*/ 32 w 53"/>
                  <a:gd name="T71" fmla="*/ 1 h 49"/>
                  <a:gd name="T72" fmla="*/ 26 w 53"/>
                  <a:gd name="T73" fmla="*/ 0 h 49"/>
                  <a:gd name="T74" fmla="*/ 26 w 53"/>
                  <a:gd name="T7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 h="49">
                    <a:moveTo>
                      <a:pt x="26" y="0"/>
                    </a:moveTo>
                    <a:lnTo>
                      <a:pt x="26" y="0"/>
                    </a:lnTo>
                    <a:lnTo>
                      <a:pt x="20" y="1"/>
                    </a:lnTo>
                    <a:lnTo>
                      <a:pt x="14" y="2"/>
                    </a:lnTo>
                    <a:lnTo>
                      <a:pt x="10" y="4"/>
                    </a:lnTo>
                    <a:lnTo>
                      <a:pt x="7" y="7"/>
                    </a:lnTo>
                    <a:lnTo>
                      <a:pt x="4" y="12"/>
                    </a:lnTo>
                    <a:lnTo>
                      <a:pt x="1" y="16"/>
                    </a:lnTo>
                    <a:lnTo>
                      <a:pt x="0" y="20"/>
                    </a:lnTo>
                    <a:lnTo>
                      <a:pt x="0" y="26"/>
                    </a:lnTo>
                    <a:lnTo>
                      <a:pt x="0" y="26"/>
                    </a:lnTo>
                    <a:lnTo>
                      <a:pt x="0" y="31"/>
                    </a:lnTo>
                    <a:lnTo>
                      <a:pt x="3" y="35"/>
                    </a:lnTo>
                    <a:lnTo>
                      <a:pt x="5" y="40"/>
                    </a:lnTo>
                    <a:lnTo>
                      <a:pt x="8" y="43"/>
                    </a:lnTo>
                    <a:lnTo>
                      <a:pt x="11" y="46"/>
                    </a:lnTo>
                    <a:lnTo>
                      <a:pt x="17" y="48"/>
                    </a:lnTo>
                    <a:lnTo>
                      <a:pt x="22" y="49"/>
                    </a:lnTo>
                    <a:lnTo>
                      <a:pt x="27" y="49"/>
                    </a:lnTo>
                    <a:lnTo>
                      <a:pt x="27" y="49"/>
                    </a:lnTo>
                    <a:lnTo>
                      <a:pt x="33" y="48"/>
                    </a:lnTo>
                    <a:lnTo>
                      <a:pt x="38" y="47"/>
                    </a:lnTo>
                    <a:lnTo>
                      <a:pt x="42" y="45"/>
                    </a:lnTo>
                    <a:lnTo>
                      <a:pt x="47" y="42"/>
                    </a:lnTo>
                    <a:lnTo>
                      <a:pt x="50" y="37"/>
                    </a:lnTo>
                    <a:lnTo>
                      <a:pt x="52" y="33"/>
                    </a:lnTo>
                    <a:lnTo>
                      <a:pt x="53" y="29"/>
                    </a:lnTo>
                    <a:lnTo>
                      <a:pt x="53" y="23"/>
                    </a:lnTo>
                    <a:lnTo>
                      <a:pt x="53" y="23"/>
                    </a:lnTo>
                    <a:lnTo>
                      <a:pt x="52" y="18"/>
                    </a:lnTo>
                    <a:lnTo>
                      <a:pt x="51" y="14"/>
                    </a:lnTo>
                    <a:lnTo>
                      <a:pt x="49" y="9"/>
                    </a:lnTo>
                    <a:lnTo>
                      <a:pt x="46" y="6"/>
                    </a:lnTo>
                    <a:lnTo>
                      <a:pt x="41" y="4"/>
                    </a:lnTo>
                    <a:lnTo>
                      <a:pt x="37" y="2"/>
                    </a:lnTo>
                    <a:lnTo>
                      <a:pt x="32" y="1"/>
                    </a:lnTo>
                    <a:lnTo>
                      <a:pt x="26" y="0"/>
                    </a:lnTo>
                    <a:lnTo>
                      <a:pt x="26" y="0"/>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800" name="Freeform 799"/>
              <p:cNvSpPr>
                <a:spLocks/>
              </p:cNvSpPr>
              <p:nvPr/>
            </p:nvSpPr>
            <p:spPr bwMode="auto">
              <a:xfrm>
                <a:off x="5836385" y="4585089"/>
                <a:ext cx="21254" cy="53603"/>
              </a:xfrm>
              <a:custGeom>
                <a:avLst/>
                <a:gdLst>
                  <a:gd name="T0" fmla="*/ 4 w 56"/>
                  <a:gd name="T1" fmla="*/ 145 h 145"/>
                  <a:gd name="T2" fmla="*/ 56 w 56"/>
                  <a:gd name="T3" fmla="*/ 142 h 145"/>
                  <a:gd name="T4" fmla="*/ 51 w 56"/>
                  <a:gd name="T5" fmla="*/ 0 h 145"/>
                  <a:gd name="T6" fmla="*/ 0 w 56"/>
                  <a:gd name="T7" fmla="*/ 2 h 145"/>
                  <a:gd name="T8" fmla="*/ 4 w 56"/>
                  <a:gd name="T9" fmla="*/ 145 h 145"/>
                </a:gdLst>
                <a:ahLst/>
                <a:cxnLst>
                  <a:cxn ang="0">
                    <a:pos x="T0" y="T1"/>
                  </a:cxn>
                  <a:cxn ang="0">
                    <a:pos x="T2" y="T3"/>
                  </a:cxn>
                  <a:cxn ang="0">
                    <a:pos x="T4" y="T5"/>
                  </a:cxn>
                  <a:cxn ang="0">
                    <a:pos x="T6" y="T7"/>
                  </a:cxn>
                  <a:cxn ang="0">
                    <a:pos x="T8" y="T9"/>
                  </a:cxn>
                </a:cxnLst>
                <a:rect l="0" t="0" r="r" b="b"/>
                <a:pathLst>
                  <a:path w="56" h="145">
                    <a:moveTo>
                      <a:pt x="4" y="145"/>
                    </a:moveTo>
                    <a:lnTo>
                      <a:pt x="56" y="142"/>
                    </a:lnTo>
                    <a:lnTo>
                      <a:pt x="51" y="0"/>
                    </a:lnTo>
                    <a:lnTo>
                      <a:pt x="0" y="2"/>
                    </a:lnTo>
                    <a:lnTo>
                      <a:pt x="4" y="145"/>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sp>
          <p:nvSpPr>
            <p:cNvPr id="464" name="Freeform 463"/>
            <p:cNvSpPr>
              <a:spLocks noEditPoints="1"/>
            </p:cNvSpPr>
            <p:nvPr/>
          </p:nvSpPr>
          <p:spPr bwMode="auto">
            <a:xfrm>
              <a:off x="4779221" y="4629885"/>
              <a:ext cx="202727" cy="271823"/>
            </a:xfrm>
            <a:custGeom>
              <a:avLst/>
              <a:gdLst>
                <a:gd name="T0" fmla="*/ 28 w 314"/>
                <a:gd name="T1" fmla="*/ 11 h 433"/>
                <a:gd name="T2" fmla="*/ 0 w 314"/>
                <a:gd name="T3" fmla="*/ 369 h 433"/>
                <a:gd name="T4" fmla="*/ 28 w 314"/>
                <a:gd name="T5" fmla="*/ 422 h 433"/>
                <a:gd name="T6" fmla="*/ 257 w 314"/>
                <a:gd name="T7" fmla="*/ 432 h 433"/>
                <a:gd name="T8" fmla="*/ 313 w 314"/>
                <a:gd name="T9" fmla="*/ 382 h 433"/>
                <a:gd name="T10" fmla="*/ 308 w 314"/>
                <a:gd name="T11" fmla="*/ 39 h 433"/>
                <a:gd name="T12" fmla="*/ 250 w 314"/>
                <a:gd name="T13" fmla="*/ 0 h 433"/>
                <a:gd name="T14" fmla="*/ 46 w 314"/>
                <a:gd name="T15" fmla="*/ 384 h 433"/>
                <a:gd name="T16" fmla="*/ 42 w 314"/>
                <a:gd name="T17" fmla="*/ 359 h 433"/>
                <a:gd name="T18" fmla="*/ 63 w 314"/>
                <a:gd name="T19" fmla="*/ 343 h 433"/>
                <a:gd name="T20" fmla="*/ 87 w 314"/>
                <a:gd name="T21" fmla="*/ 363 h 433"/>
                <a:gd name="T22" fmla="*/ 76 w 314"/>
                <a:gd name="T23" fmla="*/ 388 h 433"/>
                <a:gd name="T24" fmla="*/ 58 w 314"/>
                <a:gd name="T25" fmla="*/ 319 h 433"/>
                <a:gd name="T26" fmla="*/ 40 w 314"/>
                <a:gd name="T27" fmla="*/ 295 h 433"/>
                <a:gd name="T28" fmla="*/ 54 w 314"/>
                <a:gd name="T29" fmla="*/ 272 h 433"/>
                <a:gd name="T30" fmla="*/ 81 w 314"/>
                <a:gd name="T31" fmla="*/ 278 h 433"/>
                <a:gd name="T32" fmla="*/ 85 w 314"/>
                <a:gd name="T33" fmla="*/ 303 h 433"/>
                <a:gd name="T34" fmla="*/ 63 w 314"/>
                <a:gd name="T35" fmla="*/ 319 h 433"/>
                <a:gd name="T36" fmla="*/ 44 w 314"/>
                <a:gd name="T37" fmla="*/ 235 h 433"/>
                <a:gd name="T38" fmla="*/ 44 w 314"/>
                <a:gd name="T39" fmla="*/ 208 h 433"/>
                <a:gd name="T40" fmla="*/ 68 w 314"/>
                <a:gd name="T41" fmla="*/ 198 h 433"/>
                <a:gd name="T42" fmla="*/ 87 w 314"/>
                <a:gd name="T43" fmla="*/ 221 h 433"/>
                <a:gd name="T44" fmla="*/ 73 w 314"/>
                <a:gd name="T45" fmla="*/ 244 h 433"/>
                <a:gd name="T46" fmla="*/ 148 w 314"/>
                <a:gd name="T47" fmla="*/ 390 h 433"/>
                <a:gd name="T48" fmla="*/ 132 w 314"/>
                <a:gd name="T49" fmla="*/ 368 h 433"/>
                <a:gd name="T50" fmla="*/ 152 w 314"/>
                <a:gd name="T51" fmla="*/ 344 h 433"/>
                <a:gd name="T52" fmla="*/ 177 w 314"/>
                <a:gd name="T53" fmla="*/ 354 h 433"/>
                <a:gd name="T54" fmla="*/ 177 w 314"/>
                <a:gd name="T55" fmla="*/ 381 h 433"/>
                <a:gd name="T56" fmla="*/ 156 w 314"/>
                <a:gd name="T57" fmla="*/ 319 h 433"/>
                <a:gd name="T58" fmla="*/ 135 w 314"/>
                <a:gd name="T59" fmla="*/ 303 h 433"/>
                <a:gd name="T60" fmla="*/ 140 w 314"/>
                <a:gd name="T61" fmla="*/ 278 h 433"/>
                <a:gd name="T62" fmla="*/ 166 w 314"/>
                <a:gd name="T63" fmla="*/ 272 h 433"/>
                <a:gd name="T64" fmla="*/ 181 w 314"/>
                <a:gd name="T65" fmla="*/ 295 h 433"/>
                <a:gd name="T66" fmla="*/ 162 w 314"/>
                <a:gd name="T67" fmla="*/ 319 h 433"/>
                <a:gd name="T68" fmla="*/ 143 w 314"/>
                <a:gd name="T69" fmla="*/ 242 h 433"/>
                <a:gd name="T70" fmla="*/ 134 w 314"/>
                <a:gd name="T71" fmla="*/ 217 h 433"/>
                <a:gd name="T72" fmla="*/ 156 w 314"/>
                <a:gd name="T73" fmla="*/ 198 h 433"/>
                <a:gd name="T74" fmla="*/ 179 w 314"/>
                <a:gd name="T75" fmla="*/ 212 h 433"/>
                <a:gd name="T76" fmla="*/ 173 w 314"/>
                <a:gd name="T77" fmla="*/ 239 h 433"/>
                <a:gd name="T78" fmla="*/ 250 w 314"/>
                <a:gd name="T79" fmla="*/ 392 h 433"/>
                <a:gd name="T80" fmla="*/ 226 w 314"/>
                <a:gd name="T81" fmla="*/ 373 h 433"/>
                <a:gd name="T82" fmla="*/ 237 w 314"/>
                <a:gd name="T83" fmla="*/ 348 h 433"/>
                <a:gd name="T84" fmla="*/ 263 w 314"/>
                <a:gd name="T85" fmla="*/ 348 h 433"/>
                <a:gd name="T86" fmla="*/ 274 w 314"/>
                <a:gd name="T87" fmla="*/ 373 h 433"/>
                <a:gd name="T88" fmla="*/ 250 w 314"/>
                <a:gd name="T89" fmla="*/ 392 h 433"/>
                <a:gd name="T90" fmla="*/ 233 w 314"/>
                <a:gd name="T91" fmla="*/ 312 h 433"/>
                <a:gd name="T92" fmla="*/ 229 w 314"/>
                <a:gd name="T93" fmla="*/ 285 h 433"/>
                <a:gd name="T94" fmla="*/ 250 w 314"/>
                <a:gd name="T95" fmla="*/ 271 h 433"/>
                <a:gd name="T96" fmla="*/ 274 w 314"/>
                <a:gd name="T97" fmla="*/ 289 h 433"/>
                <a:gd name="T98" fmla="*/ 263 w 314"/>
                <a:gd name="T99" fmla="*/ 314 h 433"/>
                <a:gd name="T100" fmla="*/ 246 w 314"/>
                <a:gd name="T101" fmla="*/ 245 h 433"/>
                <a:gd name="T102" fmla="*/ 226 w 314"/>
                <a:gd name="T103" fmla="*/ 221 h 433"/>
                <a:gd name="T104" fmla="*/ 240 w 314"/>
                <a:gd name="T105" fmla="*/ 200 h 433"/>
                <a:gd name="T106" fmla="*/ 267 w 314"/>
                <a:gd name="T107" fmla="*/ 204 h 433"/>
                <a:gd name="T108" fmla="*/ 272 w 314"/>
                <a:gd name="T109" fmla="*/ 231 h 433"/>
                <a:gd name="T110" fmla="*/ 250 w 314"/>
                <a:gd name="T111" fmla="*/ 245 h 433"/>
                <a:gd name="T112" fmla="*/ 267 w 314"/>
                <a:gd name="T113" fmla="*/ 159 h 433"/>
                <a:gd name="T114" fmla="*/ 51 w 314"/>
                <a:gd name="T115" fmla="*/ 162 h 433"/>
                <a:gd name="T116" fmla="*/ 33 w 314"/>
                <a:gd name="T117" fmla="*/ 64 h 433"/>
                <a:gd name="T118" fmla="*/ 51 w 314"/>
                <a:gd name="T119" fmla="*/ 36 h 433"/>
                <a:gd name="T120" fmla="*/ 267 w 314"/>
                <a:gd name="T121" fmla="*/ 39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4" h="433">
                  <a:moveTo>
                    <a:pt x="250" y="0"/>
                  </a:moveTo>
                  <a:lnTo>
                    <a:pt x="63" y="0"/>
                  </a:lnTo>
                  <a:lnTo>
                    <a:pt x="63" y="0"/>
                  </a:lnTo>
                  <a:lnTo>
                    <a:pt x="57" y="0"/>
                  </a:lnTo>
                  <a:lnTo>
                    <a:pt x="50" y="1"/>
                  </a:lnTo>
                  <a:lnTo>
                    <a:pt x="38" y="4"/>
                  </a:lnTo>
                  <a:lnTo>
                    <a:pt x="28" y="11"/>
                  </a:lnTo>
                  <a:lnTo>
                    <a:pt x="18" y="18"/>
                  </a:lnTo>
                  <a:lnTo>
                    <a:pt x="10" y="28"/>
                  </a:lnTo>
                  <a:lnTo>
                    <a:pt x="5" y="39"/>
                  </a:lnTo>
                  <a:lnTo>
                    <a:pt x="1" y="51"/>
                  </a:lnTo>
                  <a:lnTo>
                    <a:pt x="0" y="57"/>
                  </a:lnTo>
                  <a:lnTo>
                    <a:pt x="0" y="64"/>
                  </a:lnTo>
                  <a:lnTo>
                    <a:pt x="0" y="369"/>
                  </a:lnTo>
                  <a:lnTo>
                    <a:pt x="0" y="369"/>
                  </a:lnTo>
                  <a:lnTo>
                    <a:pt x="0" y="376"/>
                  </a:lnTo>
                  <a:lnTo>
                    <a:pt x="1" y="382"/>
                  </a:lnTo>
                  <a:lnTo>
                    <a:pt x="5" y="394"/>
                  </a:lnTo>
                  <a:lnTo>
                    <a:pt x="10" y="405"/>
                  </a:lnTo>
                  <a:lnTo>
                    <a:pt x="18" y="414"/>
                  </a:lnTo>
                  <a:lnTo>
                    <a:pt x="28" y="422"/>
                  </a:lnTo>
                  <a:lnTo>
                    <a:pt x="38" y="428"/>
                  </a:lnTo>
                  <a:lnTo>
                    <a:pt x="50" y="432"/>
                  </a:lnTo>
                  <a:lnTo>
                    <a:pt x="57" y="432"/>
                  </a:lnTo>
                  <a:lnTo>
                    <a:pt x="63" y="433"/>
                  </a:lnTo>
                  <a:lnTo>
                    <a:pt x="250" y="433"/>
                  </a:lnTo>
                  <a:lnTo>
                    <a:pt x="250" y="433"/>
                  </a:lnTo>
                  <a:lnTo>
                    <a:pt x="257" y="432"/>
                  </a:lnTo>
                  <a:lnTo>
                    <a:pt x="263" y="432"/>
                  </a:lnTo>
                  <a:lnTo>
                    <a:pt x="275" y="428"/>
                  </a:lnTo>
                  <a:lnTo>
                    <a:pt x="286" y="422"/>
                  </a:lnTo>
                  <a:lnTo>
                    <a:pt x="296" y="414"/>
                  </a:lnTo>
                  <a:lnTo>
                    <a:pt x="303" y="405"/>
                  </a:lnTo>
                  <a:lnTo>
                    <a:pt x="308" y="394"/>
                  </a:lnTo>
                  <a:lnTo>
                    <a:pt x="313" y="382"/>
                  </a:lnTo>
                  <a:lnTo>
                    <a:pt x="314" y="376"/>
                  </a:lnTo>
                  <a:lnTo>
                    <a:pt x="314" y="369"/>
                  </a:lnTo>
                  <a:lnTo>
                    <a:pt x="314" y="64"/>
                  </a:lnTo>
                  <a:lnTo>
                    <a:pt x="314" y="64"/>
                  </a:lnTo>
                  <a:lnTo>
                    <a:pt x="314" y="57"/>
                  </a:lnTo>
                  <a:lnTo>
                    <a:pt x="313" y="51"/>
                  </a:lnTo>
                  <a:lnTo>
                    <a:pt x="308" y="39"/>
                  </a:lnTo>
                  <a:lnTo>
                    <a:pt x="303" y="28"/>
                  </a:lnTo>
                  <a:lnTo>
                    <a:pt x="296" y="18"/>
                  </a:lnTo>
                  <a:lnTo>
                    <a:pt x="286" y="11"/>
                  </a:lnTo>
                  <a:lnTo>
                    <a:pt x="275" y="4"/>
                  </a:lnTo>
                  <a:lnTo>
                    <a:pt x="263" y="1"/>
                  </a:lnTo>
                  <a:lnTo>
                    <a:pt x="257" y="0"/>
                  </a:lnTo>
                  <a:lnTo>
                    <a:pt x="250" y="0"/>
                  </a:lnTo>
                  <a:lnTo>
                    <a:pt x="250" y="0"/>
                  </a:lnTo>
                  <a:close/>
                  <a:moveTo>
                    <a:pt x="63" y="392"/>
                  </a:moveTo>
                  <a:lnTo>
                    <a:pt x="63" y="392"/>
                  </a:lnTo>
                  <a:lnTo>
                    <a:pt x="58" y="391"/>
                  </a:lnTo>
                  <a:lnTo>
                    <a:pt x="54" y="390"/>
                  </a:lnTo>
                  <a:lnTo>
                    <a:pt x="50" y="388"/>
                  </a:lnTo>
                  <a:lnTo>
                    <a:pt x="46" y="384"/>
                  </a:lnTo>
                  <a:lnTo>
                    <a:pt x="44" y="381"/>
                  </a:lnTo>
                  <a:lnTo>
                    <a:pt x="42" y="377"/>
                  </a:lnTo>
                  <a:lnTo>
                    <a:pt x="40" y="373"/>
                  </a:lnTo>
                  <a:lnTo>
                    <a:pt x="40" y="368"/>
                  </a:lnTo>
                  <a:lnTo>
                    <a:pt x="40" y="368"/>
                  </a:lnTo>
                  <a:lnTo>
                    <a:pt x="40" y="363"/>
                  </a:lnTo>
                  <a:lnTo>
                    <a:pt x="42" y="359"/>
                  </a:lnTo>
                  <a:lnTo>
                    <a:pt x="44" y="354"/>
                  </a:lnTo>
                  <a:lnTo>
                    <a:pt x="46" y="351"/>
                  </a:lnTo>
                  <a:lnTo>
                    <a:pt x="50" y="348"/>
                  </a:lnTo>
                  <a:lnTo>
                    <a:pt x="54" y="346"/>
                  </a:lnTo>
                  <a:lnTo>
                    <a:pt x="58" y="344"/>
                  </a:lnTo>
                  <a:lnTo>
                    <a:pt x="63" y="343"/>
                  </a:lnTo>
                  <a:lnTo>
                    <a:pt x="63" y="343"/>
                  </a:lnTo>
                  <a:lnTo>
                    <a:pt x="68" y="344"/>
                  </a:lnTo>
                  <a:lnTo>
                    <a:pt x="73" y="346"/>
                  </a:lnTo>
                  <a:lnTo>
                    <a:pt x="76" y="348"/>
                  </a:lnTo>
                  <a:lnTo>
                    <a:pt x="81" y="351"/>
                  </a:lnTo>
                  <a:lnTo>
                    <a:pt x="83" y="354"/>
                  </a:lnTo>
                  <a:lnTo>
                    <a:pt x="85" y="359"/>
                  </a:lnTo>
                  <a:lnTo>
                    <a:pt x="87" y="363"/>
                  </a:lnTo>
                  <a:lnTo>
                    <a:pt x="87" y="368"/>
                  </a:lnTo>
                  <a:lnTo>
                    <a:pt x="87" y="368"/>
                  </a:lnTo>
                  <a:lnTo>
                    <a:pt x="87" y="373"/>
                  </a:lnTo>
                  <a:lnTo>
                    <a:pt x="85" y="377"/>
                  </a:lnTo>
                  <a:lnTo>
                    <a:pt x="83" y="381"/>
                  </a:lnTo>
                  <a:lnTo>
                    <a:pt x="81" y="384"/>
                  </a:lnTo>
                  <a:lnTo>
                    <a:pt x="76" y="388"/>
                  </a:lnTo>
                  <a:lnTo>
                    <a:pt x="73" y="390"/>
                  </a:lnTo>
                  <a:lnTo>
                    <a:pt x="68" y="391"/>
                  </a:lnTo>
                  <a:lnTo>
                    <a:pt x="63" y="392"/>
                  </a:lnTo>
                  <a:lnTo>
                    <a:pt x="63" y="392"/>
                  </a:lnTo>
                  <a:close/>
                  <a:moveTo>
                    <a:pt x="63" y="319"/>
                  </a:moveTo>
                  <a:lnTo>
                    <a:pt x="63" y="319"/>
                  </a:lnTo>
                  <a:lnTo>
                    <a:pt x="58" y="319"/>
                  </a:lnTo>
                  <a:lnTo>
                    <a:pt x="54" y="316"/>
                  </a:lnTo>
                  <a:lnTo>
                    <a:pt x="50" y="314"/>
                  </a:lnTo>
                  <a:lnTo>
                    <a:pt x="46" y="312"/>
                  </a:lnTo>
                  <a:lnTo>
                    <a:pt x="44" y="308"/>
                  </a:lnTo>
                  <a:lnTo>
                    <a:pt x="42" y="303"/>
                  </a:lnTo>
                  <a:lnTo>
                    <a:pt x="40" y="299"/>
                  </a:lnTo>
                  <a:lnTo>
                    <a:pt x="40" y="295"/>
                  </a:lnTo>
                  <a:lnTo>
                    <a:pt x="40" y="295"/>
                  </a:lnTo>
                  <a:lnTo>
                    <a:pt x="40" y="289"/>
                  </a:lnTo>
                  <a:lnTo>
                    <a:pt x="42" y="285"/>
                  </a:lnTo>
                  <a:lnTo>
                    <a:pt x="44" y="281"/>
                  </a:lnTo>
                  <a:lnTo>
                    <a:pt x="46" y="278"/>
                  </a:lnTo>
                  <a:lnTo>
                    <a:pt x="50" y="274"/>
                  </a:lnTo>
                  <a:lnTo>
                    <a:pt x="54" y="272"/>
                  </a:lnTo>
                  <a:lnTo>
                    <a:pt x="58" y="271"/>
                  </a:lnTo>
                  <a:lnTo>
                    <a:pt x="63" y="271"/>
                  </a:lnTo>
                  <a:lnTo>
                    <a:pt x="63" y="271"/>
                  </a:lnTo>
                  <a:lnTo>
                    <a:pt x="68" y="271"/>
                  </a:lnTo>
                  <a:lnTo>
                    <a:pt x="73" y="272"/>
                  </a:lnTo>
                  <a:lnTo>
                    <a:pt x="76" y="274"/>
                  </a:lnTo>
                  <a:lnTo>
                    <a:pt x="81" y="278"/>
                  </a:lnTo>
                  <a:lnTo>
                    <a:pt x="83" y="281"/>
                  </a:lnTo>
                  <a:lnTo>
                    <a:pt x="85" y="285"/>
                  </a:lnTo>
                  <a:lnTo>
                    <a:pt x="87" y="289"/>
                  </a:lnTo>
                  <a:lnTo>
                    <a:pt x="87" y="295"/>
                  </a:lnTo>
                  <a:lnTo>
                    <a:pt x="87" y="295"/>
                  </a:lnTo>
                  <a:lnTo>
                    <a:pt x="87" y="299"/>
                  </a:lnTo>
                  <a:lnTo>
                    <a:pt x="85" y="303"/>
                  </a:lnTo>
                  <a:lnTo>
                    <a:pt x="83" y="308"/>
                  </a:lnTo>
                  <a:lnTo>
                    <a:pt x="81" y="312"/>
                  </a:lnTo>
                  <a:lnTo>
                    <a:pt x="76" y="314"/>
                  </a:lnTo>
                  <a:lnTo>
                    <a:pt x="73" y="316"/>
                  </a:lnTo>
                  <a:lnTo>
                    <a:pt x="68" y="319"/>
                  </a:lnTo>
                  <a:lnTo>
                    <a:pt x="63" y="319"/>
                  </a:lnTo>
                  <a:lnTo>
                    <a:pt x="63" y="319"/>
                  </a:lnTo>
                  <a:close/>
                  <a:moveTo>
                    <a:pt x="63" y="245"/>
                  </a:moveTo>
                  <a:lnTo>
                    <a:pt x="63" y="245"/>
                  </a:lnTo>
                  <a:lnTo>
                    <a:pt x="58" y="245"/>
                  </a:lnTo>
                  <a:lnTo>
                    <a:pt x="54" y="244"/>
                  </a:lnTo>
                  <a:lnTo>
                    <a:pt x="50" y="242"/>
                  </a:lnTo>
                  <a:lnTo>
                    <a:pt x="46" y="239"/>
                  </a:lnTo>
                  <a:lnTo>
                    <a:pt x="44" y="235"/>
                  </a:lnTo>
                  <a:lnTo>
                    <a:pt x="42" y="231"/>
                  </a:lnTo>
                  <a:lnTo>
                    <a:pt x="40" y="227"/>
                  </a:lnTo>
                  <a:lnTo>
                    <a:pt x="40" y="221"/>
                  </a:lnTo>
                  <a:lnTo>
                    <a:pt x="40" y="221"/>
                  </a:lnTo>
                  <a:lnTo>
                    <a:pt x="40" y="217"/>
                  </a:lnTo>
                  <a:lnTo>
                    <a:pt x="42" y="212"/>
                  </a:lnTo>
                  <a:lnTo>
                    <a:pt x="44" y="208"/>
                  </a:lnTo>
                  <a:lnTo>
                    <a:pt x="46" y="204"/>
                  </a:lnTo>
                  <a:lnTo>
                    <a:pt x="50" y="202"/>
                  </a:lnTo>
                  <a:lnTo>
                    <a:pt x="54" y="200"/>
                  </a:lnTo>
                  <a:lnTo>
                    <a:pt x="58" y="198"/>
                  </a:lnTo>
                  <a:lnTo>
                    <a:pt x="63" y="198"/>
                  </a:lnTo>
                  <a:lnTo>
                    <a:pt x="63" y="198"/>
                  </a:lnTo>
                  <a:lnTo>
                    <a:pt x="68" y="198"/>
                  </a:lnTo>
                  <a:lnTo>
                    <a:pt x="73" y="200"/>
                  </a:lnTo>
                  <a:lnTo>
                    <a:pt x="76" y="202"/>
                  </a:lnTo>
                  <a:lnTo>
                    <a:pt x="81" y="204"/>
                  </a:lnTo>
                  <a:lnTo>
                    <a:pt x="83" y="208"/>
                  </a:lnTo>
                  <a:lnTo>
                    <a:pt x="85" y="212"/>
                  </a:lnTo>
                  <a:lnTo>
                    <a:pt x="87" y="217"/>
                  </a:lnTo>
                  <a:lnTo>
                    <a:pt x="87" y="221"/>
                  </a:lnTo>
                  <a:lnTo>
                    <a:pt x="87" y="221"/>
                  </a:lnTo>
                  <a:lnTo>
                    <a:pt x="87" y="227"/>
                  </a:lnTo>
                  <a:lnTo>
                    <a:pt x="85" y="231"/>
                  </a:lnTo>
                  <a:lnTo>
                    <a:pt x="83" y="235"/>
                  </a:lnTo>
                  <a:lnTo>
                    <a:pt x="81" y="239"/>
                  </a:lnTo>
                  <a:lnTo>
                    <a:pt x="76" y="242"/>
                  </a:lnTo>
                  <a:lnTo>
                    <a:pt x="73" y="244"/>
                  </a:lnTo>
                  <a:lnTo>
                    <a:pt x="68" y="245"/>
                  </a:lnTo>
                  <a:lnTo>
                    <a:pt x="63" y="245"/>
                  </a:lnTo>
                  <a:lnTo>
                    <a:pt x="63" y="245"/>
                  </a:lnTo>
                  <a:close/>
                  <a:moveTo>
                    <a:pt x="156" y="392"/>
                  </a:moveTo>
                  <a:lnTo>
                    <a:pt x="156" y="392"/>
                  </a:lnTo>
                  <a:lnTo>
                    <a:pt x="152" y="391"/>
                  </a:lnTo>
                  <a:lnTo>
                    <a:pt x="148" y="390"/>
                  </a:lnTo>
                  <a:lnTo>
                    <a:pt x="143" y="388"/>
                  </a:lnTo>
                  <a:lnTo>
                    <a:pt x="140" y="384"/>
                  </a:lnTo>
                  <a:lnTo>
                    <a:pt x="137" y="381"/>
                  </a:lnTo>
                  <a:lnTo>
                    <a:pt x="135" y="377"/>
                  </a:lnTo>
                  <a:lnTo>
                    <a:pt x="134" y="373"/>
                  </a:lnTo>
                  <a:lnTo>
                    <a:pt x="132" y="368"/>
                  </a:lnTo>
                  <a:lnTo>
                    <a:pt x="132" y="368"/>
                  </a:lnTo>
                  <a:lnTo>
                    <a:pt x="134" y="363"/>
                  </a:lnTo>
                  <a:lnTo>
                    <a:pt x="135" y="359"/>
                  </a:lnTo>
                  <a:lnTo>
                    <a:pt x="137" y="354"/>
                  </a:lnTo>
                  <a:lnTo>
                    <a:pt x="140" y="351"/>
                  </a:lnTo>
                  <a:lnTo>
                    <a:pt x="143" y="348"/>
                  </a:lnTo>
                  <a:lnTo>
                    <a:pt x="148" y="346"/>
                  </a:lnTo>
                  <a:lnTo>
                    <a:pt x="152" y="344"/>
                  </a:lnTo>
                  <a:lnTo>
                    <a:pt x="156" y="343"/>
                  </a:lnTo>
                  <a:lnTo>
                    <a:pt x="156" y="343"/>
                  </a:lnTo>
                  <a:lnTo>
                    <a:pt x="162" y="344"/>
                  </a:lnTo>
                  <a:lnTo>
                    <a:pt x="166" y="346"/>
                  </a:lnTo>
                  <a:lnTo>
                    <a:pt x="170" y="348"/>
                  </a:lnTo>
                  <a:lnTo>
                    <a:pt x="173" y="351"/>
                  </a:lnTo>
                  <a:lnTo>
                    <a:pt x="177" y="354"/>
                  </a:lnTo>
                  <a:lnTo>
                    <a:pt x="179" y="359"/>
                  </a:lnTo>
                  <a:lnTo>
                    <a:pt x="180" y="363"/>
                  </a:lnTo>
                  <a:lnTo>
                    <a:pt x="181" y="368"/>
                  </a:lnTo>
                  <a:lnTo>
                    <a:pt x="181" y="368"/>
                  </a:lnTo>
                  <a:lnTo>
                    <a:pt x="180" y="373"/>
                  </a:lnTo>
                  <a:lnTo>
                    <a:pt x="179" y="377"/>
                  </a:lnTo>
                  <a:lnTo>
                    <a:pt x="177" y="381"/>
                  </a:lnTo>
                  <a:lnTo>
                    <a:pt x="173" y="384"/>
                  </a:lnTo>
                  <a:lnTo>
                    <a:pt x="170" y="388"/>
                  </a:lnTo>
                  <a:lnTo>
                    <a:pt x="166" y="390"/>
                  </a:lnTo>
                  <a:lnTo>
                    <a:pt x="162" y="391"/>
                  </a:lnTo>
                  <a:lnTo>
                    <a:pt x="156" y="392"/>
                  </a:lnTo>
                  <a:lnTo>
                    <a:pt x="156" y="392"/>
                  </a:lnTo>
                  <a:close/>
                  <a:moveTo>
                    <a:pt x="156" y="319"/>
                  </a:moveTo>
                  <a:lnTo>
                    <a:pt x="156" y="319"/>
                  </a:lnTo>
                  <a:lnTo>
                    <a:pt x="152" y="319"/>
                  </a:lnTo>
                  <a:lnTo>
                    <a:pt x="148" y="316"/>
                  </a:lnTo>
                  <a:lnTo>
                    <a:pt x="143" y="314"/>
                  </a:lnTo>
                  <a:lnTo>
                    <a:pt x="140" y="312"/>
                  </a:lnTo>
                  <a:lnTo>
                    <a:pt x="137" y="308"/>
                  </a:lnTo>
                  <a:lnTo>
                    <a:pt x="135" y="303"/>
                  </a:lnTo>
                  <a:lnTo>
                    <a:pt x="134" y="299"/>
                  </a:lnTo>
                  <a:lnTo>
                    <a:pt x="132" y="295"/>
                  </a:lnTo>
                  <a:lnTo>
                    <a:pt x="132" y="295"/>
                  </a:lnTo>
                  <a:lnTo>
                    <a:pt x="134" y="289"/>
                  </a:lnTo>
                  <a:lnTo>
                    <a:pt x="135" y="285"/>
                  </a:lnTo>
                  <a:lnTo>
                    <a:pt x="137" y="281"/>
                  </a:lnTo>
                  <a:lnTo>
                    <a:pt x="140" y="278"/>
                  </a:lnTo>
                  <a:lnTo>
                    <a:pt x="143" y="274"/>
                  </a:lnTo>
                  <a:lnTo>
                    <a:pt x="148" y="272"/>
                  </a:lnTo>
                  <a:lnTo>
                    <a:pt x="152" y="271"/>
                  </a:lnTo>
                  <a:lnTo>
                    <a:pt x="156" y="271"/>
                  </a:lnTo>
                  <a:lnTo>
                    <a:pt x="156" y="271"/>
                  </a:lnTo>
                  <a:lnTo>
                    <a:pt x="162" y="271"/>
                  </a:lnTo>
                  <a:lnTo>
                    <a:pt x="166" y="272"/>
                  </a:lnTo>
                  <a:lnTo>
                    <a:pt x="170" y="274"/>
                  </a:lnTo>
                  <a:lnTo>
                    <a:pt x="173" y="278"/>
                  </a:lnTo>
                  <a:lnTo>
                    <a:pt x="177" y="281"/>
                  </a:lnTo>
                  <a:lnTo>
                    <a:pt x="179" y="285"/>
                  </a:lnTo>
                  <a:lnTo>
                    <a:pt x="180" y="289"/>
                  </a:lnTo>
                  <a:lnTo>
                    <a:pt x="181" y="295"/>
                  </a:lnTo>
                  <a:lnTo>
                    <a:pt x="181" y="295"/>
                  </a:lnTo>
                  <a:lnTo>
                    <a:pt x="180" y="299"/>
                  </a:lnTo>
                  <a:lnTo>
                    <a:pt x="179" y="303"/>
                  </a:lnTo>
                  <a:lnTo>
                    <a:pt x="177" y="308"/>
                  </a:lnTo>
                  <a:lnTo>
                    <a:pt x="173" y="312"/>
                  </a:lnTo>
                  <a:lnTo>
                    <a:pt x="170" y="314"/>
                  </a:lnTo>
                  <a:lnTo>
                    <a:pt x="166" y="316"/>
                  </a:lnTo>
                  <a:lnTo>
                    <a:pt x="162" y="319"/>
                  </a:lnTo>
                  <a:lnTo>
                    <a:pt x="156" y="319"/>
                  </a:lnTo>
                  <a:lnTo>
                    <a:pt x="156" y="319"/>
                  </a:lnTo>
                  <a:close/>
                  <a:moveTo>
                    <a:pt x="156" y="245"/>
                  </a:moveTo>
                  <a:lnTo>
                    <a:pt x="156" y="245"/>
                  </a:lnTo>
                  <a:lnTo>
                    <a:pt x="152" y="245"/>
                  </a:lnTo>
                  <a:lnTo>
                    <a:pt x="148" y="244"/>
                  </a:lnTo>
                  <a:lnTo>
                    <a:pt x="143" y="242"/>
                  </a:lnTo>
                  <a:lnTo>
                    <a:pt x="140" y="239"/>
                  </a:lnTo>
                  <a:lnTo>
                    <a:pt x="137" y="235"/>
                  </a:lnTo>
                  <a:lnTo>
                    <a:pt x="135" y="231"/>
                  </a:lnTo>
                  <a:lnTo>
                    <a:pt x="134" y="227"/>
                  </a:lnTo>
                  <a:lnTo>
                    <a:pt x="132" y="221"/>
                  </a:lnTo>
                  <a:lnTo>
                    <a:pt x="132" y="221"/>
                  </a:lnTo>
                  <a:lnTo>
                    <a:pt x="134" y="217"/>
                  </a:lnTo>
                  <a:lnTo>
                    <a:pt x="135" y="212"/>
                  </a:lnTo>
                  <a:lnTo>
                    <a:pt x="137" y="208"/>
                  </a:lnTo>
                  <a:lnTo>
                    <a:pt x="140" y="204"/>
                  </a:lnTo>
                  <a:lnTo>
                    <a:pt x="143" y="202"/>
                  </a:lnTo>
                  <a:lnTo>
                    <a:pt x="148" y="200"/>
                  </a:lnTo>
                  <a:lnTo>
                    <a:pt x="152" y="198"/>
                  </a:lnTo>
                  <a:lnTo>
                    <a:pt x="156" y="198"/>
                  </a:lnTo>
                  <a:lnTo>
                    <a:pt x="156" y="198"/>
                  </a:lnTo>
                  <a:lnTo>
                    <a:pt x="162" y="198"/>
                  </a:lnTo>
                  <a:lnTo>
                    <a:pt x="166" y="200"/>
                  </a:lnTo>
                  <a:lnTo>
                    <a:pt x="170" y="202"/>
                  </a:lnTo>
                  <a:lnTo>
                    <a:pt x="173" y="204"/>
                  </a:lnTo>
                  <a:lnTo>
                    <a:pt x="177" y="208"/>
                  </a:lnTo>
                  <a:lnTo>
                    <a:pt x="179" y="212"/>
                  </a:lnTo>
                  <a:lnTo>
                    <a:pt x="180" y="217"/>
                  </a:lnTo>
                  <a:lnTo>
                    <a:pt x="181" y="221"/>
                  </a:lnTo>
                  <a:lnTo>
                    <a:pt x="181" y="221"/>
                  </a:lnTo>
                  <a:lnTo>
                    <a:pt x="180" y="227"/>
                  </a:lnTo>
                  <a:lnTo>
                    <a:pt x="179" y="231"/>
                  </a:lnTo>
                  <a:lnTo>
                    <a:pt x="177" y="235"/>
                  </a:lnTo>
                  <a:lnTo>
                    <a:pt x="173" y="239"/>
                  </a:lnTo>
                  <a:lnTo>
                    <a:pt x="170" y="242"/>
                  </a:lnTo>
                  <a:lnTo>
                    <a:pt x="166" y="244"/>
                  </a:lnTo>
                  <a:lnTo>
                    <a:pt x="162" y="245"/>
                  </a:lnTo>
                  <a:lnTo>
                    <a:pt x="156" y="245"/>
                  </a:lnTo>
                  <a:lnTo>
                    <a:pt x="156" y="245"/>
                  </a:lnTo>
                  <a:close/>
                  <a:moveTo>
                    <a:pt x="250" y="392"/>
                  </a:moveTo>
                  <a:lnTo>
                    <a:pt x="250" y="392"/>
                  </a:lnTo>
                  <a:lnTo>
                    <a:pt x="246" y="391"/>
                  </a:lnTo>
                  <a:lnTo>
                    <a:pt x="240" y="390"/>
                  </a:lnTo>
                  <a:lnTo>
                    <a:pt x="237" y="388"/>
                  </a:lnTo>
                  <a:lnTo>
                    <a:pt x="233" y="384"/>
                  </a:lnTo>
                  <a:lnTo>
                    <a:pt x="231" y="381"/>
                  </a:lnTo>
                  <a:lnTo>
                    <a:pt x="229" y="377"/>
                  </a:lnTo>
                  <a:lnTo>
                    <a:pt x="226" y="373"/>
                  </a:lnTo>
                  <a:lnTo>
                    <a:pt x="226" y="368"/>
                  </a:lnTo>
                  <a:lnTo>
                    <a:pt x="226" y="368"/>
                  </a:lnTo>
                  <a:lnTo>
                    <a:pt x="226" y="363"/>
                  </a:lnTo>
                  <a:lnTo>
                    <a:pt x="229" y="359"/>
                  </a:lnTo>
                  <a:lnTo>
                    <a:pt x="231" y="354"/>
                  </a:lnTo>
                  <a:lnTo>
                    <a:pt x="233" y="351"/>
                  </a:lnTo>
                  <a:lnTo>
                    <a:pt x="237" y="348"/>
                  </a:lnTo>
                  <a:lnTo>
                    <a:pt x="240" y="346"/>
                  </a:lnTo>
                  <a:lnTo>
                    <a:pt x="246" y="344"/>
                  </a:lnTo>
                  <a:lnTo>
                    <a:pt x="250" y="343"/>
                  </a:lnTo>
                  <a:lnTo>
                    <a:pt x="250" y="343"/>
                  </a:lnTo>
                  <a:lnTo>
                    <a:pt x="254" y="344"/>
                  </a:lnTo>
                  <a:lnTo>
                    <a:pt x="260" y="346"/>
                  </a:lnTo>
                  <a:lnTo>
                    <a:pt x="263" y="348"/>
                  </a:lnTo>
                  <a:lnTo>
                    <a:pt x="267" y="351"/>
                  </a:lnTo>
                  <a:lnTo>
                    <a:pt x="270" y="354"/>
                  </a:lnTo>
                  <a:lnTo>
                    <a:pt x="272" y="359"/>
                  </a:lnTo>
                  <a:lnTo>
                    <a:pt x="274" y="363"/>
                  </a:lnTo>
                  <a:lnTo>
                    <a:pt x="274" y="368"/>
                  </a:lnTo>
                  <a:lnTo>
                    <a:pt x="274" y="368"/>
                  </a:lnTo>
                  <a:lnTo>
                    <a:pt x="274" y="373"/>
                  </a:lnTo>
                  <a:lnTo>
                    <a:pt x="272" y="377"/>
                  </a:lnTo>
                  <a:lnTo>
                    <a:pt x="270" y="381"/>
                  </a:lnTo>
                  <a:lnTo>
                    <a:pt x="267" y="384"/>
                  </a:lnTo>
                  <a:lnTo>
                    <a:pt x="263" y="388"/>
                  </a:lnTo>
                  <a:lnTo>
                    <a:pt x="260" y="390"/>
                  </a:lnTo>
                  <a:lnTo>
                    <a:pt x="254" y="391"/>
                  </a:lnTo>
                  <a:lnTo>
                    <a:pt x="250" y="392"/>
                  </a:lnTo>
                  <a:lnTo>
                    <a:pt x="250" y="392"/>
                  </a:lnTo>
                  <a:close/>
                  <a:moveTo>
                    <a:pt x="250" y="319"/>
                  </a:moveTo>
                  <a:lnTo>
                    <a:pt x="250" y="319"/>
                  </a:lnTo>
                  <a:lnTo>
                    <a:pt x="246" y="319"/>
                  </a:lnTo>
                  <a:lnTo>
                    <a:pt x="240" y="316"/>
                  </a:lnTo>
                  <a:lnTo>
                    <a:pt x="237" y="314"/>
                  </a:lnTo>
                  <a:lnTo>
                    <a:pt x="233" y="312"/>
                  </a:lnTo>
                  <a:lnTo>
                    <a:pt x="231" y="308"/>
                  </a:lnTo>
                  <a:lnTo>
                    <a:pt x="229" y="303"/>
                  </a:lnTo>
                  <a:lnTo>
                    <a:pt x="226" y="299"/>
                  </a:lnTo>
                  <a:lnTo>
                    <a:pt x="226" y="295"/>
                  </a:lnTo>
                  <a:lnTo>
                    <a:pt x="226" y="295"/>
                  </a:lnTo>
                  <a:lnTo>
                    <a:pt x="226" y="289"/>
                  </a:lnTo>
                  <a:lnTo>
                    <a:pt x="229" y="285"/>
                  </a:lnTo>
                  <a:lnTo>
                    <a:pt x="231" y="281"/>
                  </a:lnTo>
                  <a:lnTo>
                    <a:pt x="233" y="278"/>
                  </a:lnTo>
                  <a:lnTo>
                    <a:pt x="237" y="274"/>
                  </a:lnTo>
                  <a:lnTo>
                    <a:pt x="240" y="272"/>
                  </a:lnTo>
                  <a:lnTo>
                    <a:pt x="246" y="271"/>
                  </a:lnTo>
                  <a:lnTo>
                    <a:pt x="250" y="271"/>
                  </a:lnTo>
                  <a:lnTo>
                    <a:pt x="250" y="271"/>
                  </a:lnTo>
                  <a:lnTo>
                    <a:pt x="254" y="271"/>
                  </a:lnTo>
                  <a:lnTo>
                    <a:pt x="260" y="272"/>
                  </a:lnTo>
                  <a:lnTo>
                    <a:pt x="263" y="274"/>
                  </a:lnTo>
                  <a:lnTo>
                    <a:pt x="267" y="278"/>
                  </a:lnTo>
                  <a:lnTo>
                    <a:pt x="270" y="281"/>
                  </a:lnTo>
                  <a:lnTo>
                    <a:pt x="272" y="285"/>
                  </a:lnTo>
                  <a:lnTo>
                    <a:pt x="274" y="289"/>
                  </a:lnTo>
                  <a:lnTo>
                    <a:pt x="274" y="295"/>
                  </a:lnTo>
                  <a:lnTo>
                    <a:pt x="274" y="295"/>
                  </a:lnTo>
                  <a:lnTo>
                    <a:pt x="274" y="299"/>
                  </a:lnTo>
                  <a:lnTo>
                    <a:pt x="272" y="303"/>
                  </a:lnTo>
                  <a:lnTo>
                    <a:pt x="270" y="308"/>
                  </a:lnTo>
                  <a:lnTo>
                    <a:pt x="267" y="312"/>
                  </a:lnTo>
                  <a:lnTo>
                    <a:pt x="263" y="314"/>
                  </a:lnTo>
                  <a:lnTo>
                    <a:pt x="260" y="316"/>
                  </a:lnTo>
                  <a:lnTo>
                    <a:pt x="254" y="319"/>
                  </a:lnTo>
                  <a:lnTo>
                    <a:pt x="250" y="319"/>
                  </a:lnTo>
                  <a:lnTo>
                    <a:pt x="250" y="319"/>
                  </a:lnTo>
                  <a:close/>
                  <a:moveTo>
                    <a:pt x="250" y="245"/>
                  </a:moveTo>
                  <a:lnTo>
                    <a:pt x="250" y="245"/>
                  </a:lnTo>
                  <a:lnTo>
                    <a:pt x="246" y="245"/>
                  </a:lnTo>
                  <a:lnTo>
                    <a:pt x="240" y="244"/>
                  </a:lnTo>
                  <a:lnTo>
                    <a:pt x="237" y="242"/>
                  </a:lnTo>
                  <a:lnTo>
                    <a:pt x="233" y="239"/>
                  </a:lnTo>
                  <a:lnTo>
                    <a:pt x="231" y="235"/>
                  </a:lnTo>
                  <a:lnTo>
                    <a:pt x="229" y="231"/>
                  </a:lnTo>
                  <a:lnTo>
                    <a:pt x="226" y="227"/>
                  </a:lnTo>
                  <a:lnTo>
                    <a:pt x="226" y="221"/>
                  </a:lnTo>
                  <a:lnTo>
                    <a:pt x="226" y="221"/>
                  </a:lnTo>
                  <a:lnTo>
                    <a:pt x="226" y="217"/>
                  </a:lnTo>
                  <a:lnTo>
                    <a:pt x="229" y="212"/>
                  </a:lnTo>
                  <a:lnTo>
                    <a:pt x="231" y="208"/>
                  </a:lnTo>
                  <a:lnTo>
                    <a:pt x="233" y="204"/>
                  </a:lnTo>
                  <a:lnTo>
                    <a:pt x="237" y="202"/>
                  </a:lnTo>
                  <a:lnTo>
                    <a:pt x="240" y="200"/>
                  </a:lnTo>
                  <a:lnTo>
                    <a:pt x="246" y="198"/>
                  </a:lnTo>
                  <a:lnTo>
                    <a:pt x="250" y="198"/>
                  </a:lnTo>
                  <a:lnTo>
                    <a:pt x="250" y="198"/>
                  </a:lnTo>
                  <a:lnTo>
                    <a:pt x="254" y="198"/>
                  </a:lnTo>
                  <a:lnTo>
                    <a:pt x="260" y="200"/>
                  </a:lnTo>
                  <a:lnTo>
                    <a:pt x="263" y="202"/>
                  </a:lnTo>
                  <a:lnTo>
                    <a:pt x="267" y="204"/>
                  </a:lnTo>
                  <a:lnTo>
                    <a:pt x="270" y="208"/>
                  </a:lnTo>
                  <a:lnTo>
                    <a:pt x="272" y="212"/>
                  </a:lnTo>
                  <a:lnTo>
                    <a:pt x="274" y="217"/>
                  </a:lnTo>
                  <a:lnTo>
                    <a:pt x="274" y="221"/>
                  </a:lnTo>
                  <a:lnTo>
                    <a:pt x="274" y="221"/>
                  </a:lnTo>
                  <a:lnTo>
                    <a:pt x="274" y="227"/>
                  </a:lnTo>
                  <a:lnTo>
                    <a:pt x="272" y="231"/>
                  </a:lnTo>
                  <a:lnTo>
                    <a:pt x="270" y="235"/>
                  </a:lnTo>
                  <a:lnTo>
                    <a:pt x="267" y="239"/>
                  </a:lnTo>
                  <a:lnTo>
                    <a:pt x="263" y="242"/>
                  </a:lnTo>
                  <a:lnTo>
                    <a:pt x="260" y="244"/>
                  </a:lnTo>
                  <a:lnTo>
                    <a:pt x="254" y="245"/>
                  </a:lnTo>
                  <a:lnTo>
                    <a:pt x="250" y="245"/>
                  </a:lnTo>
                  <a:lnTo>
                    <a:pt x="250" y="245"/>
                  </a:lnTo>
                  <a:close/>
                  <a:moveTo>
                    <a:pt x="280" y="134"/>
                  </a:moveTo>
                  <a:lnTo>
                    <a:pt x="280" y="134"/>
                  </a:lnTo>
                  <a:lnTo>
                    <a:pt x="279" y="140"/>
                  </a:lnTo>
                  <a:lnTo>
                    <a:pt x="278" y="146"/>
                  </a:lnTo>
                  <a:lnTo>
                    <a:pt x="275" y="151"/>
                  </a:lnTo>
                  <a:lnTo>
                    <a:pt x="272" y="155"/>
                  </a:lnTo>
                  <a:lnTo>
                    <a:pt x="267" y="159"/>
                  </a:lnTo>
                  <a:lnTo>
                    <a:pt x="262" y="162"/>
                  </a:lnTo>
                  <a:lnTo>
                    <a:pt x="257" y="164"/>
                  </a:lnTo>
                  <a:lnTo>
                    <a:pt x="250" y="164"/>
                  </a:lnTo>
                  <a:lnTo>
                    <a:pt x="63" y="164"/>
                  </a:lnTo>
                  <a:lnTo>
                    <a:pt x="63" y="164"/>
                  </a:lnTo>
                  <a:lnTo>
                    <a:pt x="57" y="164"/>
                  </a:lnTo>
                  <a:lnTo>
                    <a:pt x="51" y="162"/>
                  </a:lnTo>
                  <a:lnTo>
                    <a:pt x="46" y="159"/>
                  </a:lnTo>
                  <a:lnTo>
                    <a:pt x="42" y="155"/>
                  </a:lnTo>
                  <a:lnTo>
                    <a:pt x="38" y="151"/>
                  </a:lnTo>
                  <a:lnTo>
                    <a:pt x="35" y="146"/>
                  </a:lnTo>
                  <a:lnTo>
                    <a:pt x="34" y="140"/>
                  </a:lnTo>
                  <a:lnTo>
                    <a:pt x="33" y="134"/>
                  </a:lnTo>
                  <a:lnTo>
                    <a:pt x="33" y="64"/>
                  </a:lnTo>
                  <a:lnTo>
                    <a:pt x="33" y="64"/>
                  </a:lnTo>
                  <a:lnTo>
                    <a:pt x="34" y="57"/>
                  </a:lnTo>
                  <a:lnTo>
                    <a:pt x="35" y="52"/>
                  </a:lnTo>
                  <a:lnTo>
                    <a:pt x="38" y="46"/>
                  </a:lnTo>
                  <a:lnTo>
                    <a:pt x="42" y="42"/>
                  </a:lnTo>
                  <a:lnTo>
                    <a:pt x="46" y="39"/>
                  </a:lnTo>
                  <a:lnTo>
                    <a:pt x="51" y="36"/>
                  </a:lnTo>
                  <a:lnTo>
                    <a:pt x="57" y="33"/>
                  </a:lnTo>
                  <a:lnTo>
                    <a:pt x="63" y="33"/>
                  </a:lnTo>
                  <a:lnTo>
                    <a:pt x="250" y="33"/>
                  </a:lnTo>
                  <a:lnTo>
                    <a:pt x="250" y="33"/>
                  </a:lnTo>
                  <a:lnTo>
                    <a:pt x="257" y="33"/>
                  </a:lnTo>
                  <a:lnTo>
                    <a:pt x="262" y="36"/>
                  </a:lnTo>
                  <a:lnTo>
                    <a:pt x="267" y="39"/>
                  </a:lnTo>
                  <a:lnTo>
                    <a:pt x="272" y="42"/>
                  </a:lnTo>
                  <a:lnTo>
                    <a:pt x="275" y="46"/>
                  </a:lnTo>
                  <a:lnTo>
                    <a:pt x="278" y="52"/>
                  </a:lnTo>
                  <a:lnTo>
                    <a:pt x="279" y="57"/>
                  </a:lnTo>
                  <a:lnTo>
                    <a:pt x="280" y="64"/>
                  </a:lnTo>
                  <a:lnTo>
                    <a:pt x="280" y="134"/>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65" name="Freeform 464"/>
            <p:cNvSpPr>
              <a:spLocks/>
            </p:cNvSpPr>
            <p:nvPr/>
          </p:nvSpPr>
          <p:spPr bwMode="auto">
            <a:xfrm>
              <a:off x="5482598" y="196238"/>
              <a:ext cx="134180" cy="124854"/>
            </a:xfrm>
            <a:custGeom>
              <a:avLst/>
              <a:gdLst>
                <a:gd name="T0" fmla="*/ 204 w 312"/>
                <a:gd name="T1" fmla="*/ 97 h 295"/>
                <a:gd name="T2" fmla="*/ 156 w 312"/>
                <a:gd name="T3" fmla="*/ 0 h 295"/>
                <a:gd name="T4" fmla="*/ 108 w 312"/>
                <a:gd name="T5" fmla="*/ 97 h 295"/>
                <a:gd name="T6" fmla="*/ 0 w 312"/>
                <a:gd name="T7" fmla="*/ 112 h 295"/>
                <a:gd name="T8" fmla="*/ 78 w 312"/>
                <a:gd name="T9" fmla="*/ 189 h 295"/>
                <a:gd name="T10" fmla="*/ 60 w 312"/>
                <a:gd name="T11" fmla="*/ 295 h 295"/>
                <a:gd name="T12" fmla="*/ 156 w 312"/>
                <a:gd name="T13" fmla="*/ 245 h 295"/>
                <a:gd name="T14" fmla="*/ 253 w 312"/>
                <a:gd name="T15" fmla="*/ 295 h 295"/>
                <a:gd name="T16" fmla="*/ 235 w 312"/>
                <a:gd name="T17" fmla="*/ 189 h 295"/>
                <a:gd name="T18" fmla="*/ 312 w 312"/>
                <a:gd name="T19" fmla="*/ 112 h 295"/>
                <a:gd name="T20" fmla="*/ 204 w 312"/>
                <a:gd name="T21" fmla="*/ 97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2" h="295">
                  <a:moveTo>
                    <a:pt x="204" y="97"/>
                  </a:moveTo>
                  <a:lnTo>
                    <a:pt x="156" y="0"/>
                  </a:lnTo>
                  <a:lnTo>
                    <a:pt x="108" y="97"/>
                  </a:lnTo>
                  <a:lnTo>
                    <a:pt x="0" y="112"/>
                  </a:lnTo>
                  <a:lnTo>
                    <a:pt x="78" y="189"/>
                  </a:lnTo>
                  <a:lnTo>
                    <a:pt x="60" y="295"/>
                  </a:lnTo>
                  <a:lnTo>
                    <a:pt x="156" y="245"/>
                  </a:lnTo>
                  <a:lnTo>
                    <a:pt x="253" y="295"/>
                  </a:lnTo>
                  <a:lnTo>
                    <a:pt x="235" y="189"/>
                  </a:lnTo>
                  <a:lnTo>
                    <a:pt x="312" y="112"/>
                  </a:lnTo>
                  <a:lnTo>
                    <a:pt x="204" y="97"/>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66" name="Freeform 465"/>
            <p:cNvSpPr>
              <a:spLocks/>
            </p:cNvSpPr>
            <p:nvPr/>
          </p:nvSpPr>
          <p:spPr bwMode="auto">
            <a:xfrm>
              <a:off x="1924242" y="2563395"/>
              <a:ext cx="94614" cy="89423"/>
            </a:xfrm>
            <a:custGeom>
              <a:avLst/>
              <a:gdLst>
                <a:gd name="T0" fmla="*/ 145 w 222"/>
                <a:gd name="T1" fmla="*/ 70 h 212"/>
                <a:gd name="T2" fmla="*/ 110 w 222"/>
                <a:gd name="T3" fmla="*/ 0 h 212"/>
                <a:gd name="T4" fmla="*/ 77 w 222"/>
                <a:gd name="T5" fmla="*/ 70 h 212"/>
                <a:gd name="T6" fmla="*/ 0 w 222"/>
                <a:gd name="T7" fmla="*/ 81 h 212"/>
                <a:gd name="T8" fmla="*/ 55 w 222"/>
                <a:gd name="T9" fmla="*/ 135 h 212"/>
                <a:gd name="T10" fmla="*/ 42 w 222"/>
                <a:gd name="T11" fmla="*/ 212 h 212"/>
                <a:gd name="T12" fmla="*/ 110 w 222"/>
                <a:gd name="T13" fmla="*/ 175 h 212"/>
                <a:gd name="T14" fmla="*/ 179 w 222"/>
                <a:gd name="T15" fmla="*/ 212 h 212"/>
                <a:gd name="T16" fmla="*/ 166 w 222"/>
                <a:gd name="T17" fmla="*/ 135 h 212"/>
                <a:gd name="T18" fmla="*/ 222 w 222"/>
                <a:gd name="T19" fmla="*/ 81 h 212"/>
                <a:gd name="T20" fmla="*/ 145 w 222"/>
                <a:gd name="T21" fmla="*/ 7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2" h="212">
                  <a:moveTo>
                    <a:pt x="145" y="70"/>
                  </a:moveTo>
                  <a:lnTo>
                    <a:pt x="110" y="0"/>
                  </a:lnTo>
                  <a:lnTo>
                    <a:pt x="77" y="70"/>
                  </a:lnTo>
                  <a:lnTo>
                    <a:pt x="0" y="81"/>
                  </a:lnTo>
                  <a:lnTo>
                    <a:pt x="55" y="135"/>
                  </a:lnTo>
                  <a:lnTo>
                    <a:pt x="42" y="212"/>
                  </a:lnTo>
                  <a:lnTo>
                    <a:pt x="110" y="175"/>
                  </a:lnTo>
                  <a:lnTo>
                    <a:pt x="179" y="212"/>
                  </a:lnTo>
                  <a:lnTo>
                    <a:pt x="166" y="135"/>
                  </a:lnTo>
                  <a:lnTo>
                    <a:pt x="222" y="81"/>
                  </a:lnTo>
                  <a:lnTo>
                    <a:pt x="145" y="70"/>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67" name="Freeform 466"/>
            <p:cNvSpPr>
              <a:spLocks/>
            </p:cNvSpPr>
            <p:nvPr/>
          </p:nvSpPr>
          <p:spPr bwMode="auto">
            <a:xfrm>
              <a:off x="5637420" y="262039"/>
              <a:ext cx="70530" cy="65801"/>
            </a:xfrm>
            <a:custGeom>
              <a:avLst/>
              <a:gdLst>
                <a:gd name="T0" fmla="*/ 107 w 163"/>
                <a:gd name="T1" fmla="*/ 51 h 155"/>
                <a:gd name="T2" fmla="*/ 82 w 163"/>
                <a:gd name="T3" fmla="*/ 0 h 155"/>
                <a:gd name="T4" fmla="*/ 56 w 163"/>
                <a:gd name="T5" fmla="*/ 51 h 155"/>
                <a:gd name="T6" fmla="*/ 0 w 163"/>
                <a:gd name="T7" fmla="*/ 60 h 155"/>
                <a:gd name="T8" fmla="*/ 41 w 163"/>
                <a:gd name="T9" fmla="*/ 99 h 155"/>
                <a:gd name="T10" fmla="*/ 31 w 163"/>
                <a:gd name="T11" fmla="*/ 155 h 155"/>
                <a:gd name="T12" fmla="*/ 82 w 163"/>
                <a:gd name="T13" fmla="*/ 129 h 155"/>
                <a:gd name="T14" fmla="*/ 132 w 163"/>
                <a:gd name="T15" fmla="*/ 155 h 155"/>
                <a:gd name="T16" fmla="*/ 122 w 163"/>
                <a:gd name="T17" fmla="*/ 99 h 155"/>
                <a:gd name="T18" fmla="*/ 163 w 163"/>
                <a:gd name="T19" fmla="*/ 60 h 155"/>
                <a:gd name="T20" fmla="*/ 107 w 163"/>
                <a:gd name="T21" fmla="*/ 5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55">
                  <a:moveTo>
                    <a:pt x="107" y="51"/>
                  </a:moveTo>
                  <a:lnTo>
                    <a:pt x="82" y="0"/>
                  </a:lnTo>
                  <a:lnTo>
                    <a:pt x="56" y="51"/>
                  </a:lnTo>
                  <a:lnTo>
                    <a:pt x="0" y="60"/>
                  </a:lnTo>
                  <a:lnTo>
                    <a:pt x="41" y="99"/>
                  </a:lnTo>
                  <a:lnTo>
                    <a:pt x="31" y="155"/>
                  </a:lnTo>
                  <a:lnTo>
                    <a:pt x="82" y="129"/>
                  </a:lnTo>
                  <a:lnTo>
                    <a:pt x="132" y="155"/>
                  </a:lnTo>
                  <a:lnTo>
                    <a:pt x="122" y="99"/>
                  </a:lnTo>
                  <a:lnTo>
                    <a:pt x="163" y="60"/>
                  </a:lnTo>
                  <a:lnTo>
                    <a:pt x="107" y="51"/>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nvGrpSpPr>
            <p:cNvPr id="468" name="Group 467"/>
            <p:cNvGrpSpPr/>
            <p:nvPr/>
          </p:nvGrpSpPr>
          <p:grpSpPr>
            <a:xfrm>
              <a:off x="2532313" y="3717078"/>
              <a:ext cx="293242" cy="226418"/>
              <a:chOff x="2947571" y="3602029"/>
              <a:chExt cx="214058" cy="165278"/>
            </a:xfrm>
          </p:grpSpPr>
          <p:sp>
            <p:nvSpPr>
              <p:cNvPr id="796" name="Freeform 795"/>
              <p:cNvSpPr>
                <a:spLocks noEditPoints="1"/>
              </p:cNvSpPr>
              <p:nvPr/>
            </p:nvSpPr>
            <p:spPr bwMode="auto">
              <a:xfrm>
                <a:off x="2947571" y="3602029"/>
                <a:ext cx="214058" cy="165278"/>
              </a:xfrm>
              <a:custGeom>
                <a:avLst/>
                <a:gdLst>
                  <a:gd name="T0" fmla="*/ 526 w 565"/>
                  <a:gd name="T1" fmla="*/ 77 h 444"/>
                  <a:gd name="T2" fmla="*/ 485 w 565"/>
                  <a:gd name="T3" fmla="*/ 37 h 444"/>
                  <a:gd name="T4" fmla="*/ 435 w 565"/>
                  <a:gd name="T5" fmla="*/ 11 h 444"/>
                  <a:gd name="T6" fmla="*/ 380 w 565"/>
                  <a:gd name="T7" fmla="*/ 0 h 444"/>
                  <a:gd name="T8" fmla="*/ 323 w 565"/>
                  <a:gd name="T9" fmla="*/ 5 h 444"/>
                  <a:gd name="T10" fmla="*/ 269 w 565"/>
                  <a:gd name="T11" fmla="*/ 28 h 444"/>
                  <a:gd name="T12" fmla="*/ 242 w 565"/>
                  <a:gd name="T13" fmla="*/ 47 h 444"/>
                  <a:gd name="T14" fmla="*/ 210 w 565"/>
                  <a:gd name="T15" fmla="*/ 83 h 444"/>
                  <a:gd name="T16" fmla="*/ 188 w 565"/>
                  <a:gd name="T17" fmla="*/ 124 h 444"/>
                  <a:gd name="T18" fmla="*/ 176 w 565"/>
                  <a:gd name="T19" fmla="*/ 170 h 444"/>
                  <a:gd name="T20" fmla="*/ 176 w 565"/>
                  <a:gd name="T21" fmla="*/ 217 h 444"/>
                  <a:gd name="T22" fmla="*/ 25 w 565"/>
                  <a:gd name="T23" fmla="*/ 348 h 444"/>
                  <a:gd name="T24" fmla="*/ 10 w 565"/>
                  <a:gd name="T25" fmla="*/ 362 h 444"/>
                  <a:gd name="T26" fmla="*/ 0 w 565"/>
                  <a:gd name="T27" fmla="*/ 390 h 444"/>
                  <a:gd name="T28" fmla="*/ 8 w 565"/>
                  <a:gd name="T29" fmla="*/ 419 h 444"/>
                  <a:gd name="T30" fmla="*/ 21 w 565"/>
                  <a:gd name="T31" fmla="*/ 434 h 444"/>
                  <a:gd name="T32" fmla="*/ 49 w 565"/>
                  <a:gd name="T33" fmla="*/ 444 h 444"/>
                  <a:gd name="T34" fmla="*/ 78 w 565"/>
                  <a:gd name="T35" fmla="*/ 436 h 444"/>
                  <a:gd name="T36" fmla="*/ 247 w 565"/>
                  <a:gd name="T37" fmla="*/ 347 h 444"/>
                  <a:gd name="T38" fmla="*/ 287 w 565"/>
                  <a:gd name="T39" fmla="*/ 371 h 444"/>
                  <a:gd name="T40" fmla="*/ 333 w 565"/>
                  <a:gd name="T41" fmla="*/ 386 h 444"/>
                  <a:gd name="T42" fmla="*/ 379 w 565"/>
                  <a:gd name="T43" fmla="*/ 390 h 444"/>
                  <a:gd name="T44" fmla="*/ 427 w 565"/>
                  <a:gd name="T45" fmla="*/ 381 h 444"/>
                  <a:gd name="T46" fmla="*/ 471 w 565"/>
                  <a:gd name="T47" fmla="*/ 362 h 444"/>
                  <a:gd name="T48" fmla="*/ 503 w 565"/>
                  <a:gd name="T49" fmla="*/ 338 h 444"/>
                  <a:gd name="T50" fmla="*/ 539 w 565"/>
                  <a:gd name="T51" fmla="*/ 294 h 444"/>
                  <a:gd name="T52" fmla="*/ 559 w 565"/>
                  <a:gd name="T53" fmla="*/ 241 h 444"/>
                  <a:gd name="T54" fmla="*/ 565 w 565"/>
                  <a:gd name="T55" fmla="*/ 186 h 444"/>
                  <a:gd name="T56" fmla="*/ 554 w 565"/>
                  <a:gd name="T57" fmla="*/ 130 h 444"/>
                  <a:gd name="T58" fmla="*/ 537 w 565"/>
                  <a:gd name="T59" fmla="*/ 94 h 444"/>
                  <a:gd name="T60" fmla="*/ 429 w 565"/>
                  <a:gd name="T61" fmla="*/ 320 h 444"/>
                  <a:gd name="T62" fmla="*/ 390 w 565"/>
                  <a:gd name="T63" fmla="*/ 332 h 444"/>
                  <a:gd name="T64" fmla="*/ 350 w 565"/>
                  <a:gd name="T65" fmla="*/ 330 h 444"/>
                  <a:gd name="T66" fmla="*/ 312 w 565"/>
                  <a:gd name="T67" fmla="*/ 320 h 444"/>
                  <a:gd name="T68" fmla="*/ 279 w 565"/>
                  <a:gd name="T69" fmla="*/ 298 h 444"/>
                  <a:gd name="T70" fmla="*/ 252 w 565"/>
                  <a:gd name="T71" fmla="*/ 266 h 444"/>
                  <a:gd name="T72" fmla="*/ 240 w 565"/>
                  <a:gd name="T73" fmla="*/ 241 h 444"/>
                  <a:gd name="T74" fmla="*/ 232 w 565"/>
                  <a:gd name="T75" fmla="*/ 201 h 444"/>
                  <a:gd name="T76" fmla="*/ 237 w 565"/>
                  <a:gd name="T77" fmla="*/ 162 h 444"/>
                  <a:gd name="T78" fmla="*/ 251 w 565"/>
                  <a:gd name="T79" fmla="*/ 125 h 444"/>
                  <a:gd name="T80" fmla="*/ 276 w 565"/>
                  <a:gd name="T81" fmla="*/ 94 h 444"/>
                  <a:gd name="T82" fmla="*/ 299 w 565"/>
                  <a:gd name="T83" fmla="*/ 77 h 444"/>
                  <a:gd name="T84" fmla="*/ 337 w 565"/>
                  <a:gd name="T85" fmla="*/ 60 h 444"/>
                  <a:gd name="T86" fmla="*/ 377 w 565"/>
                  <a:gd name="T87" fmla="*/ 57 h 444"/>
                  <a:gd name="T88" fmla="*/ 416 w 565"/>
                  <a:gd name="T89" fmla="*/ 65 h 444"/>
                  <a:gd name="T90" fmla="*/ 451 w 565"/>
                  <a:gd name="T91" fmla="*/ 83 h 444"/>
                  <a:gd name="T92" fmla="*/ 481 w 565"/>
                  <a:gd name="T93" fmla="*/ 111 h 444"/>
                  <a:gd name="T94" fmla="*/ 495 w 565"/>
                  <a:gd name="T95" fmla="*/ 136 h 444"/>
                  <a:gd name="T96" fmla="*/ 507 w 565"/>
                  <a:gd name="T97" fmla="*/ 175 h 444"/>
                  <a:gd name="T98" fmla="*/ 507 w 565"/>
                  <a:gd name="T99" fmla="*/ 215 h 444"/>
                  <a:gd name="T100" fmla="*/ 496 w 565"/>
                  <a:gd name="T101" fmla="*/ 253 h 444"/>
                  <a:gd name="T102" fmla="*/ 473 w 565"/>
                  <a:gd name="T103" fmla="*/ 286 h 444"/>
                  <a:gd name="T104" fmla="*/ 442 w 565"/>
                  <a:gd name="T105" fmla="*/ 3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65" h="444">
                    <a:moveTo>
                      <a:pt x="537" y="94"/>
                    </a:moveTo>
                    <a:lnTo>
                      <a:pt x="537" y="94"/>
                    </a:lnTo>
                    <a:lnTo>
                      <a:pt x="526" y="77"/>
                    </a:lnTo>
                    <a:lnTo>
                      <a:pt x="513" y="63"/>
                    </a:lnTo>
                    <a:lnTo>
                      <a:pt x="500" y="49"/>
                    </a:lnTo>
                    <a:lnTo>
                      <a:pt x="485" y="37"/>
                    </a:lnTo>
                    <a:lnTo>
                      <a:pt x="469" y="26"/>
                    </a:lnTo>
                    <a:lnTo>
                      <a:pt x="453" y="17"/>
                    </a:lnTo>
                    <a:lnTo>
                      <a:pt x="435" y="11"/>
                    </a:lnTo>
                    <a:lnTo>
                      <a:pt x="417" y="5"/>
                    </a:lnTo>
                    <a:lnTo>
                      <a:pt x="399" y="2"/>
                    </a:lnTo>
                    <a:lnTo>
                      <a:pt x="380" y="0"/>
                    </a:lnTo>
                    <a:lnTo>
                      <a:pt x="361" y="0"/>
                    </a:lnTo>
                    <a:lnTo>
                      <a:pt x="342" y="1"/>
                    </a:lnTo>
                    <a:lnTo>
                      <a:pt x="323" y="5"/>
                    </a:lnTo>
                    <a:lnTo>
                      <a:pt x="305" y="11"/>
                    </a:lnTo>
                    <a:lnTo>
                      <a:pt x="286" y="18"/>
                    </a:lnTo>
                    <a:lnTo>
                      <a:pt x="269" y="28"/>
                    </a:lnTo>
                    <a:lnTo>
                      <a:pt x="269" y="28"/>
                    </a:lnTo>
                    <a:lnTo>
                      <a:pt x="255" y="37"/>
                    </a:lnTo>
                    <a:lnTo>
                      <a:pt x="242" y="47"/>
                    </a:lnTo>
                    <a:lnTo>
                      <a:pt x="230" y="58"/>
                    </a:lnTo>
                    <a:lnTo>
                      <a:pt x="219" y="70"/>
                    </a:lnTo>
                    <a:lnTo>
                      <a:pt x="210" y="83"/>
                    </a:lnTo>
                    <a:lnTo>
                      <a:pt x="202" y="96"/>
                    </a:lnTo>
                    <a:lnTo>
                      <a:pt x="194" y="110"/>
                    </a:lnTo>
                    <a:lnTo>
                      <a:pt x="188" y="124"/>
                    </a:lnTo>
                    <a:lnTo>
                      <a:pt x="183" y="139"/>
                    </a:lnTo>
                    <a:lnTo>
                      <a:pt x="179" y="154"/>
                    </a:lnTo>
                    <a:lnTo>
                      <a:pt x="176" y="170"/>
                    </a:lnTo>
                    <a:lnTo>
                      <a:pt x="175" y="186"/>
                    </a:lnTo>
                    <a:lnTo>
                      <a:pt x="175" y="201"/>
                    </a:lnTo>
                    <a:lnTo>
                      <a:pt x="176" y="217"/>
                    </a:lnTo>
                    <a:lnTo>
                      <a:pt x="178" y="232"/>
                    </a:lnTo>
                    <a:lnTo>
                      <a:pt x="183" y="248"/>
                    </a:lnTo>
                    <a:lnTo>
                      <a:pt x="25" y="348"/>
                    </a:lnTo>
                    <a:lnTo>
                      <a:pt x="25" y="348"/>
                    </a:lnTo>
                    <a:lnTo>
                      <a:pt x="16" y="354"/>
                    </a:lnTo>
                    <a:lnTo>
                      <a:pt x="10" y="362"/>
                    </a:lnTo>
                    <a:lnTo>
                      <a:pt x="4" y="370"/>
                    </a:lnTo>
                    <a:lnTo>
                      <a:pt x="1" y="380"/>
                    </a:lnTo>
                    <a:lnTo>
                      <a:pt x="0" y="390"/>
                    </a:lnTo>
                    <a:lnTo>
                      <a:pt x="0" y="400"/>
                    </a:lnTo>
                    <a:lnTo>
                      <a:pt x="3" y="409"/>
                    </a:lnTo>
                    <a:lnTo>
                      <a:pt x="8" y="419"/>
                    </a:lnTo>
                    <a:lnTo>
                      <a:pt x="8" y="419"/>
                    </a:lnTo>
                    <a:lnTo>
                      <a:pt x="13" y="428"/>
                    </a:lnTo>
                    <a:lnTo>
                      <a:pt x="21" y="434"/>
                    </a:lnTo>
                    <a:lnTo>
                      <a:pt x="29" y="438"/>
                    </a:lnTo>
                    <a:lnTo>
                      <a:pt x="39" y="442"/>
                    </a:lnTo>
                    <a:lnTo>
                      <a:pt x="49" y="444"/>
                    </a:lnTo>
                    <a:lnTo>
                      <a:pt x="58" y="443"/>
                    </a:lnTo>
                    <a:lnTo>
                      <a:pt x="68" y="441"/>
                    </a:lnTo>
                    <a:lnTo>
                      <a:pt x="78" y="436"/>
                    </a:lnTo>
                    <a:lnTo>
                      <a:pt x="235" y="336"/>
                    </a:lnTo>
                    <a:lnTo>
                      <a:pt x="235" y="336"/>
                    </a:lnTo>
                    <a:lnTo>
                      <a:pt x="247" y="347"/>
                    </a:lnTo>
                    <a:lnTo>
                      <a:pt x="260" y="356"/>
                    </a:lnTo>
                    <a:lnTo>
                      <a:pt x="273" y="364"/>
                    </a:lnTo>
                    <a:lnTo>
                      <a:pt x="287" y="371"/>
                    </a:lnTo>
                    <a:lnTo>
                      <a:pt x="302" y="378"/>
                    </a:lnTo>
                    <a:lnTo>
                      <a:pt x="318" y="382"/>
                    </a:lnTo>
                    <a:lnTo>
                      <a:pt x="333" y="386"/>
                    </a:lnTo>
                    <a:lnTo>
                      <a:pt x="348" y="389"/>
                    </a:lnTo>
                    <a:lnTo>
                      <a:pt x="364" y="390"/>
                    </a:lnTo>
                    <a:lnTo>
                      <a:pt x="379" y="390"/>
                    </a:lnTo>
                    <a:lnTo>
                      <a:pt x="395" y="388"/>
                    </a:lnTo>
                    <a:lnTo>
                      <a:pt x="410" y="386"/>
                    </a:lnTo>
                    <a:lnTo>
                      <a:pt x="427" y="381"/>
                    </a:lnTo>
                    <a:lnTo>
                      <a:pt x="442" y="376"/>
                    </a:lnTo>
                    <a:lnTo>
                      <a:pt x="457" y="369"/>
                    </a:lnTo>
                    <a:lnTo>
                      <a:pt x="471" y="362"/>
                    </a:lnTo>
                    <a:lnTo>
                      <a:pt x="471" y="362"/>
                    </a:lnTo>
                    <a:lnTo>
                      <a:pt x="488" y="351"/>
                    </a:lnTo>
                    <a:lnTo>
                      <a:pt x="503" y="338"/>
                    </a:lnTo>
                    <a:lnTo>
                      <a:pt x="516" y="324"/>
                    </a:lnTo>
                    <a:lnTo>
                      <a:pt x="528" y="309"/>
                    </a:lnTo>
                    <a:lnTo>
                      <a:pt x="539" y="294"/>
                    </a:lnTo>
                    <a:lnTo>
                      <a:pt x="548" y="276"/>
                    </a:lnTo>
                    <a:lnTo>
                      <a:pt x="554" y="259"/>
                    </a:lnTo>
                    <a:lnTo>
                      <a:pt x="559" y="241"/>
                    </a:lnTo>
                    <a:lnTo>
                      <a:pt x="564" y="222"/>
                    </a:lnTo>
                    <a:lnTo>
                      <a:pt x="565" y="204"/>
                    </a:lnTo>
                    <a:lnTo>
                      <a:pt x="565" y="186"/>
                    </a:lnTo>
                    <a:lnTo>
                      <a:pt x="564" y="166"/>
                    </a:lnTo>
                    <a:lnTo>
                      <a:pt x="559" y="148"/>
                    </a:lnTo>
                    <a:lnTo>
                      <a:pt x="554" y="130"/>
                    </a:lnTo>
                    <a:lnTo>
                      <a:pt x="546" y="111"/>
                    </a:lnTo>
                    <a:lnTo>
                      <a:pt x="537" y="94"/>
                    </a:lnTo>
                    <a:lnTo>
                      <a:pt x="537" y="94"/>
                    </a:lnTo>
                    <a:close/>
                    <a:moveTo>
                      <a:pt x="442" y="312"/>
                    </a:moveTo>
                    <a:lnTo>
                      <a:pt x="442" y="312"/>
                    </a:lnTo>
                    <a:lnTo>
                      <a:pt x="429" y="320"/>
                    </a:lnTo>
                    <a:lnTo>
                      <a:pt x="416" y="324"/>
                    </a:lnTo>
                    <a:lnTo>
                      <a:pt x="403" y="328"/>
                    </a:lnTo>
                    <a:lnTo>
                      <a:pt x="390" y="332"/>
                    </a:lnTo>
                    <a:lnTo>
                      <a:pt x="377" y="333"/>
                    </a:lnTo>
                    <a:lnTo>
                      <a:pt x="363" y="333"/>
                    </a:lnTo>
                    <a:lnTo>
                      <a:pt x="350" y="330"/>
                    </a:lnTo>
                    <a:lnTo>
                      <a:pt x="337" y="328"/>
                    </a:lnTo>
                    <a:lnTo>
                      <a:pt x="324" y="325"/>
                    </a:lnTo>
                    <a:lnTo>
                      <a:pt x="312" y="320"/>
                    </a:lnTo>
                    <a:lnTo>
                      <a:pt x="300" y="313"/>
                    </a:lnTo>
                    <a:lnTo>
                      <a:pt x="289" y="307"/>
                    </a:lnTo>
                    <a:lnTo>
                      <a:pt x="279" y="298"/>
                    </a:lnTo>
                    <a:lnTo>
                      <a:pt x="269" y="288"/>
                    </a:lnTo>
                    <a:lnTo>
                      <a:pt x="260" y="278"/>
                    </a:lnTo>
                    <a:lnTo>
                      <a:pt x="252" y="266"/>
                    </a:lnTo>
                    <a:lnTo>
                      <a:pt x="252" y="266"/>
                    </a:lnTo>
                    <a:lnTo>
                      <a:pt x="245" y="254"/>
                    </a:lnTo>
                    <a:lnTo>
                      <a:pt x="240" y="241"/>
                    </a:lnTo>
                    <a:lnTo>
                      <a:pt x="237" y="228"/>
                    </a:lnTo>
                    <a:lnTo>
                      <a:pt x="233" y="215"/>
                    </a:lnTo>
                    <a:lnTo>
                      <a:pt x="232" y="201"/>
                    </a:lnTo>
                    <a:lnTo>
                      <a:pt x="232" y="188"/>
                    </a:lnTo>
                    <a:lnTo>
                      <a:pt x="233" y="175"/>
                    </a:lnTo>
                    <a:lnTo>
                      <a:pt x="237" y="162"/>
                    </a:lnTo>
                    <a:lnTo>
                      <a:pt x="240" y="149"/>
                    </a:lnTo>
                    <a:lnTo>
                      <a:pt x="245" y="137"/>
                    </a:lnTo>
                    <a:lnTo>
                      <a:pt x="251" y="125"/>
                    </a:lnTo>
                    <a:lnTo>
                      <a:pt x="258" y="113"/>
                    </a:lnTo>
                    <a:lnTo>
                      <a:pt x="267" y="104"/>
                    </a:lnTo>
                    <a:lnTo>
                      <a:pt x="276" y="94"/>
                    </a:lnTo>
                    <a:lnTo>
                      <a:pt x="287" y="84"/>
                    </a:lnTo>
                    <a:lnTo>
                      <a:pt x="299" y="77"/>
                    </a:lnTo>
                    <a:lnTo>
                      <a:pt x="299" y="77"/>
                    </a:lnTo>
                    <a:lnTo>
                      <a:pt x="311" y="70"/>
                    </a:lnTo>
                    <a:lnTo>
                      <a:pt x="324" y="65"/>
                    </a:lnTo>
                    <a:lnTo>
                      <a:pt x="337" y="60"/>
                    </a:lnTo>
                    <a:lnTo>
                      <a:pt x="350" y="58"/>
                    </a:lnTo>
                    <a:lnTo>
                      <a:pt x="364" y="57"/>
                    </a:lnTo>
                    <a:lnTo>
                      <a:pt x="377" y="57"/>
                    </a:lnTo>
                    <a:lnTo>
                      <a:pt x="390" y="58"/>
                    </a:lnTo>
                    <a:lnTo>
                      <a:pt x="403" y="60"/>
                    </a:lnTo>
                    <a:lnTo>
                      <a:pt x="416" y="65"/>
                    </a:lnTo>
                    <a:lnTo>
                      <a:pt x="428" y="70"/>
                    </a:lnTo>
                    <a:lnTo>
                      <a:pt x="440" y="76"/>
                    </a:lnTo>
                    <a:lnTo>
                      <a:pt x="451" y="83"/>
                    </a:lnTo>
                    <a:lnTo>
                      <a:pt x="461" y="92"/>
                    </a:lnTo>
                    <a:lnTo>
                      <a:pt x="471" y="101"/>
                    </a:lnTo>
                    <a:lnTo>
                      <a:pt x="481" y="111"/>
                    </a:lnTo>
                    <a:lnTo>
                      <a:pt x="488" y="123"/>
                    </a:lnTo>
                    <a:lnTo>
                      <a:pt x="488" y="123"/>
                    </a:lnTo>
                    <a:lnTo>
                      <a:pt x="495" y="136"/>
                    </a:lnTo>
                    <a:lnTo>
                      <a:pt x="500" y="149"/>
                    </a:lnTo>
                    <a:lnTo>
                      <a:pt x="504" y="162"/>
                    </a:lnTo>
                    <a:lnTo>
                      <a:pt x="507" y="175"/>
                    </a:lnTo>
                    <a:lnTo>
                      <a:pt x="508" y="188"/>
                    </a:lnTo>
                    <a:lnTo>
                      <a:pt x="508" y="202"/>
                    </a:lnTo>
                    <a:lnTo>
                      <a:pt x="507" y="215"/>
                    </a:lnTo>
                    <a:lnTo>
                      <a:pt x="504" y="228"/>
                    </a:lnTo>
                    <a:lnTo>
                      <a:pt x="500" y="240"/>
                    </a:lnTo>
                    <a:lnTo>
                      <a:pt x="496" y="253"/>
                    </a:lnTo>
                    <a:lnTo>
                      <a:pt x="489" y="265"/>
                    </a:lnTo>
                    <a:lnTo>
                      <a:pt x="482" y="275"/>
                    </a:lnTo>
                    <a:lnTo>
                      <a:pt x="473" y="286"/>
                    </a:lnTo>
                    <a:lnTo>
                      <a:pt x="463" y="296"/>
                    </a:lnTo>
                    <a:lnTo>
                      <a:pt x="454" y="305"/>
                    </a:lnTo>
                    <a:lnTo>
                      <a:pt x="442" y="312"/>
                    </a:lnTo>
                    <a:lnTo>
                      <a:pt x="442" y="312"/>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97" name="Freeform 796"/>
              <p:cNvSpPr>
                <a:spLocks/>
              </p:cNvSpPr>
              <p:nvPr/>
            </p:nvSpPr>
            <p:spPr bwMode="auto">
              <a:xfrm>
                <a:off x="3067503" y="3636276"/>
                <a:ext cx="39472" cy="77427"/>
              </a:xfrm>
              <a:custGeom>
                <a:avLst/>
                <a:gdLst>
                  <a:gd name="T0" fmla="*/ 65 w 106"/>
                  <a:gd name="T1" fmla="*/ 84 h 207"/>
                  <a:gd name="T2" fmla="*/ 46 w 106"/>
                  <a:gd name="T3" fmla="*/ 73 h 207"/>
                  <a:gd name="T4" fmla="*/ 42 w 106"/>
                  <a:gd name="T5" fmla="*/ 67 h 207"/>
                  <a:gd name="T6" fmla="*/ 42 w 106"/>
                  <a:gd name="T7" fmla="*/ 63 h 207"/>
                  <a:gd name="T8" fmla="*/ 47 w 106"/>
                  <a:gd name="T9" fmla="*/ 58 h 207"/>
                  <a:gd name="T10" fmla="*/ 53 w 106"/>
                  <a:gd name="T11" fmla="*/ 56 h 207"/>
                  <a:gd name="T12" fmla="*/ 57 w 106"/>
                  <a:gd name="T13" fmla="*/ 56 h 207"/>
                  <a:gd name="T14" fmla="*/ 73 w 106"/>
                  <a:gd name="T15" fmla="*/ 58 h 207"/>
                  <a:gd name="T16" fmla="*/ 81 w 106"/>
                  <a:gd name="T17" fmla="*/ 62 h 207"/>
                  <a:gd name="T18" fmla="*/ 104 w 106"/>
                  <a:gd name="T19" fmla="*/ 35 h 207"/>
                  <a:gd name="T20" fmla="*/ 96 w 106"/>
                  <a:gd name="T21" fmla="*/ 31 h 207"/>
                  <a:gd name="T22" fmla="*/ 71 w 106"/>
                  <a:gd name="T23" fmla="*/ 22 h 207"/>
                  <a:gd name="T24" fmla="*/ 38 w 106"/>
                  <a:gd name="T25" fmla="*/ 0 h 207"/>
                  <a:gd name="T26" fmla="*/ 38 w 106"/>
                  <a:gd name="T27" fmla="*/ 25 h 207"/>
                  <a:gd name="T28" fmla="*/ 24 w 106"/>
                  <a:gd name="T29" fmla="*/ 31 h 207"/>
                  <a:gd name="T30" fmla="*/ 13 w 106"/>
                  <a:gd name="T31" fmla="*/ 42 h 207"/>
                  <a:gd name="T32" fmla="*/ 7 w 106"/>
                  <a:gd name="T33" fmla="*/ 54 h 207"/>
                  <a:gd name="T34" fmla="*/ 3 w 106"/>
                  <a:gd name="T35" fmla="*/ 69 h 207"/>
                  <a:gd name="T36" fmla="*/ 5 w 106"/>
                  <a:gd name="T37" fmla="*/ 79 h 207"/>
                  <a:gd name="T38" fmla="*/ 12 w 106"/>
                  <a:gd name="T39" fmla="*/ 95 h 207"/>
                  <a:gd name="T40" fmla="*/ 24 w 106"/>
                  <a:gd name="T41" fmla="*/ 106 h 207"/>
                  <a:gd name="T42" fmla="*/ 48 w 106"/>
                  <a:gd name="T43" fmla="*/ 117 h 207"/>
                  <a:gd name="T44" fmla="*/ 59 w 106"/>
                  <a:gd name="T45" fmla="*/ 123 h 207"/>
                  <a:gd name="T46" fmla="*/ 67 w 106"/>
                  <a:gd name="T47" fmla="*/ 133 h 207"/>
                  <a:gd name="T48" fmla="*/ 68 w 106"/>
                  <a:gd name="T49" fmla="*/ 136 h 207"/>
                  <a:gd name="T50" fmla="*/ 66 w 106"/>
                  <a:gd name="T51" fmla="*/ 142 h 207"/>
                  <a:gd name="T52" fmla="*/ 62 w 106"/>
                  <a:gd name="T53" fmla="*/ 147 h 207"/>
                  <a:gd name="T54" fmla="*/ 50 w 106"/>
                  <a:gd name="T55" fmla="*/ 150 h 207"/>
                  <a:gd name="T56" fmla="*/ 42 w 106"/>
                  <a:gd name="T57" fmla="*/ 149 h 207"/>
                  <a:gd name="T58" fmla="*/ 28 w 106"/>
                  <a:gd name="T59" fmla="*/ 144 h 207"/>
                  <a:gd name="T60" fmla="*/ 12 w 106"/>
                  <a:gd name="T61" fmla="*/ 135 h 207"/>
                  <a:gd name="T62" fmla="*/ 6 w 106"/>
                  <a:gd name="T63" fmla="*/ 171 h 207"/>
                  <a:gd name="T64" fmla="*/ 12 w 106"/>
                  <a:gd name="T65" fmla="*/ 176 h 207"/>
                  <a:gd name="T66" fmla="*/ 28 w 106"/>
                  <a:gd name="T67" fmla="*/ 181 h 207"/>
                  <a:gd name="T68" fmla="*/ 37 w 106"/>
                  <a:gd name="T69" fmla="*/ 207 h 207"/>
                  <a:gd name="T70" fmla="*/ 70 w 106"/>
                  <a:gd name="T71" fmla="*/ 181 h 207"/>
                  <a:gd name="T72" fmla="*/ 78 w 106"/>
                  <a:gd name="T73" fmla="*/ 178 h 207"/>
                  <a:gd name="T74" fmla="*/ 91 w 106"/>
                  <a:gd name="T75" fmla="*/ 169 h 207"/>
                  <a:gd name="T76" fmla="*/ 101 w 106"/>
                  <a:gd name="T77" fmla="*/ 157 h 207"/>
                  <a:gd name="T78" fmla="*/ 106 w 106"/>
                  <a:gd name="T79" fmla="*/ 142 h 207"/>
                  <a:gd name="T80" fmla="*/ 106 w 106"/>
                  <a:gd name="T81" fmla="*/ 135 h 207"/>
                  <a:gd name="T82" fmla="*/ 103 w 106"/>
                  <a:gd name="T83" fmla="*/ 115 h 207"/>
                  <a:gd name="T84" fmla="*/ 93 w 106"/>
                  <a:gd name="T85" fmla="*/ 101 h 207"/>
                  <a:gd name="T86" fmla="*/ 79 w 106"/>
                  <a:gd name="T87" fmla="*/ 91 h 207"/>
                  <a:gd name="T88" fmla="*/ 65 w 106"/>
                  <a:gd name="T89" fmla="*/ 8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 h="207">
                    <a:moveTo>
                      <a:pt x="65" y="84"/>
                    </a:moveTo>
                    <a:lnTo>
                      <a:pt x="65" y="84"/>
                    </a:lnTo>
                    <a:lnTo>
                      <a:pt x="52" y="79"/>
                    </a:lnTo>
                    <a:lnTo>
                      <a:pt x="46" y="73"/>
                    </a:lnTo>
                    <a:lnTo>
                      <a:pt x="42" y="70"/>
                    </a:lnTo>
                    <a:lnTo>
                      <a:pt x="42" y="67"/>
                    </a:lnTo>
                    <a:lnTo>
                      <a:pt x="42" y="67"/>
                    </a:lnTo>
                    <a:lnTo>
                      <a:pt x="42" y="63"/>
                    </a:lnTo>
                    <a:lnTo>
                      <a:pt x="44" y="60"/>
                    </a:lnTo>
                    <a:lnTo>
                      <a:pt x="47" y="58"/>
                    </a:lnTo>
                    <a:lnTo>
                      <a:pt x="49" y="57"/>
                    </a:lnTo>
                    <a:lnTo>
                      <a:pt x="53" y="56"/>
                    </a:lnTo>
                    <a:lnTo>
                      <a:pt x="57" y="56"/>
                    </a:lnTo>
                    <a:lnTo>
                      <a:pt x="57" y="56"/>
                    </a:lnTo>
                    <a:lnTo>
                      <a:pt x="66" y="57"/>
                    </a:lnTo>
                    <a:lnTo>
                      <a:pt x="73" y="58"/>
                    </a:lnTo>
                    <a:lnTo>
                      <a:pt x="78" y="60"/>
                    </a:lnTo>
                    <a:lnTo>
                      <a:pt x="81" y="62"/>
                    </a:lnTo>
                    <a:lnTo>
                      <a:pt x="91" y="68"/>
                    </a:lnTo>
                    <a:lnTo>
                      <a:pt x="104" y="35"/>
                    </a:lnTo>
                    <a:lnTo>
                      <a:pt x="96" y="31"/>
                    </a:lnTo>
                    <a:lnTo>
                      <a:pt x="96" y="31"/>
                    </a:lnTo>
                    <a:lnTo>
                      <a:pt x="84" y="26"/>
                    </a:lnTo>
                    <a:lnTo>
                      <a:pt x="71" y="22"/>
                    </a:lnTo>
                    <a:lnTo>
                      <a:pt x="71" y="0"/>
                    </a:lnTo>
                    <a:lnTo>
                      <a:pt x="38" y="0"/>
                    </a:lnTo>
                    <a:lnTo>
                      <a:pt x="38" y="25"/>
                    </a:lnTo>
                    <a:lnTo>
                      <a:pt x="38" y="25"/>
                    </a:lnTo>
                    <a:lnTo>
                      <a:pt x="30" y="28"/>
                    </a:lnTo>
                    <a:lnTo>
                      <a:pt x="24" y="31"/>
                    </a:lnTo>
                    <a:lnTo>
                      <a:pt x="19" y="36"/>
                    </a:lnTo>
                    <a:lnTo>
                      <a:pt x="13" y="42"/>
                    </a:lnTo>
                    <a:lnTo>
                      <a:pt x="9" y="47"/>
                    </a:lnTo>
                    <a:lnTo>
                      <a:pt x="7" y="54"/>
                    </a:lnTo>
                    <a:lnTo>
                      <a:pt x="5" y="61"/>
                    </a:lnTo>
                    <a:lnTo>
                      <a:pt x="3" y="69"/>
                    </a:lnTo>
                    <a:lnTo>
                      <a:pt x="3" y="69"/>
                    </a:lnTo>
                    <a:lnTo>
                      <a:pt x="5" y="79"/>
                    </a:lnTo>
                    <a:lnTo>
                      <a:pt x="8" y="87"/>
                    </a:lnTo>
                    <a:lnTo>
                      <a:pt x="12" y="95"/>
                    </a:lnTo>
                    <a:lnTo>
                      <a:pt x="17" y="100"/>
                    </a:lnTo>
                    <a:lnTo>
                      <a:pt x="24" y="106"/>
                    </a:lnTo>
                    <a:lnTo>
                      <a:pt x="32" y="110"/>
                    </a:lnTo>
                    <a:lnTo>
                      <a:pt x="48" y="117"/>
                    </a:lnTo>
                    <a:lnTo>
                      <a:pt x="48" y="117"/>
                    </a:lnTo>
                    <a:lnTo>
                      <a:pt x="59" y="123"/>
                    </a:lnTo>
                    <a:lnTo>
                      <a:pt x="65" y="128"/>
                    </a:lnTo>
                    <a:lnTo>
                      <a:pt x="67" y="133"/>
                    </a:lnTo>
                    <a:lnTo>
                      <a:pt x="68" y="136"/>
                    </a:lnTo>
                    <a:lnTo>
                      <a:pt x="68" y="136"/>
                    </a:lnTo>
                    <a:lnTo>
                      <a:pt x="67" y="139"/>
                    </a:lnTo>
                    <a:lnTo>
                      <a:pt x="66" y="142"/>
                    </a:lnTo>
                    <a:lnTo>
                      <a:pt x="64" y="144"/>
                    </a:lnTo>
                    <a:lnTo>
                      <a:pt x="62" y="147"/>
                    </a:lnTo>
                    <a:lnTo>
                      <a:pt x="56" y="149"/>
                    </a:lnTo>
                    <a:lnTo>
                      <a:pt x="50" y="150"/>
                    </a:lnTo>
                    <a:lnTo>
                      <a:pt x="50" y="150"/>
                    </a:lnTo>
                    <a:lnTo>
                      <a:pt x="42" y="149"/>
                    </a:lnTo>
                    <a:lnTo>
                      <a:pt x="35" y="148"/>
                    </a:lnTo>
                    <a:lnTo>
                      <a:pt x="28" y="144"/>
                    </a:lnTo>
                    <a:lnTo>
                      <a:pt x="22" y="141"/>
                    </a:lnTo>
                    <a:lnTo>
                      <a:pt x="12" y="135"/>
                    </a:lnTo>
                    <a:lnTo>
                      <a:pt x="0" y="168"/>
                    </a:lnTo>
                    <a:lnTo>
                      <a:pt x="6" y="171"/>
                    </a:lnTo>
                    <a:lnTo>
                      <a:pt x="6" y="171"/>
                    </a:lnTo>
                    <a:lnTo>
                      <a:pt x="12" y="176"/>
                    </a:lnTo>
                    <a:lnTo>
                      <a:pt x="20" y="179"/>
                    </a:lnTo>
                    <a:lnTo>
                      <a:pt x="28" y="181"/>
                    </a:lnTo>
                    <a:lnTo>
                      <a:pt x="37" y="183"/>
                    </a:lnTo>
                    <a:lnTo>
                      <a:pt x="37" y="207"/>
                    </a:lnTo>
                    <a:lnTo>
                      <a:pt x="70" y="207"/>
                    </a:lnTo>
                    <a:lnTo>
                      <a:pt x="70" y="181"/>
                    </a:lnTo>
                    <a:lnTo>
                      <a:pt x="70" y="181"/>
                    </a:lnTo>
                    <a:lnTo>
                      <a:pt x="78" y="178"/>
                    </a:lnTo>
                    <a:lnTo>
                      <a:pt x="86" y="174"/>
                    </a:lnTo>
                    <a:lnTo>
                      <a:pt x="91" y="169"/>
                    </a:lnTo>
                    <a:lnTo>
                      <a:pt x="96" y="164"/>
                    </a:lnTo>
                    <a:lnTo>
                      <a:pt x="101" y="157"/>
                    </a:lnTo>
                    <a:lnTo>
                      <a:pt x="104" y="150"/>
                    </a:lnTo>
                    <a:lnTo>
                      <a:pt x="106" y="142"/>
                    </a:lnTo>
                    <a:lnTo>
                      <a:pt x="106" y="135"/>
                    </a:lnTo>
                    <a:lnTo>
                      <a:pt x="106" y="135"/>
                    </a:lnTo>
                    <a:lnTo>
                      <a:pt x="105" y="124"/>
                    </a:lnTo>
                    <a:lnTo>
                      <a:pt x="103" y="115"/>
                    </a:lnTo>
                    <a:lnTo>
                      <a:pt x="98" y="108"/>
                    </a:lnTo>
                    <a:lnTo>
                      <a:pt x="93" y="101"/>
                    </a:lnTo>
                    <a:lnTo>
                      <a:pt x="87" y="96"/>
                    </a:lnTo>
                    <a:lnTo>
                      <a:pt x="79" y="91"/>
                    </a:lnTo>
                    <a:lnTo>
                      <a:pt x="65" y="84"/>
                    </a:lnTo>
                    <a:lnTo>
                      <a:pt x="65" y="84"/>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sp>
          <p:nvSpPr>
            <p:cNvPr id="469" name="Freeform 468"/>
            <p:cNvSpPr>
              <a:spLocks noEditPoints="1"/>
            </p:cNvSpPr>
            <p:nvPr/>
          </p:nvSpPr>
          <p:spPr bwMode="auto">
            <a:xfrm>
              <a:off x="5455842" y="390894"/>
              <a:ext cx="285562" cy="275017"/>
            </a:xfrm>
            <a:custGeom>
              <a:avLst/>
              <a:gdLst>
                <a:gd name="T0" fmla="*/ 622 w 661"/>
                <a:gd name="T1" fmla="*/ 329 h 652"/>
                <a:gd name="T2" fmla="*/ 656 w 661"/>
                <a:gd name="T3" fmla="*/ 275 h 652"/>
                <a:gd name="T4" fmla="*/ 608 w 661"/>
                <a:gd name="T5" fmla="*/ 266 h 652"/>
                <a:gd name="T6" fmla="*/ 600 w 661"/>
                <a:gd name="T7" fmla="*/ 230 h 652"/>
                <a:gd name="T8" fmla="*/ 626 w 661"/>
                <a:gd name="T9" fmla="*/ 182 h 652"/>
                <a:gd name="T10" fmla="*/ 571 w 661"/>
                <a:gd name="T11" fmla="*/ 173 h 652"/>
                <a:gd name="T12" fmla="*/ 546 w 661"/>
                <a:gd name="T13" fmla="*/ 141 h 652"/>
                <a:gd name="T14" fmla="*/ 553 w 661"/>
                <a:gd name="T15" fmla="*/ 86 h 652"/>
                <a:gd name="T16" fmla="*/ 499 w 661"/>
                <a:gd name="T17" fmla="*/ 97 h 652"/>
                <a:gd name="T18" fmla="*/ 466 w 661"/>
                <a:gd name="T19" fmla="*/ 80 h 652"/>
                <a:gd name="T20" fmla="*/ 471 w 661"/>
                <a:gd name="T21" fmla="*/ 32 h 652"/>
                <a:gd name="T22" fmla="*/ 408 w 661"/>
                <a:gd name="T23" fmla="*/ 50 h 652"/>
                <a:gd name="T24" fmla="*/ 367 w 661"/>
                <a:gd name="T25" fmla="*/ 49 h 652"/>
                <a:gd name="T26" fmla="*/ 353 w 661"/>
                <a:gd name="T27" fmla="*/ 1 h 652"/>
                <a:gd name="T28" fmla="*/ 301 w 661"/>
                <a:gd name="T29" fmla="*/ 41 h 652"/>
                <a:gd name="T30" fmla="*/ 268 w 661"/>
                <a:gd name="T31" fmla="*/ 55 h 652"/>
                <a:gd name="T32" fmla="*/ 232 w 661"/>
                <a:gd name="T33" fmla="*/ 15 h 652"/>
                <a:gd name="T34" fmla="*/ 199 w 661"/>
                <a:gd name="T35" fmla="*/ 65 h 652"/>
                <a:gd name="T36" fmla="*/ 172 w 661"/>
                <a:gd name="T37" fmla="*/ 95 h 652"/>
                <a:gd name="T38" fmla="*/ 125 w 661"/>
                <a:gd name="T39" fmla="*/ 72 h 652"/>
                <a:gd name="T40" fmla="*/ 112 w 661"/>
                <a:gd name="T41" fmla="*/ 129 h 652"/>
                <a:gd name="T42" fmla="*/ 102 w 661"/>
                <a:gd name="T43" fmla="*/ 163 h 652"/>
                <a:gd name="T44" fmla="*/ 59 w 661"/>
                <a:gd name="T45" fmla="*/ 170 h 652"/>
                <a:gd name="T46" fmla="*/ 50 w 661"/>
                <a:gd name="T47" fmla="*/ 215 h 652"/>
                <a:gd name="T48" fmla="*/ 57 w 661"/>
                <a:gd name="T49" fmla="*/ 255 h 652"/>
                <a:gd name="T50" fmla="*/ 20 w 661"/>
                <a:gd name="T51" fmla="*/ 278 h 652"/>
                <a:gd name="T52" fmla="*/ 29 w 661"/>
                <a:gd name="T53" fmla="*/ 323 h 652"/>
                <a:gd name="T54" fmla="*/ 49 w 661"/>
                <a:gd name="T55" fmla="*/ 358 h 652"/>
                <a:gd name="T56" fmla="*/ 29 w 661"/>
                <a:gd name="T57" fmla="*/ 389 h 652"/>
                <a:gd name="T58" fmla="*/ 41 w 661"/>
                <a:gd name="T59" fmla="*/ 431 h 652"/>
                <a:gd name="T60" fmla="*/ 80 w 661"/>
                <a:gd name="T61" fmla="*/ 456 h 652"/>
                <a:gd name="T62" fmla="*/ 72 w 661"/>
                <a:gd name="T63" fmla="*/ 493 h 652"/>
                <a:gd name="T64" fmla="*/ 98 w 661"/>
                <a:gd name="T65" fmla="*/ 527 h 652"/>
                <a:gd name="T66" fmla="*/ 136 w 661"/>
                <a:gd name="T67" fmla="*/ 529 h 652"/>
                <a:gd name="T68" fmla="*/ 152 w 661"/>
                <a:gd name="T69" fmla="*/ 567 h 652"/>
                <a:gd name="T70" fmla="*/ 183 w 661"/>
                <a:gd name="T71" fmla="*/ 602 h 652"/>
                <a:gd name="T72" fmla="*/ 223 w 661"/>
                <a:gd name="T73" fmla="*/ 585 h 652"/>
                <a:gd name="T74" fmla="*/ 250 w 661"/>
                <a:gd name="T75" fmla="*/ 609 h 652"/>
                <a:gd name="T76" fmla="*/ 276 w 661"/>
                <a:gd name="T77" fmla="*/ 649 h 652"/>
                <a:gd name="T78" fmla="*/ 310 w 661"/>
                <a:gd name="T79" fmla="*/ 610 h 652"/>
                <a:gd name="T80" fmla="*/ 345 w 661"/>
                <a:gd name="T81" fmla="*/ 608 h 652"/>
                <a:gd name="T82" fmla="*/ 368 w 661"/>
                <a:gd name="T83" fmla="*/ 652 h 652"/>
                <a:gd name="T84" fmla="*/ 411 w 661"/>
                <a:gd name="T85" fmla="*/ 604 h 652"/>
                <a:gd name="T86" fmla="*/ 447 w 661"/>
                <a:gd name="T87" fmla="*/ 583 h 652"/>
                <a:gd name="T88" fmla="*/ 485 w 661"/>
                <a:gd name="T89" fmla="*/ 616 h 652"/>
                <a:gd name="T90" fmla="*/ 506 w 661"/>
                <a:gd name="T91" fmla="*/ 555 h 652"/>
                <a:gd name="T92" fmla="*/ 533 w 661"/>
                <a:gd name="T93" fmla="*/ 524 h 652"/>
                <a:gd name="T94" fmla="*/ 580 w 661"/>
                <a:gd name="T95" fmla="*/ 541 h 652"/>
                <a:gd name="T96" fmla="*/ 579 w 661"/>
                <a:gd name="T97" fmla="*/ 478 h 652"/>
                <a:gd name="T98" fmla="*/ 587 w 661"/>
                <a:gd name="T99" fmla="*/ 442 h 652"/>
                <a:gd name="T100" fmla="*/ 641 w 661"/>
                <a:gd name="T101" fmla="*/ 439 h 652"/>
                <a:gd name="T102" fmla="*/ 621 w 661"/>
                <a:gd name="T103" fmla="*/ 383 h 652"/>
                <a:gd name="T104" fmla="*/ 531 w 661"/>
                <a:gd name="T105" fmla="*/ 371 h 652"/>
                <a:gd name="T106" fmla="*/ 458 w 661"/>
                <a:gd name="T107" fmla="*/ 487 h 652"/>
                <a:gd name="T108" fmla="*/ 347 w 661"/>
                <a:gd name="T109" fmla="*/ 532 h 652"/>
                <a:gd name="T110" fmla="*/ 249 w 661"/>
                <a:gd name="T111" fmla="*/ 515 h 652"/>
                <a:gd name="T112" fmla="*/ 148 w 661"/>
                <a:gd name="T113" fmla="*/ 421 h 652"/>
                <a:gd name="T114" fmla="*/ 129 w 661"/>
                <a:gd name="T115" fmla="*/ 285 h 652"/>
                <a:gd name="T116" fmla="*/ 202 w 661"/>
                <a:gd name="T117" fmla="*/ 168 h 652"/>
                <a:gd name="T118" fmla="*/ 313 w 661"/>
                <a:gd name="T119" fmla="*/ 124 h 652"/>
                <a:gd name="T120" fmla="*/ 428 w 661"/>
                <a:gd name="T121" fmla="*/ 149 h 652"/>
                <a:gd name="T122" fmla="*/ 521 w 661"/>
                <a:gd name="T123" fmla="*/ 253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1" h="652">
                  <a:moveTo>
                    <a:pt x="610" y="358"/>
                  </a:moveTo>
                  <a:lnTo>
                    <a:pt x="610" y="358"/>
                  </a:lnTo>
                  <a:lnTo>
                    <a:pt x="611" y="348"/>
                  </a:lnTo>
                  <a:lnTo>
                    <a:pt x="611" y="348"/>
                  </a:lnTo>
                  <a:lnTo>
                    <a:pt x="612" y="343"/>
                  </a:lnTo>
                  <a:lnTo>
                    <a:pt x="614" y="337"/>
                  </a:lnTo>
                  <a:lnTo>
                    <a:pt x="617" y="333"/>
                  </a:lnTo>
                  <a:lnTo>
                    <a:pt x="622" y="329"/>
                  </a:lnTo>
                  <a:lnTo>
                    <a:pt x="626" y="325"/>
                  </a:lnTo>
                  <a:lnTo>
                    <a:pt x="631" y="323"/>
                  </a:lnTo>
                  <a:lnTo>
                    <a:pt x="637" y="321"/>
                  </a:lnTo>
                  <a:lnTo>
                    <a:pt x="643" y="320"/>
                  </a:lnTo>
                  <a:lnTo>
                    <a:pt x="661" y="320"/>
                  </a:lnTo>
                  <a:lnTo>
                    <a:pt x="661" y="320"/>
                  </a:lnTo>
                  <a:lnTo>
                    <a:pt x="660" y="297"/>
                  </a:lnTo>
                  <a:lnTo>
                    <a:pt x="656" y="275"/>
                  </a:lnTo>
                  <a:lnTo>
                    <a:pt x="640" y="278"/>
                  </a:lnTo>
                  <a:lnTo>
                    <a:pt x="640" y="278"/>
                  </a:lnTo>
                  <a:lnTo>
                    <a:pt x="634" y="278"/>
                  </a:lnTo>
                  <a:lnTo>
                    <a:pt x="627" y="277"/>
                  </a:lnTo>
                  <a:lnTo>
                    <a:pt x="622" y="276"/>
                  </a:lnTo>
                  <a:lnTo>
                    <a:pt x="616" y="272"/>
                  </a:lnTo>
                  <a:lnTo>
                    <a:pt x="611" y="269"/>
                  </a:lnTo>
                  <a:lnTo>
                    <a:pt x="608" y="266"/>
                  </a:lnTo>
                  <a:lnTo>
                    <a:pt x="604" y="261"/>
                  </a:lnTo>
                  <a:lnTo>
                    <a:pt x="602" y="256"/>
                  </a:lnTo>
                  <a:lnTo>
                    <a:pt x="602" y="256"/>
                  </a:lnTo>
                  <a:lnTo>
                    <a:pt x="600" y="247"/>
                  </a:lnTo>
                  <a:lnTo>
                    <a:pt x="600" y="247"/>
                  </a:lnTo>
                  <a:lnTo>
                    <a:pt x="599" y="241"/>
                  </a:lnTo>
                  <a:lnTo>
                    <a:pt x="599" y="236"/>
                  </a:lnTo>
                  <a:lnTo>
                    <a:pt x="600" y="230"/>
                  </a:lnTo>
                  <a:lnTo>
                    <a:pt x="602" y="225"/>
                  </a:lnTo>
                  <a:lnTo>
                    <a:pt x="606" y="220"/>
                  </a:lnTo>
                  <a:lnTo>
                    <a:pt x="610" y="215"/>
                  </a:lnTo>
                  <a:lnTo>
                    <a:pt x="614" y="212"/>
                  </a:lnTo>
                  <a:lnTo>
                    <a:pt x="620" y="209"/>
                  </a:lnTo>
                  <a:lnTo>
                    <a:pt x="636" y="202"/>
                  </a:lnTo>
                  <a:lnTo>
                    <a:pt x="636" y="202"/>
                  </a:lnTo>
                  <a:lnTo>
                    <a:pt x="626" y="182"/>
                  </a:lnTo>
                  <a:lnTo>
                    <a:pt x="615" y="162"/>
                  </a:lnTo>
                  <a:lnTo>
                    <a:pt x="600" y="170"/>
                  </a:lnTo>
                  <a:lnTo>
                    <a:pt x="600" y="170"/>
                  </a:lnTo>
                  <a:lnTo>
                    <a:pt x="595" y="173"/>
                  </a:lnTo>
                  <a:lnTo>
                    <a:pt x="588" y="174"/>
                  </a:lnTo>
                  <a:lnTo>
                    <a:pt x="583" y="175"/>
                  </a:lnTo>
                  <a:lnTo>
                    <a:pt x="576" y="174"/>
                  </a:lnTo>
                  <a:lnTo>
                    <a:pt x="571" y="173"/>
                  </a:lnTo>
                  <a:lnTo>
                    <a:pt x="566" y="171"/>
                  </a:lnTo>
                  <a:lnTo>
                    <a:pt x="561" y="168"/>
                  </a:lnTo>
                  <a:lnTo>
                    <a:pt x="558" y="163"/>
                  </a:lnTo>
                  <a:lnTo>
                    <a:pt x="552" y="156"/>
                  </a:lnTo>
                  <a:lnTo>
                    <a:pt x="552" y="156"/>
                  </a:lnTo>
                  <a:lnTo>
                    <a:pt x="549" y="151"/>
                  </a:lnTo>
                  <a:lnTo>
                    <a:pt x="547" y="146"/>
                  </a:lnTo>
                  <a:lnTo>
                    <a:pt x="546" y="141"/>
                  </a:lnTo>
                  <a:lnTo>
                    <a:pt x="546" y="134"/>
                  </a:lnTo>
                  <a:lnTo>
                    <a:pt x="547" y="129"/>
                  </a:lnTo>
                  <a:lnTo>
                    <a:pt x="549" y="123"/>
                  </a:lnTo>
                  <a:lnTo>
                    <a:pt x="553" y="118"/>
                  </a:lnTo>
                  <a:lnTo>
                    <a:pt x="557" y="113"/>
                  </a:lnTo>
                  <a:lnTo>
                    <a:pt x="569" y="102"/>
                  </a:lnTo>
                  <a:lnTo>
                    <a:pt x="569" y="102"/>
                  </a:lnTo>
                  <a:lnTo>
                    <a:pt x="553" y="86"/>
                  </a:lnTo>
                  <a:lnTo>
                    <a:pt x="535" y="72"/>
                  </a:lnTo>
                  <a:lnTo>
                    <a:pt x="525" y="85"/>
                  </a:lnTo>
                  <a:lnTo>
                    <a:pt x="525" y="85"/>
                  </a:lnTo>
                  <a:lnTo>
                    <a:pt x="520" y="89"/>
                  </a:lnTo>
                  <a:lnTo>
                    <a:pt x="515" y="92"/>
                  </a:lnTo>
                  <a:lnTo>
                    <a:pt x="509" y="95"/>
                  </a:lnTo>
                  <a:lnTo>
                    <a:pt x="504" y="96"/>
                  </a:lnTo>
                  <a:lnTo>
                    <a:pt x="499" y="97"/>
                  </a:lnTo>
                  <a:lnTo>
                    <a:pt x="493" y="97"/>
                  </a:lnTo>
                  <a:lnTo>
                    <a:pt x="488" y="95"/>
                  </a:lnTo>
                  <a:lnTo>
                    <a:pt x="482" y="93"/>
                  </a:lnTo>
                  <a:lnTo>
                    <a:pt x="482" y="93"/>
                  </a:lnTo>
                  <a:lnTo>
                    <a:pt x="474" y="88"/>
                  </a:lnTo>
                  <a:lnTo>
                    <a:pt x="474" y="88"/>
                  </a:lnTo>
                  <a:lnTo>
                    <a:pt x="469" y="85"/>
                  </a:lnTo>
                  <a:lnTo>
                    <a:pt x="466" y="80"/>
                  </a:lnTo>
                  <a:lnTo>
                    <a:pt x="463" y="76"/>
                  </a:lnTo>
                  <a:lnTo>
                    <a:pt x="461" y="70"/>
                  </a:lnTo>
                  <a:lnTo>
                    <a:pt x="460" y="65"/>
                  </a:lnTo>
                  <a:lnTo>
                    <a:pt x="460" y="59"/>
                  </a:lnTo>
                  <a:lnTo>
                    <a:pt x="461" y="52"/>
                  </a:lnTo>
                  <a:lnTo>
                    <a:pt x="463" y="47"/>
                  </a:lnTo>
                  <a:lnTo>
                    <a:pt x="471" y="32"/>
                  </a:lnTo>
                  <a:lnTo>
                    <a:pt x="471" y="32"/>
                  </a:lnTo>
                  <a:lnTo>
                    <a:pt x="449" y="23"/>
                  </a:lnTo>
                  <a:lnTo>
                    <a:pt x="427" y="15"/>
                  </a:lnTo>
                  <a:lnTo>
                    <a:pt x="423" y="32"/>
                  </a:lnTo>
                  <a:lnTo>
                    <a:pt x="423" y="32"/>
                  </a:lnTo>
                  <a:lnTo>
                    <a:pt x="420" y="37"/>
                  </a:lnTo>
                  <a:lnTo>
                    <a:pt x="417" y="42"/>
                  </a:lnTo>
                  <a:lnTo>
                    <a:pt x="412" y="47"/>
                  </a:lnTo>
                  <a:lnTo>
                    <a:pt x="408" y="50"/>
                  </a:lnTo>
                  <a:lnTo>
                    <a:pt x="403" y="53"/>
                  </a:lnTo>
                  <a:lnTo>
                    <a:pt x="397" y="54"/>
                  </a:lnTo>
                  <a:lnTo>
                    <a:pt x="392" y="55"/>
                  </a:lnTo>
                  <a:lnTo>
                    <a:pt x="386" y="54"/>
                  </a:lnTo>
                  <a:lnTo>
                    <a:pt x="377" y="53"/>
                  </a:lnTo>
                  <a:lnTo>
                    <a:pt x="377" y="53"/>
                  </a:lnTo>
                  <a:lnTo>
                    <a:pt x="371" y="51"/>
                  </a:lnTo>
                  <a:lnTo>
                    <a:pt x="367" y="49"/>
                  </a:lnTo>
                  <a:lnTo>
                    <a:pt x="363" y="46"/>
                  </a:lnTo>
                  <a:lnTo>
                    <a:pt x="358" y="41"/>
                  </a:lnTo>
                  <a:lnTo>
                    <a:pt x="355" y="36"/>
                  </a:lnTo>
                  <a:lnTo>
                    <a:pt x="353" y="31"/>
                  </a:lnTo>
                  <a:lnTo>
                    <a:pt x="352" y="24"/>
                  </a:lnTo>
                  <a:lnTo>
                    <a:pt x="352" y="18"/>
                  </a:lnTo>
                  <a:lnTo>
                    <a:pt x="353" y="1"/>
                  </a:lnTo>
                  <a:lnTo>
                    <a:pt x="353" y="1"/>
                  </a:lnTo>
                  <a:lnTo>
                    <a:pt x="330" y="0"/>
                  </a:lnTo>
                  <a:lnTo>
                    <a:pt x="307" y="1"/>
                  </a:lnTo>
                  <a:lnTo>
                    <a:pt x="309" y="18"/>
                  </a:lnTo>
                  <a:lnTo>
                    <a:pt x="309" y="18"/>
                  </a:lnTo>
                  <a:lnTo>
                    <a:pt x="307" y="24"/>
                  </a:lnTo>
                  <a:lnTo>
                    <a:pt x="306" y="31"/>
                  </a:lnTo>
                  <a:lnTo>
                    <a:pt x="304" y="36"/>
                  </a:lnTo>
                  <a:lnTo>
                    <a:pt x="301" y="41"/>
                  </a:lnTo>
                  <a:lnTo>
                    <a:pt x="298" y="46"/>
                  </a:lnTo>
                  <a:lnTo>
                    <a:pt x="293" y="49"/>
                  </a:lnTo>
                  <a:lnTo>
                    <a:pt x="288" y="51"/>
                  </a:lnTo>
                  <a:lnTo>
                    <a:pt x="283" y="53"/>
                  </a:lnTo>
                  <a:lnTo>
                    <a:pt x="283" y="53"/>
                  </a:lnTo>
                  <a:lnTo>
                    <a:pt x="273" y="54"/>
                  </a:lnTo>
                  <a:lnTo>
                    <a:pt x="273" y="54"/>
                  </a:lnTo>
                  <a:lnTo>
                    <a:pt x="268" y="55"/>
                  </a:lnTo>
                  <a:lnTo>
                    <a:pt x="262" y="54"/>
                  </a:lnTo>
                  <a:lnTo>
                    <a:pt x="257" y="53"/>
                  </a:lnTo>
                  <a:lnTo>
                    <a:pt x="251" y="50"/>
                  </a:lnTo>
                  <a:lnTo>
                    <a:pt x="247" y="47"/>
                  </a:lnTo>
                  <a:lnTo>
                    <a:pt x="243" y="42"/>
                  </a:lnTo>
                  <a:lnTo>
                    <a:pt x="239" y="37"/>
                  </a:lnTo>
                  <a:lnTo>
                    <a:pt x="237" y="31"/>
                  </a:lnTo>
                  <a:lnTo>
                    <a:pt x="232" y="15"/>
                  </a:lnTo>
                  <a:lnTo>
                    <a:pt x="232" y="15"/>
                  </a:lnTo>
                  <a:lnTo>
                    <a:pt x="210" y="23"/>
                  </a:lnTo>
                  <a:lnTo>
                    <a:pt x="190" y="32"/>
                  </a:lnTo>
                  <a:lnTo>
                    <a:pt x="196" y="47"/>
                  </a:lnTo>
                  <a:lnTo>
                    <a:pt x="196" y="47"/>
                  </a:lnTo>
                  <a:lnTo>
                    <a:pt x="198" y="52"/>
                  </a:lnTo>
                  <a:lnTo>
                    <a:pt x="199" y="59"/>
                  </a:lnTo>
                  <a:lnTo>
                    <a:pt x="199" y="65"/>
                  </a:lnTo>
                  <a:lnTo>
                    <a:pt x="198" y="70"/>
                  </a:lnTo>
                  <a:lnTo>
                    <a:pt x="196" y="76"/>
                  </a:lnTo>
                  <a:lnTo>
                    <a:pt x="194" y="80"/>
                  </a:lnTo>
                  <a:lnTo>
                    <a:pt x="190" y="85"/>
                  </a:lnTo>
                  <a:lnTo>
                    <a:pt x="185" y="88"/>
                  </a:lnTo>
                  <a:lnTo>
                    <a:pt x="177" y="93"/>
                  </a:lnTo>
                  <a:lnTo>
                    <a:pt x="177" y="93"/>
                  </a:lnTo>
                  <a:lnTo>
                    <a:pt x="172" y="95"/>
                  </a:lnTo>
                  <a:lnTo>
                    <a:pt x="167" y="97"/>
                  </a:lnTo>
                  <a:lnTo>
                    <a:pt x="162" y="97"/>
                  </a:lnTo>
                  <a:lnTo>
                    <a:pt x="155" y="96"/>
                  </a:lnTo>
                  <a:lnTo>
                    <a:pt x="150" y="95"/>
                  </a:lnTo>
                  <a:lnTo>
                    <a:pt x="144" y="92"/>
                  </a:lnTo>
                  <a:lnTo>
                    <a:pt x="139" y="89"/>
                  </a:lnTo>
                  <a:lnTo>
                    <a:pt x="135" y="85"/>
                  </a:lnTo>
                  <a:lnTo>
                    <a:pt x="125" y="72"/>
                  </a:lnTo>
                  <a:lnTo>
                    <a:pt x="125" y="72"/>
                  </a:lnTo>
                  <a:lnTo>
                    <a:pt x="107" y="86"/>
                  </a:lnTo>
                  <a:lnTo>
                    <a:pt x="90" y="102"/>
                  </a:lnTo>
                  <a:lnTo>
                    <a:pt x="102" y="114"/>
                  </a:lnTo>
                  <a:lnTo>
                    <a:pt x="102" y="114"/>
                  </a:lnTo>
                  <a:lnTo>
                    <a:pt x="107" y="118"/>
                  </a:lnTo>
                  <a:lnTo>
                    <a:pt x="110" y="123"/>
                  </a:lnTo>
                  <a:lnTo>
                    <a:pt x="112" y="129"/>
                  </a:lnTo>
                  <a:lnTo>
                    <a:pt x="113" y="134"/>
                  </a:lnTo>
                  <a:lnTo>
                    <a:pt x="113" y="141"/>
                  </a:lnTo>
                  <a:lnTo>
                    <a:pt x="113" y="146"/>
                  </a:lnTo>
                  <a:lnTo>
                    <a:pt x="111" y="151"/>
                  </a:lnTo>
                  <a:lnTo>
                    <a:pt x="108" y="156"/>
                  </a:lnTo>
                  <a:lnTo>
                    <a:pt x="108" y="156"/>
                  </a:lnTo>
                  <a:lnTo>
                    <a:pt x="102" y="163"/>
                  </a:lnTo>
                  <a:lnTo>
                    <a:pt x="102" y="163"/>
                  </a:lnTo>
                  <a:lnTo>
                    <a:pt x="98" y="168"/>
                  </a:lnTo>
                  <a:lnTo>
                    <a:pt x="94" y="171"/>
                  </a:lnTo>
                  <a:lnTo>
                    <a:pt x="88" y="173"/>
                  </a:lnTo>
                  <a:lnTo>
                    <a:pt x="83" y="174"/>
                  </a:lnTo>
                  <a:lnTo>
                    <a:pt x="77" y="175"/>
                  </a:lnTo>
                  <a:lnTo>
                    <a:pt x="71" y="174"/>
                  </a:lnTo>
                  <a:lnTo>
                    <a:pt x="64" y="173"/>
                  </a:lnTo>
                  <a:lnTo>
                    <a:pt x="59" y="170"/>
                  </a:lnTo>
                  <a:lnTo>
                    <a:pt x="45" y="162"/>
                  </a:lnTo>
                  <a:lnTo>
                    <a:pt x="45" y="162"/>
                  </a:lnTo>
                  <a:lnTo>
                    <a:pt x="34" y="182"/>
                  </a:lnTo>
                  <a:lnTo>
                    <a:pt x="25" y="202"/>
                  </a:lnTo>
                  <a:lnTo>
                    <a:pt x="40" y="209"/>
                  </a:lnTo>
                  <a:lnTo>
                    <a:pt x="40" y="209"/>
                  </a:lnTo>
                  <a:lnTo>
                    <a:pt x="45" y="212"/>
                  </a:lnTo>
                  <a:lnTo>
                    <a:pt x="50" y="215"/>
                  </a:lnTo>
                  <a:lnTo>
                    <a:pt x="55" y="220"/>
                  </a:lnTo>
                  <a:lnTo>
                    <a:pt x="58" y="225"/>
                  </a:lnTo>
                  <a:lnTo>
                    <a:pt x="60" y="230"/>
                  </a:lnTo>
                  <a:lnTo>
                    <a:pt x="61" y="236"/>
                  </a:lnTo>
                  <a:lnTo>
                    <a:pt x="61" y="241"/>
                  </a:lnTo>
                  <a:lnTo>
                    <a:pt x="60" y="247"/>
                  </a:lnTo>
                  <a:lnTo>
                    <a:pt x="57" y="255"/>
                  </a:lnTo>
                  <a:lnTo>
                    <a:pt x="57" y="255"/>
                  </a:lnTo>
                  <a:lnTo>
                    <a:pt x="56" y="261"/>
                  </a:lnTo>
                  <a:lnTo>
                    <a:pt x="53" y="266"/>
                  </a:lnTo>
                  <a:lnTo>
                    <a:pt x="48" y="269"/>
                  </a:lnTo>
                  <a:lnTo>
                    <a:pt x="44" y="272"/>
                  </a:lnTo>
                  <a:lnTo>
                    <a:pt x="39" y="276"/>
                  </a:lnTo>
                  <a:lnTo>
                    <a:pt x="33" y="277"/>
                  </a:lnTo>
                  <a:lnTo>
                    <a:pt x="27" y="278"/>
                  </a:lnTo>
                  <a:lnTo>
                    <a:pt x="20" y="278"/>
                  </a:lnTo>
                  <a:lnTo>
                    <a:pt x="3" y="275"/>
                  </a:lnTo>
                  <a:lnTo>
                    <a:pt x="3" y="275"/>
                  </a:lnTo>
                  <a:lnTo>
                    <a:pt x="1" y="297"/>
                  </a:lnTo>
                  <a:lnTo>
                    <a:pt x="0" y="320"/>
                  </a:lnTo>
                  <a:lnTo>
                    <a:pt x="16" y="320"/>
                  </a:lnTo>
                  <a:lnTo>
                    <a:pt x="16" y="320"/>
                  </a:lnTo>
                  <a:lnTo>
                    <a:pt x="22" y="321"/>
                  </a:lnTo>
                  <a:lnTo>
                    <a:pt x="29" y="323"/>
                  </a:lnTo>
                  <a:lnTo>
                    <a:pt x="34" y="325"/>
                  </a:lnTo>
                  <a:lnTo>
                    <a:pt x="39" y="329"/>
                  </a:lnTo>
                  <a:lnTo>
                    <a:pt x="43" y="333"/>
                  </a:lnTo>
                  <a:lnTo>
                    <a:pt x="45" y="337"/>
                  </a:lnTo>
                  <a:lnTo>
                    <a:pt x="47" y="343"/>
                  </a:lnTo>
                  <a:lnTo>
                    <a:pt x="48" y="348"/>
                  </a:lnTo>
                  <a:lnTo>
                    <a:pt x="48" y="348"/>
                  </a:lnTo>
                  <a:lnTo>
                    <a:pt x="49" y="358"/>
                  </a:lnTo>
                  <a:lnTo>
                    <a:pt x="49" y="358"/>
                  </a:lnTo>
                  <a:lnTo>
                    <a:pt x="49" y="363"/>
                  </a:lnTo>
                  <a:lnTo>
                    <a:pt x="48" y="369"/>
                  </a:lnTo>
                  <a:lnTo>
                    <a:pt x="46" y="374"/>
                  </a:lnTo>
                  <a:lnTo>
                    <a:pt x="43" y="378"/>
                  </a:lnTo>
                  <a:lnTo>
                    <a:pt x="39" y="383"/>
                  </a:lnTo>
                  <a:lnTo>
                    <a:pt x="34" y="387"/>
                  </a:lnTo>
                  <a:lnTo>
                    <a:pt x="29" y="389"/>
                  </a:lnTo>
                  <a:lnTo>
                    <a:pt x="22" y="391"/>
                  </a:lnTo>
                  <a:lnTo>
                    <a:pt x="6" y="394"/>
                  </a:lnTo>
                  <a:lnTo>
                    <a:pt x="6" y="394"/>
                  </a:lnTo>
                  <a:lnTo>
                    <a:pt x="12" y="417"/>
                  </a:lnTo>
                  <a:lnTo>
                    <a:pt x="19" y="438"/>
                  </a:lnTo>
                  <a:lnTo>
                    <a:pt x="34" y="432"/>
                  </a:lnTo>
                  <a:lnTo>
                    <a:pt x="34" y="432"/>
                  </a:lnTo>
                  <a:lnTo>
                    <a:pt x="41" y="431"/>
                  </a:lnTo>
                  <a:lnTo>
                    <a:pt x="47" y="430"/>
                  </a:lnTo>
                  <a:lnTo>
                    <a:pt x="53" y="431"/>
                  </a:lnTo>
                  <a:lnTo>
                    <a:pt x="59" y="432"/>
                  </a:lnTo>
                  <a:lnTo>
                    <a:pt x="64" y="436"/>
                  </a:lnTo>
                  <a:lnTo>
                    <a:pt x="69" y="439"/>
                  </a:lnTo>
                  <a:lnTo>
                    <a:pt x="72" y="442"/>
                  </a:lnTo>
                  <a:lnTo>
                    <a:pt x="75" y="447"/>
                  </a:lnTo>
                  <a:lnTo>
                    <a:pt x="80" y="456"/>
                  </a:lnTo>
                  <a:lnTo>
                    <a:pt x="80" y="456"/>
                  </a:lnTo>
                  <a:lnTo>
                    <a:pt x="82" y="460"/>
                  </a:lnTo>
                  <a:lnTo>
                    <a:pt x="83" y="466"/>
                  </a:lnTo>
                  <a:lnTo>
                    <a:pt x="83" y="472"/>
                  </a:lnTo>
                  <a:lnTo>
                    <a:pt x="82" y="478"/>
                  </a:lnTo>
                  <a:lnTo>
                    <a:pt x="80" y="483"/>
                  </a:lnTo>
                  <a:lnTo>
                    <a:pt x="76" y="487"/>
                  </a:lnTo>
                  <a:lnTo>
                    <a:pt x="72" y="493"/>
                  </a:lnTo>
                  <a:lnTo>
                    <a:pt x="67" y="496"/>
                  </a:lnTo>
                  <a:lnTo>
                    <a:pt x="53" y="506"/>
                  </a:lnTo>
                  <a:lnTo>
                    <a:pt x="53" y="506"/>
                  </a:lnTo>
                  <a:lnTo>
                    <a:pt x="66" y="524"/>
                  </a:lnTo>
                  <a:lnTo>
                    <a:pt x="81" y="541"/>
                  </a:lnTo>
                  <a:lnTo>
                    <a:pt x="93" y="531"/>
                  </a:lnTo>
                  <a:lnTo>
                    <a:pt x="93" y="531"/>
                  </a:lnTo>
                  <a:lnTo>
                    <a:pt x="98" y="527"/>
                  </a:lnTo>
                  <a:lnTo>
                    <a:pt x="104" y="524"/>
                  </a:lnTo>
                  <a:lnTo>
                    <a:pt x="110" y="523"/>
                  </a:lnTo>
                  <a:lnTo>
                    <a:pt x="115" y="522"/>
                  </a:lnTo>
                  <a:lnTo>
                    <a:pt x="122" y="523"/>
                  </a:lnTo>
                  <a:lnTo>
                    <a:pt x="127" y="524"/>
                  </a:lnTo>
                  <a:lnTo>
                    <a:pt x="131" y="526"/>
                  </a:lnTo>
                  <a:lnTo>
                    <a:pt x="136" y="529"/>
                  </a:lnTo>
                  <a:lnTo>
                    <a:pt x="136" y="529"/>
                  </a:lnTo>
                  <a:lnTo>
                    <a:pt x="143" y="536"/>
                  </a:lnTo>
                  <a:lnTo>
                    <a:pt x="143" y="536"/>
                  </a:lnTo>
                  <a:lnTo>
                    <a:pt x="148" y="540"/>
                  </a:lnTo>
                  <a:lnTo>
                    <a:pt x="150" y="545"/>
                  </a:lnTo>
                  <a:lnTo>
                    <a:pt x="152" y="550"/>
                  </a:lnTo>
                  <a:lnTo>
                    <a:pt x="153" y="555"/>
                  </a:lnTo>
                  <a:lnTo>
                    <a:pt x="153" y="562"/>
                  </a:lnTo>
                  <a:lnTo>
                    <a:pt x="152" y="567"/>
                  </a:lnTo>
                  <a:lnTo>
                    <a:pt x="150" y="574"/>
                  </a:lnTo>
                  <a:lnTo>
                    <a:pt x="147" y="579"/>
                  </a:lnTo>
                  <a:lnTo>
                    <a:pt x="137" y="592"/>
                  </a:lnTo>
                  <a:lnTo>
                    <a:pt x="137" y="592"/>
                  </a:lnTo>
                  <a:lnTo>
                    <a:pt x="155" y="605"/>
                  </a:lnTo>
                  <a:lnTo>
                    <a:pt x="176" y="616"/>
                  </a:lnTo>
                  <a:lnTo>
                    <a:pt x="183" y="602"/>
                  </a:lnTo>
                  <a:lnTo>
                    <a:pt x="183" y="602"/>
                  </a:lnTo>
                  <a:lnTo>
                    <a:pt x="187" y="596"/>
                  </a:lnTo>
                  <a:lnTo>
                    <a:pt x="191" y="592"/>
                  </a:lnTo>
                  <a:lnTo>
                    <a:pt x="196" y="588"/>
                  </a:lnTo>
                  <a:lnTo>
                    <a:pt x="202" y="586"/>
                  </a:lnTo>
                  <a:lnTo>
                    <a:pt x="207" y="583"/>
                  </a:lnTo>
                  <a:lnTo>
                    <a:pt x="212" y="583"/>
                  </a:lnTo>
                  <a:lnTo>
                    <a:pt x="218" y="583"/>
                  </a:lnTo>
                  <a:lnTo>
                    <a:pt x="223" y="585"/>
                  </a:lnTo>
                  <a:lnTo>
                    <a:pt x="223" y="585"/>
                  </a:lnTo>
                  <a:lnTo>
                    <a:pt x="233" y="589"/>
                  </a:lnTo>
                  <a:lnTo>
                    <a:pt x="233" y="589"/>
                  </a:lnTo>
                  <a:lnTo>
                    <a:pt x="237" y="591"/>
                  </a:lnTo>
                  <a:lnTo>
                    <a:pt x="242" y="594"/>
                  </a:lnTo>
                  <a:lnTo>
                    <a:pt x="246" y="599"/>
                  </a:lnTo>
                  <a:lnTo>
                    <a:pt x="248" y="604"/>
                  </a:lnTo>
                  <a:lnTo>
                    <a:pt x="250" y="609"/>
                  </a:lnTo>
                  <a:lnTo>
                    <a:pt x="251" y="615"/>
                  </a:lnTo>
                  <a:lnTo>
                    <a:pt x="252" y="621"/>
                  </a:lnTo>
                  <a:lnTo>
                    <a:pt x="251" y="628"/>
                  </a:lnTo>
                  <a:lnTo>
                    <a:pt x="247" y="643"/>
                  </a:lnTo>
                  <a:lnTo>
                    <a:pt x="247" y="643"/>
                  </a:lnTo>
                  <a:lnTo>
                    <a:pt x="262" y="647"/>
                  </a:lnTo>
                  <a:lnTo>
                    <a:pt x="262" y="647"/>
                  </a:lnTo>
                  <a:lnTo>
                    <a:pt x="276" y="649"/>
                  </a:lnTo>
                  <a:lnTo>
                    <a:pt x="291" y="652"/>
                  </a:lnTo>
                  <a:lnTo>
                    <a:pt x="293" y="635"/>
                  </a:lnTo>
                  <a:lnTo>
                    <a:pt x="293" y="635"/>
                  </a:lnTo>
                  <a:lnTo>
                    <a:pt x="296" y="629"/>
                  </a:lnTo>
                  <a:lnTo>
                    <a:pt x="298" y="623"/>
                  </a:lnTo>
                  <a:lnTo>
                    <a:pt x="301" y="618"/>
                  </a:lnTo>
                  <a:lnTo>
                    <a:pt x="304" y="614"/>
                  </a:lnTo>
                  <a:lnTo>
                    <a:pt x="310" y="610"/>
                  </a:lnTo>
                  <a:lnTo>
                    <a:pt x="314" y="608"/>
                  </a:lnTo>
                  <a:lnTo>
                    <a:pt x="319" y="606"/>
                  </a:lnTo>
                  <a:lnTo>
                    <a:pt x="325" y="606"/>
                  </a:lnTo>
                  <a:lnTo>
                    <a:pt x="325" y="606"/>
                  </a:lnTo>
                  <a:lnTo>
                    <a:pt x="334" y="606"/>
                  </a:lnTo>
                  <a:lnTo>
                    <a:pt x="334" y="606"/>
                  </a:lnTo>
                  <a:lnTo>
                    <a:pt x="340" y="606"/>
                  </a:lnTo>
                  <a:lnTo>
                    <a:pt x="345" y="608"/>
                  </a:lnTo>
                  <a:lnTo>
                    <a:pt x="351" y="610"/>
                  </a:lnTo>
                  <a:lnTo>
                    <a:pt x="355" y="614"/>
                  </a:lnTo>
                  <a:lnTo>
                    <a:pt x="359" y="618"/>
                  </a:lnTo>
                  <a:lnTo>
                    <a:pt x="363" y="623"/>
                  </a:lnTo>
                  <a:lnTo>
                    <a:pt x="365" y="629"/>
                  </a:lnTo>
                  <a:lnTo>
                    <a:pt x="366" y="635"/>
                  </a:lnTo>
                  <a:lnTo>
                    <a:pt x="368" y="652"/>
                  </a:lnTo>
                  <a:lnTo>
                    <a:pt x="368" y="652"/>
                  </a:lnTo>
                  <a:lnTo>
                    <a:pt x="391" y="648"/>
                  </a:lnTo>
                  <a:lnTo>
                    <a:pt x="413" y="644"/>
                  </a:lnTo>
                  <a:lnTo>
                    <a:pt x="409" y="628"/>
                  </a:lnTo>
                  <a:lnTo>
                    <a:pt x="409" y="628"/>
                  </a:lnTo>
                  <a:lnTo>
                    <a:pt x="408" y="621"/>
                  </a:lnTo>
                  <a:lnTo>
                    <a:pt x="408" y="615"/>
                  </a:lnTo>
                  <a:lnTo>
                    <a:pt x="409" y="609"/>
                  </a:lnTo>
                  <a:lnTo>
                    <a:pt x="411" y="604"/>
                  </a:lnTo>
                  <a:lnTo>
                    <a:pt x="414" y="599"/>
                  </a:lnTo>
                  <a:lnTo>
                    <a:pt x="418" y="594"/>
                  </a:lnTo>
                  <a:lnTo>
                    <a:pt x="422" y="591"/>
                  </a:lnTo>
                  <a:lnTo>
                    <a:pt x="427" y="589"/>
                  </a:lnTo>
                  <a:lnTo>
                    <a:pt x="436" y="586"/>
                  </a:lnTo>
                  <a:lnTo>
                    <a:pt x="436" y="586"/>
                  </a:lnTo>
                  <a:lnTo>
                    <a:pt x="441" y="583"/>
                  </a:lnTo>
                  <a:lnTo>
                    <a:pt x="447" y="583"/>
                  </a:lnTo>
                  <a:lnTo>
                    <a:pt x="452" y="583"/>
                  </a:lnTo>
                  <a:lnTo>
                    <a:pt x="459" y="586"/>
                  </a:lnTo>
                  <a:lnTo>
                    <a:pt x="463" y="588"/>
                  </a:lnTo>
                  <a:lnTo>
                    <a:pt x="468" y="592"/>
                  </a:lnTo>
                  <a:lnTo>
                    <a:pt x="473" y="596"/>
                  </a:lnTo>
                  <a:lnTo>
                    <a:pt x="476" y="602"/>
                  </a:lnTo>
                  <a:lnTo>
                    <a:pt x="485" y="616"/>
                  </a:lnTo>
                  <a:lnTo>
                    <a:pt x="485" y="616"/>
                  </a:lnTo>
                  <a:lnTo>
                    <a:pt x="504" y="605"/>
                  </a:lnTo>
                  <a:lnTo>
                    <a:pt x="523" y="592"/>
                  </a:lnTo>
                  <a:lnTo>
                    <a:pt x="514" y="579"/>
                  </a:lnTo>
                  <a:lnTo>
                    <a:pt x="514" y="579"/>
                  </a:lnTo>
                  <a:lnTo>
                    <a:pt x="511" y="574"/>
                  </a:lnTo>
                  <a:lnTo>
                    <a:pt x="508" y="567"/>
                  </a:lnTo>
                  <a:lnTo>
                    <a:pt x="507" y="562"/>
                  </a:lnTo>
                  <a:lnTo>
                    <a:pt x="506" y="555"/>
                  </a:lnTo>
                  <a:lnTo>
                    <a:pt x="507" y="550"/>
                  </a:lnTo>
                  <a:lnTo>
                    <a:pt x="509" y="545"/>
                  </a:lnTo>
                  <a:lnTo>
                    <a:pt x="513" y="540"/>
                  </a:lnTo>
                  <a:lnTo>
                    <a:pt x="516" y="536"/>
                  </a:lnTo>
                  <a:lnTo>
                    <a:pt x="523" y="529"/>
                  </a:lnTo>
                  <a:lnTo>
                    <a:pt x="523" y="529"/>
                  </a:lnTo>
                  <a:lnTo>
                    <a:pt x="528" y="526"/>
                  </a:lnTo>
                  <a:lnTo>
                    <a:pt x="533" y="524"/>
                  </a:lnTo>
                  <a:lnTo>
                    <a:pt x="539" y="523"/>
                  </a:lnTo>
                  <a:lnTo>
                    <a:pt x="544" y="522"/>
                  </a:lnTo>
                  <a:lnTo>
                    <a:pt x="550" y="523"/>
                  </a:lnTo>
                  <a:lnTo>
                    <a:pt x="556" y="524"/>
                  </a:lnTo>
                  <a:lnTo>
                    <a:pt x="561" y="527"/>
                  </a:lnTo>
                  <a:lnTo>
                    <a:pt x="567" y="531"/>
                  </a:lnTo>
                  <a:lnTo>
                    <a:pt x="580" y="541"/>
                  </a:lnTo>
                  <a:lnTo>
                    <a:pt x="580" y="541"/>
                  </a:lnTo>
                  <a:lnTo>
                    <a:pt x="594" y="524"/>
                  </a:lnTo>
                  <a:lnTo>
                    <a:pt x="607" y="506"/>
                  </a:lnTo>
                  <a:lnTo>
                    <a:pt x="593" y="496"/>
                  </a:lnTo>
                  <a:lnTo>
                    <a:pt x="593" y="496"/>
                  </a:lnTo>
                  <a:lnTo>
                    <a:pt x="588" y="493"/>
                  </a:lnTo>
                  <a:lnTo>
                    <a:pt x="584" y="487"/>
                  </a:lnTo>
                  <a:lnTo>
                    <a:pt x="581" y="483"/>
                  </a:lnTo>
                  <a:lnTo>
                    <a:pt x="579" y="478"/>
                  </a:lnTo>
                  <a:lnTo>
                    <a:pt x="577" y="472"/>
                  </a:lnTo>
                  <a:lnTo>
                    <a:pt x="577" y="466"/>
                  </a:lnTo>
                  <a:lnTo>
                    <a:pt x="579" y="460"/>
                  </a:lnTo>
                  <a:lnTo>
                    <a:pt x="580" y="456"/>
                  </a:lnTo>
                  <a:lnTo>
                    <a:pt x="580" y="456"/>
                  </a:lnTo>
                  <a:lnTo>
                    <a:pt x="584" y="447"/>
                  </a:lnTo>
                  <a:lnTo>
                    <a:pt x="584" y="447"/>
                  </a:lnTo>
                  <a:lnTo>
                    <a:pt x="587" y="442"/>
                  </a:lnTo>
                  <a:lnTo>
                    <a:pt x="592" y="439"/>
                  </a:lnTo>
                  <a:lnTo>
                    <a:pt x="596" y="436"/>
                  </a:lnTo>
                  <a:lnTo>
                    <a:pt x="601" y="432"/>
                  </a:lnTo>
                  <a:lnTo>
                    <a:pt x="607" y="431"/>
                  </a:lnTo>
                  <a:lnTo>
                    <a:pt x="613" y="430"/>
                  </a:lnTo>
                  <a:lnTo>
                    <a:pt x="619" y="431"/>
                  </a:lnTo>
                  <a:lnTo>
                    <a:pt x="625" y="432"/>
                  </a:lnTo>
                  <a:lnTo>
                    <a:pt x="641" y="439"/>
                  </a:lnTo>
                  <a:lnTo>
                    <a:pt x="641" y="439"/>
                  </a:lnTo>
                  <a:lnTo>
                    <a:pt x="648" y="417"/>
                  </a:lnTo>
                  <a:lnTo>
                    <a:pt x="653" y="394"/>
                  </a:lnTo>
                  <a:lnTo>
                    <a:pt x="637" y="391"/>
                  </a:lnTo>
                  <a:lnTo>
                    <a:pt x="637" y="391"/>
                  </a:lnTo>
                  <a:lnTo>
                    <a:pt x="630" y="389"/>
                  </a:lnTo>
                  <a:lnTo>
                    <a:pt x="625" y="387"/>
                  </a:lnTo>
                  <a:lnTo>
                    <a:pt x="621" y="383"/>
                  </a:lnTo>
                  <a:lnTo>
                    <a:pt x="616" y="378"/>
                  </a:lnTo>
                  <a:lnTo>
                    <a:pt x="613" y="374"/>
                  </a:lnTo>
                  <a:lnTo>
                    <a:pt x="611" y="369"/>
                  </a:lnTo>
                  <a:lnTo>
                    <a:pt x="610" y="363"/>
                  </a:lnTo>
                  <a:lnTo>
                    <a:pt x="610" y="358"/>
                  </a:lnTo>
                  <a:lnTo>
                    <a:pt x="610" y="358"/>
                  </a:lnTo>
                  <a:close/>
                  <a:moveTo>
                    <a:pt x="531" y="371"/>
                  </a:moveTo>
                  <a:lnTo>
                    <a:pt x="531" y="371"/>
                  </a:lnTo>
                  <a:lnTo>
                    <a:pt x="527" y="388"/>
                  </a:lnTo>
                  <a:lnTo>
                    <a:pt x="520" y="404"/>
                  </a:lnTo>
                  <a:lnTo>
                    <a:pt x="513" y="420"/>
                  </a:lnTo>
                  <a:lnTo>
                    <a:pt x="504" y="436"/>
                  </a:lnTo>
                  <a:lnTo>
                    <a:pt x="494" y="450"/>
                  </a:lnTo>
                  <a:lnTo>
                    <a:pt x="484" y="464"/>
                  </a:lnTo>
                  <a:lnTo>
                    <a:pt x="472" y="477"/>
                  </a:lnTo>
                  <a:lnTo>
                    <a:pt x="458" y="487"/>
                  </a:lnTo>
                  <a:lnTo>
                    <a:pt x="458" y="487"/>
                  </a:lnTo>
                  <a:lnTo>
                    <a:pt x="444" y="498"/>
                  </a:lnTo>
                  <a:lnTo>
                    <a:pt x="430" y="507"/>
                  </a:lnTo>
                  <a:lnTo>
                    <a:pt x="413" y="514"/>
                  </a:lnTo>
                  <a:lnTo>
                    <a:pt x="397" y="521"/>
                  </a:lnTo>
                  <a:lnTo>
                    <a:pt x="381" y="526"/>
                  </a:lnTo>
                  <a:lnTo>
                    <a:pt x="365" y="529"/>
                  </a:lnTo>
                  <a:lnTo>
                    <a:pt x="347" y="532"/>
                  </a:lnTo>
                  <a:lnTo>
                    <a:pt x="330" y="533"/>
                  </a:lnTo>
                  <a:lnTo>
                    <a:pt x="330" y="533"/>
                  </a:lnTo>
                  <a:lnTo>
                    <a:pt x="330" y="533"/>
                  </a:lnTo>
                  <a:lnTo>
                    <a:pt x="309" y="532"/>
                  </a:lnTo>
                  <a:lnTo>
                    <a:pt x="288" y="528"/>
                  </a:lnTo>
                  <a:lnTo>
                    <a:pt x="288" y="528"/>
                  </a:lnTo>
                  <a:lnTo>
                    <a:pt x="268" y="523"/>
                  </a:lnTo>
                  <a:lnTo>
                    <a:pt x="249" y="515"/>
                  </a:lnTo>
                  <a:lnTo>
                    <a:pt x="231" y="507"/>
                  </a:lnTo>
                  <a:lnTo>
                    <a:pt x="214" y="497"/>
                  </a:lnTo>
                  <a:lnTo>
                    <a:pt x="197" y="484"/>
                  </a:lnTo>
                  <a:lnTo>
                    <a:pt x="183" y="471"/>
                  </a:lnTo>
                  <a:lnTo>
                    <a:pt x="169" y="456"/>
                  </a:lnTo>
                  <a:lnTo>
                    <a:pt x="157" y="439"/>
                  </a:lnTo>
                  <a:lnTo>
                    <a:pt x="157" y="439"/>
                  </a:lnTo>
                  <a:lnTo>
                    <a:pt x="148" y="421"/>
                  </a:lnTo>
                  <a:lnTo>
                    <a:pt x="139" y="403"/>
                  </a:lnTo>
                  <a:lnTo>
                    <a:pt x="133" y="385"/>
                  </a:lnTo>
                  <a:lnTo>
                    <a:pt x="128" y="365"/>
                  </a:lnTo>
                  <a:lnTo>
                    <a:pt x="125" y="346"/>
                  </a:lnTo>
                  <a:lnTo>
                    <a:pt x="125" y="325"/>
                  </a:lnTo>
                  <a:lnTo>
                    <a:pt x="126" y="306"/>
                  </a:lnTo>
                  <a:lnTo>
                    <a:pt x="129" y="285"/>
                  </a:lnTo>
                  <a:lnTo>
                    <a:pt x="129" y="285"/>
                  </a:lnTo>
                  <a:lnTo>
                    <a:pt x="134" y="268"/>
                  </a:lnTo>
                  <a:lnTo>
                    <a:pt x="139" y="252"/>
                  </a:lnTo>
                  <a:lnTo>
                    <a:pt x="147" y="236"/>
                  </a:lnTo>
                  <a:lnTo>
                    <a:pt x="155" y="221"/>
                  </a:lnTo>
                  <a:lnTo>
                    <a:pt x="165" y="205"/>
                  </a:lnTo>
                  <a:lnTo>
                    <a:pt x="177" y="193"/>
                  </a:lnTo>
                  <a:lnTo>
                    <a:pt x="189" y="180"/>
                  </a:lnTo>
                  <a:lnTo>
                    <a:pt x="202" y="168"/>
                  </a:lnTo>
                  <a:lnTo>
                    <a:pt x="202" y="168"/>
                  </a:lnTo>
                  <a:lnTo>
                    <a:pt x="216" y="158"/>
                  </a:lnTo>
                  <a:lnTo>
                    <a:pt x="231" y="149"/>
                  </a:lnTo>
                  <a:lnTo>
                    <a:pt x="246" y="142"/>
                  </a:lnTo>
                  <a:lnTo>
                    <a:pt x="262" y="135"/>
                  </a:lnTo>
                  <a:lnTo>
                    <a:pt x="278" y="130"/>
                  </a:lnTo>
                  <a:lnTo>
                    <a:pt x="296" y="127"/>
                  </a:lnTo>
                  <a:lnTo>
                    <a:pt x="313" y="124"/>
                  </a:lnTo>
                  <a:lnTo>
                    <a:pt x="330" y="123"/>
                  </a:lnTo>
                  <a:lnTo>
                    <a:pt x="330" y="123"/>
                  </a:lnTo>
                  <a:lnTo>
                    <a:pt x="351" y="124"/>
                  </a:lnTo>
                  <a:lnTo>
                    <a:pt x="372" y="128"/>
                  </a:lnTo>
                  <a:lnTo>
                    <a:pt x="372" y="128"/>
                  </a:lnTo>
                  <a:lnTo>
                    <a:pt x="392" y="133"/>
                  </a:lnTo>
                  <a:lnTo>
                    <a:pt x="411" y="140"/>
                  </a:lnTo>
                  <a:lnTo>
                    <a:pt x="428" y="149"/>
                  </a:lnTo>
                  <a:lnTo>
                    <a:pt x="446" y="159"/>
                  </a:lnTo>
                  <a:lnTo>
                    <a:pt x="462" y="172"/>
                  </a:lnTo>
                  <a:lnTo>
                    <a:pt x="477" y="185"/>
                  </a:lnTo>
                  <a:lnTo>
                    <a:pt x="490" y="200"/>
                  </a:lnTo>
                  <a:lnTo>
                    <a:pt x="502" y="217"/>
                  </a:lnTo>
                  <a:lnTo>
                    <a:pt x="502" y="217"/>
                  </a:lnTo>
                  <a:lnTo>
                    <a:pt x="513" y="235"/>
                  </a:lnTo>
                  <a:lnTo>
                    <a:pt x="521" y="253"/>
                  </a:lnTo>
                  <a:lnTo>
                    <a:pt x="528" y="271"/>
                  </a:lnTo>
                  <a:lnTo>
                    <a:pt x="532" y="291"/>
                  </a:lnTo>
                  <a:lnTo>
                    <a:pt x="534" y="310"/>
                  </a:lnTo>
                  <a:lnTo>
                    <a:pt x="535" y="331"/>
                  </a:lnTo>
                  <a:lnTo>
                    <a:pt x="534" y="350"/>
                  </a:lnTo>
                  <a:lnTo>
                    <a:pt x="531" y="371"/>
                  </a:lnTo>
                  <a:lnTo>
                    <a:pt x="531" y="371"/>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70" name="Freeform 469"/>
            <p:cNvSpPr>
              <a:spLocks/>
            </p:cNvSpPr>
            <p:nvPr/>
          </p:nvSpPr>
          <p:spPr bwMode="auto">
            <a:xfrm>
              <a:off x="6235181" y="4416190"/>
              <a:ext cx="338891" cy="337445"/>
            </a:xfrm>
            <a:custGeom>
              <a:avLst/>
              <a:gdLst>
                <a:gd name="T0" fmla="*/ 365 w 788"/>
                <a:gd name="T1" fmla="*/ 666 h 800"/>
                <a:gd name="T2" fmla="*/ 415 w 788"/>
                <a:gd name="T3" fmla="*/ 622 h 800"/>
                <a:gd name="T4" fmla="*/ 571 w 788"/>
                <a:gd name="T5" fmla="*/ 790 h 800"/>
                <a:gd name="T6" fmla="*/ 571 w 788"/>
                <a:gd name="T7" fmla="*/ 790 h 800"/>
                <a:gd name="T8" fmla="*/ 576 w 788"/>
                <a:gd name="T9" fmla="*/ 795 h 800"/>
                <a:gd name="T10" fmla="*/ 583 w 788"/>
                <a:gd name="T11" fmla="*/ 798 h 800"/>
                <a:gd name="T12" fmla="*/ 590 w 788"/>
                <a:gd name="T13" fmla="*/ 799 h 800"/>
                <a:gd name="T14" fmla="*/ 598 w 788"/>
                <a:gd name="T15" fmla="*/ 800 h 800"/>
                <a:gd name="T16" fmla="*/ 606 w 788"/>
                <a:gd name="T17" fmla="*/ 798 h 800"/>
                <a:gd name="T18" fmla="*/ 614 w 788"/>
                <a:gd name="T19" fmla="*/ 796 h 800"/>
                <a:gd name="T20" fmla="*/ 621 w 788"/>
                <a:gd name="T21" fmla="*/ 791 h 800"/>
                <a:gd name="T22" fmla="*/ 629 w 788"/>
                <a:gd name="T23" fmla="*/ 785 h 800"/>
                <a:gd name="T24" fmla="*/ 770 w 788"/>
                <a:gd name="T25" fmla="*/ 654 h 800"/>
                <a:gd name="T26" fmla="*/ 770 w 788"/>
                <a:gd name="T27" fmla="*/ 654 h 800"/>
                <a:gd name="T28" fmla="*/ 777 w 788"/>
                <a:gd name="T29" fmla="*/ 648 h 800"/>
                <a:gd name="T30" fmla="*/ 781 w 788"/>
                <a:gd name="T31" fmla="*/ 640 h 800"/>
                <a:gd name="T32" fmla="*/ 785 w 788"/>
                <a:gd name="T33" fmla="*/ 633 h 800"/>
                <a:gd name="T34" fmla="*/ 787 w 788"/>
                <a:gd name="T35" fmla="*/ 625 h 800"/>
                <a:gd name="T36" fmla="*/ 788 w 788"/>
                <a:gd name="T37" fmla="*/ 618 h 800"/>
                <a:gd name="T38" fmla="*/ 787 w 788"/>
                <a:gd name="T39" fmla="*/ 610 h 800"/>
                <a:gd name="T40" fmla="*/ 783 w 788"/>
                <a:gd name="T41" fmla="*/ 602 h 800"/>
                <a:gd name="T42" fmla="*/ 779 w 788"/>
                <a:gd name="T43" fmla="*/ 597 h 800"/>
                <a:gd name="T44" fmla="*/ 624 w 788"/>
                <a:gd name="T45" fmla="*/ 429 h 800"/>
                <a:gd name="T46" fmla="*/ 672 w 788"/>
                <a:gd name="T47" fmla="*/ 383 h 800"/>
                <a:gd name="T48" fmla="*/ 672 w 788"/>
                <a:gd name="T49" fmla="*/ 383 h 800"/>
                <a:gd name="T50" fmla="*/ 680 w 788"/>
                <a:gd name="T51" fmla="*/ 376 h 800"/>
                <a:gd name="T52" fmla="*/ 686 w 788"/>
                <a:gd name="T53" fmla="*/ 368 h 800"/>
                <a:gd name="T54" fmla="*/ 692 w 788"/>
                <a:gd name="T55" fmla="*/ 361 h 800"/>
                <a:gd name="T56" fmla="*/ 696 w 788"/>
                <a:gd name="T57" fmla="*/ 352 h 800"/>
                <a:gd name="T58" fmla="*/ 700 w 788"/>
                <a:gd name="T59" fmla="*/ 343 h 800"/>
                <a:gd name="T60" fmla="*/ 704 w 788"/>
                <a:gd name="T61" fmla="*/ 336 h 800"/>
                <a:gd name="T62" fmla="*/ 707 w 788"/>
                <a:gd name="T63" fmla="*/ 327 h 800"/>
                <a:gd name="T64" fmla="*/ 708 w 788"/>
                <a:gd name="T65" fmla="*/ 318 h 800"/>
                <a:gd name="T66" fmla="*/ 709 w 788"/>
                <a:gd name="T67" fmla="*/ 310 h 800"/>
                <a:gd name="T68" fmla="*/ 709 w 788"/>
                <a:gd name="T69" fmla="*/ 301 h 800"/>
                <a:gd name="T70" fmla="*/ 709 w 788"/>
                <a:gd name="T71" fmla="*/ 292 h 800"/>
                <a:gd name="T72" fmla="*/ 707 w 788"/>
                <a:gd name="T73" fmla="*/ 285 h 800"/>
                <a:gd name="T74" fmla="*/ 705 w 788"/>
                <a:gd name="T75" fmla="*/ 277 h 800"/>
                <a:gd name="T76" fmla="*/ 701 w 788"/>
                <a:gd name="T77" fmla="*/ 270 h 800"/>
                <a:gd name="T78" fmla="*/ 697 w 788"/>
                <a:gd name="T79" fmla="*/ 263 h 800"/>
                <a:gd name="T80" fmla="*/ 692 w 788"/>
                <a:gd name="T81" fmla="*/ 257 h 800"/>
                <a:gd name="T82" fmla="*/ 454 w 788"/>
                <a:gd name="T83" fmla="*/ 0 h 800"/>
                <a:gd name="T84" fmla="*/ 0 w 788"/>
                <a:gd name="T85" fmla="*/ 419 h 800"/>
                <a:gd name="T86" fmla="*/ 239 w 788"/>
                <a:gd name="T87" fmla="*/ 677 h 800"/>
                <a:gd name="T88" fmla="*/ 239 w 788"/>
                <a:gd name="T89" fmla="*/ 677 h 800"/>
                <a:gd name="T90" fmla="*/ 245 w 788"/>
                <a:gd name="T91" fmla="*/ 682 h 800"/>
                <a:gd name="T92" fmla="*/ 251 w 788"/>
                <a:gd name="T93" fmla="*/ 687 h 800"/>
                <a:gd name="T94" fmla="*/ 257 w 788"/>
                <a:gd name="T95" fmla="*/ 691 h 800"/>
                <a:gd name="T96" fmla="*/ 265 w 788"/>
                <a:gd name="T97" fmla="*/ 694 h 800"/>
                <a:gd name="T98" fmla="*/ 274 w 788"/>
                <a:gd name="T99" fmla="*/ 696 h 800"/>
                <a:gd name="T100" fmla="*/ 281 w 788"/>
                <a:gd name="T101" fmla="*/ 697 h 800"/>
                <a:gd name="T102" fmla="*/ 290 w 788"/>
                <a:gd name="T103" fmla="*/ 697 h 800"/>
                <a:gd name="T104" fmla="*/ 299 w 788"/>
                <a:gd name="T105" fmla="*/ 697 h 800"/>
                <a:gd name="T106" fmla="*/ 307 w 788"/>
                <a:gd name="T107" fmla="*/ 696 h 800"/>
                <a:gd name="T108" fmla="*/ 316 w 788"/>
                <a:gd name="T109" fmla="*/ 694 h 800"/>
                <a:gd name="T110" fmla="*/ 324 w 788"/>
                <a:gd name="T111" fmla="*/ 692 h 800"/>
                <a:gd name="T112" fmla="*/ 333 w 788"/>
                <a:gd name="T113" fmla="*/ 689 h 800"/>
                <a:gd name="T114" fmla="*/ 342 w 788"/>
                <a:gd name="T115" fmla="*/ 685 h 800"/>
                <a:gd name="T116" fmla="*/ 350 w 788"/>
                <a:gd name="T117" fmla="*/ 679 h 800"/>
                <a:gd name="T118" fmla="*/ 358 w 788"/>
                <a:gd name="T119" fmla="*/ 673 h 800"/>
                <a:gd name="T120" fmla="*/ 365 w 788"/>
                <a:gd name="T121" fmla="*/ 666 h 800"/>
                <a:gd name="T122" fmla="*/ 365 w 788"/>
                <a:gd name="T123" fmla="*/ 66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88" h="800">
                  <a:moveTo>
                    <a:pt x="365" y="666"/>
                  </a:moveTo>
                  <a:lnTo>
                    <a:pt x="415" y="622"/>
                  </a:lnTo>
                  <a:lnTo>
                    <a:pt x="571" y="790"/>
                  </a:lnTo>
                  <a:lnTo>
                    <a:pt x="571" y="790"/>
                  </a:lnTo>
                  <a:lnTo>
                    <a:pt x="576" y="795"/>
                  </a:lnTo>
                  <a:lnTo>
                    <a:pt x="583" y="798"/>
                  </a:lnTo>
                  <a:lnTo>
                    <a:pt x="590" y="799"/>
                  </a:lnTo>
                  <a:lnTo>
                    <a:pt x="598" y="800"/>
                  </a:lnTo>
                  <a:lnTo>
                    <a:pt x="606" y="798"/>
                  </a:lnTo>
                  <a:lnTo>
                    <a:pt x="614" y="796"/>
                  </a:lnTo>
                  <a:lnTo>
                    <a:pt x="621" y="791"/>
                  </a:lnTo>
                  <a:lnTo>
                    <a:pt x="629" y="785"/>
                  </a:lnTo>
                  <a:lnTo>
                    <a:pt x="770" y="654"/>
                  </a:lnTo>
                  <a:lnTo>
                    <a:pt x="770" y="654"/>
                  </a:lnTo>
                  <a:lnTo>
                    <a:pt x="777" y="648"/>
                  </a:lnTo>
                  <a:lnTo>
                    <a:pt x="781" y="640"/>
                  </a:lnTo>
                  <a:lnTo>
                    <a:pt x="785" y="633"/>
                  </a:lnTo>
                  <a:lnTo>
                    <a:pt x="787" y="625"/>
                  </a:lnTo>
                  <a:lnTo>
                    <a:pt x="788" y="618"/>
                  </a:lnTo>
                  <a:lnTo>
                    <a:pt x="787" y="610"/>
                  </a:lnTo>
                  <a:lnTo>
                    <a:pt x="783" y="602"/>
                  </a:lnTo>
                  <a:lnTo>
                    <a:pt x="779" y="597"/>
                  </a:lnTo>
                  <a:lnTo>
                    <a:pt x="624" y="429"/>
                  </a:lnTo>
                  <a:lnTo>
                    <a:pt x="672" y="383"/>
                  </a:lnTo>
                  <a:lnTo>
                    <a:pt x="672" y="383"/>
                  </a:lnTo>
                  <a:lnTo>
                    <a:pt x="680" y="376"/>
                  </a:lnTo>
                  <a:lnTo>
                    <a:pt x="686" y="368"/>
                  </a:lnTo>
                  <a:lnTo>
                    <a:pt x="692" y="361"/>
                  </a:lnTo>
                  <a:lnTo>
                    <a:pt x="696" y="352"/>
                  </a:lnTo>
                  <a:lnTo>
                    <a:pt x="700" y="343"/>
                  </a:lnTo>
                  <a:lnTo>
                    <a:pt x="704" y="336"/>
                  </a:lnTo>
                  <a:lnTo>
                    <a:pt x="707" y="327"/>
                  </a:lnTo>
                  <a:lnTo>
                    <a:pt x="708" y="318"/>
                  </a:lnTo>
                  <a:lnTo>
                    <a:pt x="709" y="310"/>
                  </a:lnTo>
                  <a:lnTo>
                    <a:pt x="709" y="301"/>
                  </a:lnTo>
                  <a:lnTo>
                    <a:pt x="709" y="292"/>
                  </a:lnTo>
                  <a:lnTo>
                    <a:pt x="707" y="285"/>
                  </a:lnTo>
                  <a:lnTo>
                    <a:pt x="705" y="277"/>
                  </a:lnTo>
                  <a:lnTo>
                    <a:pt x="701" y="270"/>
                  </a:lnTo>
                  <a:lnTo>
                    <a:pt x="697" y="263"/>
                  </a:lnTo>
                  <a:lnTo>
                    <a:pt x="692" y="257"/>
                  </a:lnTo>
                  <a:lnTo>
                    <a:pt x="454" y="0"/>
                  </a:lnTo>
                  <a:lnTo>
                    <a:pt x="0" y="419"/>
                  </a:lnTo>
                  <a:lnTo>
                    <a:pt x="239" y="677"/>
                  </a:lnTo>
                  <a:lnTo>
                    <a:pt x="239" y="677"/>
                  </a:lnTo>
                  <a:lnTo>
                    <a:pt x="245" y="682"/>
                  </a:lnTo>
                  <a:lnTo>
                    <a:pt x="251" y="687"/>
                  </a:lnTo>
                  <a:lnTo>
                    <a:pt x="257" y="691"/>
                  </a:lnTo>
                  <a:lnTo>
                    <a:pt x="265" y="694"/>
                  </a:lnTo>
                  <a:lnTo>
                    <a:pt x="274" y="696"/>
                  </a:lnTo>
                  <a:lnTo>
                    <a:pt x="281" y="697"/>
                  </a:lnTo>
                  <a:lnTo>
                    <a:pt x="290" y="697"/>
                  </a:lnTo>
                  <a:lnTo>
                    <a:pt x="299" y="697"/>
                  </a:lnTo>
                  <a:lnTo>
                    <a:pt x="307" y="696"/>
                  </a:lnTo>
                  <a:lnTo>
                    <a:pt x="316" y="694"/>
                  </a:lnTo>
                  <a:lnTo>
                    <a:pt x="324" y="692"/>
                  </a:lnTo>
                  <a:lnTo>
                    <a:pt x="333" y="689"/>
                  </a:lnTo>
                  <a:lnTo>
                    <a:pt x="342" y="685"/>
                  </a:lnTo>
                  <a:lnTo>
                    <a:pt x="350" y="679"/>
                  </a:lnTo>
                  <a:lnTo>
                    <a:pt x="358" y="673"/>
                  </a:lnTo>
                  <a:lnTo>
                    <a:pt x="365" y="666"/>
                  </a:lnTo>
                  <a:lnTo>
                    <a:pt x="365" y="666"/>
                  </a:lnTo>
                  <a:close/>
                </a:path>
              </a:pathLst>
            </a:custGeom>
            <a:solidFill>
              <a:sysClr val="window" lastClr="FFFFFF">
                <a:lumMod val="8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71" name="Freeform 470"/>
            <p:cNvSpPr>
              <a:spLocks/>
            </p:cNvSpPr>
            <p:nvPr/>
          </p:nvSpPr>
          <p:spPr bwMode="auto">
            <a:xfrm>
              <a:off x="5373334" y="3506779"/>
              <a:ext cx="1161170" cy="1189490"/>
            </a:xfrm>
            <a:custGeom>
              <a:avLst/>
              <a:gdLst>
                <a:gd name="T0" fmla="*/ 1968 w 2700"/>
                <a:gd name="T1" fmla="*/ 2788 h 2821"/>
                <a:gd name="T2" fmla="*/ 1968 w 2700"/>
                <a:gd name="T3" fmla="*/ 2788 h 2821"/>
                <a:gd name="T4" fmla="*/ 1976 w 2700"/>
                <a:gd name="T5" fmla="*/ 2797 h 2821"/>
                <a:gd name="T6" fmla="*/ 1987 w 2700"/>
                <a:gd name="T7" fmla="*/ 2804 h 2821"/>
                <a:gd name="T8" fmla="*/ 1998 w 2700"/>
                <a:gd name="T9" fmla="*/ 2810 h 2821"/>
                <a:gd name="T10" fmla="*/ 2009 w 2700"/>
                <a:gd name="T11" fmla="*/ 2815 h 2821"/>
                <a:gd name="T12" fmla="*/ 2022 w 2700"/>
                <a:gd name="T13" fmla="*/ 2818 h 2821"/>
                <a:gd name="T14" fmla="*/ 2034 w 2700"/>
                <a:gd name="T15" fmla="*/ 2820 h 2821"/>
                <a:gd name="T16" fmla="*/ 2047 w 2700"/>
                <a:gd name="T17" fmla="*/ 2821 h 2821"/>
                <a:gd name="T18" fmla="*/ 2061 w 2700"/>
                <a:gd name="T19" fmla="*/ 2821 h 2821"/>
                <a:gd name="T20" fmla="*/ 2074 w 2700"/>
                <a:gd name="T21" fmla="*/ 2819 h 2821"/>
                <a:gd name="T22" fmla="*/ 2088 w 2700"/>
                <a:gd name="T23" fmla="*/ 2816 h 2821"/>
                <a:gd name="T24" fmla="*/ 2101 w 2700"/>
                <a:gd name="T25" fmla="*/ 2813 h 2821"/>
                <a:gd name="T26" fmla="*/ 2115 w 2700"/>
                <a:gd name="T27" fmla="*/ 2806 h 2821"/>
                <a:gd name="T28" fmla="*/ 2128 w 2700"/>
                <a:gd name="T29" fmla="*/ 2800 h 2821"/>
                <a:gd name="T30" fmla="*/ 2141 w 2700"/>
                <a:gd name="T31" fmla="*/ 2792 h 2821"/>
                <a:gd name="T32" fmla="*/ 2154 w 2700"/>
                <a:gd name="T33" fmla="*/ 2782 h 2821"/>
                <a:gd name="T34" fmla="*/ 2165 w 2700"/>
                <a:gd name="T35" fmla="*/ 2773 h 2821"/>
                <a:gd name="T36" fmla="*/ 2642 w 2700"/>
                <a:gd name="T37" fmla="*/ 2332 h 2821"/>
                <a:gd name="T38" fmla="*/ 2642 w 2700"/>
                <a:gd name="T39" fmla="*/ 2332 h 2821"/>
                <a:gd name="T40" fmla="*/ 2653 w 2700"/>
                <a:gd name="T41" fmla="*/ 2320 h 2821"/>
                <a:gd name="T42" fmla="*/ 2663 w 2700"/>
                <a:gd name="T43" fmla="*/ 2308 h 2821"/>
                <a:gd name="T44" fmla="*/ 2672 w 2700"/>
                <a:gd name="T45" fmla="*/ 2296 h 2821"/>
                <a:gd name="T46" fmla="*/ 2680 w 2700"/>
                <a:gd name="T47" fmla="*/ 2283 h 2821"/>
                <a:gd name="T48" fmla="*/ 2686 w 2700"/>
                <a:gd name="T49" fmla="*/ 2270 h 2821"/>
                <a:gd name="T50" fmla="*/ 2691 w 2700"/>
                <a:gd name="T51" fmla="*/ 2257 h 2821"/>
                <a:gd name="T52" fmla="*/ 2696 w 2700"/>
                <a:gd name="T53" fmla="*/ 2243 h 2821"/>
                <a:gd name="T54" fmla="*/ 2698 w 2700"/>
                <a:gd name="T55" fmla="*/ 2230 h 2821"/>
                <a:gd name="T56" fmla="*/ 2700 w 2700"/>
                <a:gd name="T57" fmla="*/ 2217 h 2821"/>
                <a:gd name="T58" fmla="*/ 2700 w 2700"/>
                <a:gd name="T59" fmla="*/ 2204 h 2821"/>
                <a:gd name="T60" fmla="*/ 2699 w 2700"/>
                <a:gd name="T61" fmla="*/ 2192 h 2821"/>
                <a:gd name="T62" fmla="*/ 2697 w 2700"/>
                <a:gd name="T63" fmla="*/ 2179 h 2821"/>
                <a:gd name="T64" fmla="*/ 2692 w 2700"/>
                <a:gd name="T65" fmla="*/ 2167 h 2821"/>
                <a:gd name="T66" fmla="*/ 2687 w 2700"/>
                <a:gd name="T67" fmla="*/ 2156 h 2821"/>
                <a:gd name="T68" fmla="*/ 2681 w 2700"/>
                <a:gd name="T69" fmla="*/ 2145 h 2821"/>
                <a:gd name="T70" fmla="*/ 2673 w 2700"/>
                <a:gd name="T71" fmla="*/ 2135 h 2821"/>
                <a:gd name="T72" fmla="*/ 705 w 2700"/>
                <a:gd name="T73" fmla="*/ 0 h 2821"/>
                <a:gd name="T74" fmla="*/ 0 w 2700"/>
                <a:gd name="T75" fmla="*/ 653 h 2821"/>
                <a:gd name="T76" fmla="*/ 1968 w 2700"/>
                <a:gd name="T77" fmla="*/ 2788 h 2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00" h="2821">
                  <a:moveTo>
                    <a:pt x="1968" y="2788"/>
                  </a:moveTo>
                  <a:lnTo>
                    <a:pt x="1968" y="2788"/>
                  </a:lnTo>
                  <a:lnTo>
                    <a:pt x="1976" y="2797"/>
                  </a:lnTo>
                  <a:lnTo>
                    <a:pt x="1987" y="2804"/>
                  </a:lnTo>
                  <a:lnTo>
                    <a:pt x="1998" y="2810"/>
                  </a:lnTo>
                  <a:lnTo>
                    <a:pt x="2009" y="2815"/>
                  </a:lnTo>
                  <a:lnTo>
                    <a:pt x="2022" y="2818"/>
                  </a:lnTo>
                  <a:lnTo>
                    <a:pt x="2034" y="2820"/>
                  </a:lnTo>
                  <a:lnTo>
                    <a:pt x="2047" y="2821"/>
                  </a:lnTo>
                  <a:lnTo>
                    <a:pt x="2061" y="2821"/>
                  </a:lnTo>
                  <a:lnTo>
                    <a:pt x="2074" y="2819"/>
                  </a:lnTo>
                  <a:lnTo>
                    <a:pt x="2088" y="2816"/>
                  </a:lnTo>
                  <a:lnTo>
                    <a:pt x="2101" y="2813"/>
                  </a:lnTo>
                  <a:lnTo>
                    <a:pt x="2115" y="2806"/>
                  </a:lnTo>
                  <a:lnTo>
                    <a:pt x="2128" y="2800"/>
                  </a:lnTo>
                  <a:lnTo>
                    <a:pt x="2141" y="2792"/>
                  </a:lnTo>
                  <a:lnTo>
                    <a:pt x="2154" y="2782"/>
                  </a:lnTo>
                  <a:lnTo>
                    <a:pt x="2165" y="2773"/>
                  </a:lnTo>
                  <a:lnTo>
                    <a:pt x="2642" y="2332"/>
                  </a:lnTo>
                  <a:lnTo>
                    <a:pt x="2642" y="2332"/>
                  </a:lnTo>
                  <a:lnTo>
                    <a:pt x="2653" y="2320"/>
                  </a:lnTo>
                  <a:lnTo>
                    <a:pt x="2663" y="2308"/>
                  </a:lnTo>
                  <a:lnTo>
                    <a:pt x="2672" y="2296"/>
                  </a:lnTo>
                  <a:lnTo>
                    <a:pt x="2680" y="2283"/>
                  </a:lnTo>
                  <a:lnTo>
                    <a:pt x="2686" y="2270"/>
                  </a:lnTo>
                  <a:lnTo>
                    <a:pt x="2691" y="2257"/>
                  </a:lnTo>
                  <a:lnTo>
                    <a:pt x="2696" y="2243"/>
                  </a:lnTo>
                  <a:lnTo>
                    <a:pt x="2698" y="2230"/>
                  </a:lnTo>
                  <a:lnTo>
                    <a:pt x="2700" y="2217"/>
                  </a:lnTo>
                  <a:lnTo>
                    <a:pt x="2700" y="2204"/>
                  </a:lnTo>
                  <a:lnTo>
                    <a:pt x="2699" y="2192"/>
                  </a:lnTo>
                  <a:lnTo>
                    <a:pt x="2697" y="2179"/>
                  </a:lnTo>
                  <a:lnTo>
                    <a:pt x="2692" y="2167"/>
                  </a:lnTo>
                  <a:lnTo>
                    <a:pt x="2687" y="2156"/>
                  </a:lnTo>
                  <a:lnTo>
                    <a:pt x="2681" y="2145"/>
                  </a:lnTo>
                  <a:lnTo>
                    <a:pt x="2673" y="2135"/>
                  </a:lnTo>
                  <a:lnTo>
                    <a:pt x="705" y="0"/>
                  </a:lnTo>
                  <a:lnTo>
                    <a:pt x="0" y="653"/>
                  </a:lnTo>
                  <a:lnTo>
                    <a:pt x="1968" y="2788"/>
                  </a:lnTo>
                  <a:close/>
                </a:path>
              </a:pathLst>
            </a:custGeom>
            <a:solidFill>
              <a:srgbClr val="E5E8E8">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72" name="Freeform 471"/>
            <p:cNvSpPr>
              <a:spLocks/>
            </p:cNvSpPr>
            <p:nvPr/>
          </p:nvSpPr>
          <p:spPr bwMode="auto">
            <a:xfrm>
              <a:off x="6467416" y="4515737"/>
              <a:ext cx="53329" cy="52304"/>
            </a:xfrm>
            <a:custGeom>
              <a:avLst/>
              <a:gdLst>
                <a:gd name="T0" fmla="*/ 106 w 126"/>
                <a:gd name="T1" fmla="*/ 107 h 124"/>
                <a:gd name="T2" fmla="*/ 106 w 126"/>
                <a:gd name="T3" fmla="*/ 107 h 124"/>
                <a:gd name="T4" fmla="*/ 113 w 126"/>
                <a:gd name="T5" fmla="*/ 100 h 124"/>
                <a:gd name="T6" fmla="*/ 118 w 126"/>
                <a:gd name="T7" fmla="*/ 92 h 124"/>
                <a:gd name="T8" fmla="*/ 122 w 126"/>
                <a:gd name="T9" fmla="*/ 84 h 124"/>
                <a:gd name="T10" fmla="*/ 125 w 126"/>
                <a:gd name="T11" fmla="*/ 74 h 124"/>
                <a:gd name="T12" fmla="*/ 126 w 126"/>
                <a:gd name="T13" fmla="*/ 65 h 124"/>
                <a:gd name="T14" fmla="*/ 124 w 126"/>
                <a:gd name="T15" fmla="*/ 58 h 124"/>
                <a:gd name="T16" fmla="*/ 121 w 126"/>
                <a:gd name="T17" fmla="*/ 50 h 124"/>
                <a:gd name="T18" fmla="*/ 116 w 126"/>
                <a:gd name="T19" fmla="*/ 43 h 124"/>
                <a:gd name="T20" fmla="*/ 76 w 126"/>
                <a:gd name="T21" fmla="*/ 0 h 124"/>
                <a:gd name="T22" fmla="*/ 0 w 126"/>
                <a:gd name="T23" fmla="*/ 70 h 124"/>
                <a:gd name="T24" fmla="*/ 40 w 126"/>
                <a:gd name="T25" fmla="*/ 113 h 124"/>
                <a:gd name="T26" fmla="*/ 40 w 126"/>
                <a:gd name="T27" fmla="*/ 113 h 124"/>
                <a:gd name="T28" fmla="*/ 47 w 126"/>
                <a:gd name="T29" fmla="*/ 118 h 124"/>
                <a:gd name="T30" fmla="*/ 54 w 126"/>
                <a:gd name="T31" fmla="*/ 122 h 124"/>
                <a:gd name="T32" fmla="*/ 62 w 126"/>
                <a:gd name="T33" fmla="*/ 124 h 124"/>
                <a:gd name="T34" fmla="*/ 71 w 126"/>
                <a:gd name="T35" fmla="*/ 124 h 124"/>
                <a:gd name="T36" fmla="*/ 80 w 126"/>
                <a:gd name="T37" fmla="*/ 122 h 124"/>
                <a:gd name="T38" fmla="*/ 89 w 126"/>
                <a:gd name="T39" fmla="*/ 119 h 124"/>
                <a:gd name="T40" fmla="*/ 98 w 126"/>
                <a:gd name="T41" fmla="*/ 114 h 124"/>
                <a:gd name="T42" fmla="*/ 106 w 126"/>
                <a:gd name="T43" fmla="*/ 107 h 124"/>
                <a:gd name="T44" fmla="*/ 106 w 126"/>
                <a:gd name="T45" fmla="*/ 10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6" h="124">
                  <a:moveTo>
                    <a:pt x="106" y="107"/>
                  </a:moveTo>
                  <a:lnTo>
                    <a:pt x="106" y="107"/>
                  </a:lnTo>
                  <a:lnTo>
                    <a:pt x="113" y="100"/>
                  </a:lnTo>
                  <a:lnTo>
                    <a:pt x="118" y="92"/>
                  </a:lnTo>
                  <a:lnTo>
                    <a:pt x="122" y="84"/>
                  </a:lnTo>
                  <a:lnTo>
                    <a:pt x="125" y="74"/>
                  </a:lnTo>
                  <a:lnTo>
                    <a:pt x="126" y="65"/>
                  </a:lnTo>
                  <a:lnTo>
                    <a:pt x="124" y="58"/>
                  </a:lnTo>
                  <a:lnTo>
                    <a:pt x="121" y="50"/>
                  </a:lnTo>
                  <a:lnTo>
                    <a:pt x="116" y="43"/>
                  </a:lnTo>
                  <a:lnTo>
                    <a:pt x="76" y="0"/>
                  </a:lnTo>
                  <a:lnTo>
                    <a:pt x="0" y="70"/>
                  </a:lnTo>
                  <a:lnTo>
                    <a:pt x="40" y="113"/>
                  </a:lnTo>
                  <a:lnTo>
                    <a:pt x="40" y="113"/>
                  </a:lnTo>
                  <a:lnTo>
                    <a:pt x="47" y="118"/>
                  </a:lnTo>
                  <a:lnTo>
                    <a:pt x="54" y="122"/>
                  </a:lnTo>
                  <a:lnTo>
                    <a:pt x="62" y="124"/>
                  </a:lnTo>
                  <a:lnTo>
                    <a:pt x="71" y="124"/>
                  </a:lnTo>
                  <a:lnTo>
                    <a:pt x="80" y="122"/>
                  </a:lnTo>
                  <a:lnTo>
                    <a:pt x="89" y="119"/>
                  </a:lnTo>
                  <a:lnTo>
                    <a:pt x="98" y="114"/>
                  </a:lnTo>
                  <a:lnTo>
                    <a:pt x="106" y="107"/>
                  </a:lnTo>
                  <a:lnTo>
                    <a:pt x="106" y="107"/>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73" name="Freeform 472"/>
            <p:cNvSpPr>
              <a:spLocks/>
            </p:cNvSpPr>
            <p:nvPr/>
          </p:nvSpPr>
          <p:spPr bwMode="auto">
            <a:xfrm>
              <a:off x="6422690" y="4556230"/>
              <a:ext cx="53329" cy="52304"/>
            </a:xfrm>
            <a:custGeom>
              <a:avLst/>
              <a:gdLst>
                <a:gd name="T0" fmla="*/ 104 w 124"/>
                <a:gd name="T1" fmla="*/ 108 h 124"/>
                <a:gd name="T2" fmla="*/ 104 w 124"/>
                <a:gd name="T3" fmla="*/ 108 h 124"/>
                <a:gd name="T4" fmla="*/ 112 w 124"/>
                <a:gd name="T5" fmla="*/ 100 h 124"/>
                <a:gd name="T6" fmla="*/ 117 w 124"/>
                <a:gd name="T7" fmla="*/ 91 h 124"/>
                <a:gd name="T8" fmla="*/ 121 w 124"/>
                <a:gd name="T9" fmla="*/ 83 h 124"/>
                <a:gd name="T10" fmla="*/ 123 w 124"/>
                <a:gd name="T11" fmla="*/ 74 h 124"/>
                <a:gd name="T12" fmla="*/ 124 w 124"/>
                <a:gd name="T13" fmla="*/ 65 h 124"/>
                <a:gd name="T14" fmla="*/ 123 w 124"/>
                <a:gd name="T15" fmla="*/ 57 h 124"/>
                <a:gd name="T16" fmla="*/ 120 w 124"/>
                <a:gd name="T17" fmla="*/ 49 h 124"/>
                <a:gd name="T18" fmla="*/ 115 w 124"/>
                <a:gd name="T19" fmla="*/ 43 h 124"/>
                <a:gd name="T20" fmla="*/ 75 w 124"/>
                <a:gd name="T21" fmla="*/ 0 h 124"/>
                <a:gd name="T22" fmla="*/ 0 w 124"/>
                <a:gd name="T23" fmla="*/ 70 h 124"/>
                <a:gd name="T24" fmla="*/ 40 w 124"/>
                <a:gd name="T25" fmla="*/ 113 h 124"/>
                <a:gd name="T26" fmla="*/ 40 w 124"/>
                <a:gd name="T27" fmla="*/ 113 h 124"/>
                <a:gd name="T28" fmla="*/ 45 w 124"/>
                <a:gd name="T29" fmla="*/ 118 h 124"/>
                <a:gd name="T30" fmla="*/ 53 w 124"/>
                <a:gd name="T31" fmla="*/ 122 h 124"/>
                <a:gd name="T32" fmla="*/ 61 w 124"/>
                <a:gd name="T33" fmla="*/ 124 h 124"/>
                <a:gd name="T34" fmla="*/ 70 w 124"/>
                <a:gd name="T35" fmla="*/ 124 h 124"/>
                <a:gd name="T36" fmla="*/ 79 w 124"/>
                <a:gd name="T37" fmla="*/ 122 h 124"/>
                <a:gd name="T38" fmla="*/ 87 w 124"/>
                <a:gd name="T39" fmla="*/ 118 h 124"/>
                <a:gd name="T40" fmla="*/ 97 w 124"/>
                <a:gd name="T41" fmla="*/ 114 h 124"/>
                <a:gd name="T42" fmla="*/ 104 w 124"/>
                <a:gd name="T43" fmla="*/ 108 h 124"/>
                <a:gd name="T44" fmla="*/ 104 w 124"/>
                <a:gd name="T45" fmla="*/ 10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 h="124">
                  <a:moveTo>
                    <a:pt x="104" y="108"/>
                  </a:moveTo>
                  <a:lnTo>
                    <a:pt x="104" y="108"/>
                  </a:lnTo>
                  <a:lnTo>
                    <a:pt x="112" y="100"/>
                  </a:lnTo>
                  <a:lnTo>
                    <a:pt x="117" y="91"/>
                  </a:lnTo>
                  <a:lnTo>
                    <a:pt x="121" y="83"/>
                  </a:lnTo>
                  <a:lnTo>
                    <a:pt x="123" y="74"/>
                  </a:lnTo>
                  <a:lnTo>
                    <a:pt x="124" y="65"/>
                  </a:lnTo>
                  <a:lnTo>
                    <a:pt x="123" y="57"/>
                  </a:lnTo>
                  <a:lnTo>
                    <a:pt x="120" y="49"/>
                  </a:lnTo>
                  <a:lnTo>
                    <a:pt x="115" y="43"/>
                  </a:lnTo>
                  <a:lnTo>
                    <a:pt x="75" y="0"/>
                  </a:lnTo>
                  <a:lnTo>
                    <a:pt x="0" y="70"/>
                  </a:lnTo>
                  <a:lnTo>
                    <a:pt x="40" y="113"/>
                  </a:lnTo>
                  <a:lnTo>
                    <a:pt x="40" y="113"/>
                  </a:lnTo>
                  <a:lnTo>
                    <a:pt x="45" y="118"/>
                  </a:lnTo>
                  <a:lnTo>
                    <a:pt x="53" y="122"/>
                  </a:lnTo>
                  <a:lnTo>
                    <a:pt x="61" y="124"/>
                  </a:lnTo>
                  <a:lnTo>
                    <a:pt x="70" y="124"/>
                  </a:lnTo>
                  <a:lnTo>
                    <a:pt x="79" y="122"/>
                  </a:lnTo>
                  <a:lnTo>
                    <a:pt x="87" y="118"/>
                  </a:lnTo>
                  <a:lnTo>
                    <a:pt x="97" y="114"/>
                  </a:lnTo>
                  <a:lnTo>
                    <a:pt x="104" y="108"/>
                  </a:lnTo>
                  <a:lnTo>
                    <a:pt x="104" y="108"/>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74" name="Freeform 473"/>
            <p:cNvSpPr>
              <a:spLocks/>
            </p:cNvSpPr>
            <p:nvPr/>
          </p:nvSpPr>
          <p:spPr bwMode="auto">
            <a:xfrm>
              <a:off x="6376242" y="4598410"/>
              <a:ext cx="55048" cy="52304"/>
            </a:xfrm>
            <a:custGeom>
              <a:avLst/>
              <a:gdLst>
                <a:gd name="T0" fmla="*/ 106 w 124"/>
                <a:gd name="T1" fmla="*/ 108 h 124"/>
                <a:gd name="T2" fmla="*/ 106 w 124"/>
                <a:gd name="T3" fmla="*/ 108 h 124"/>
                <a:gd name="T4" fmla="*/ 112 w 124"/>
                <a:gd name="T5" fmla="*/ 100 h 124"/>
                <a:gd name="T6" fmla="*/ 118 w 124"/>
                <a:gd name="T7" fmla="*/ 92 h 124"/>
                <a:gd name="T8" fmla="*/ 122 w 124"/>
                <a:gd name="T9" fmla="*/ 83 h 124"/>
                <a:gd name="T10" fmla="*/ 124 w 124"/>
                <a:gd name="T11" fmla="*/ 74 h 124"/>
                <a:gd name="T12" fmla="*/ 124 w 124"/>
                <a:gd name="T13" fmla="*/ 66 h 124"/>
                <a:gd name="T14" fmla="*/ 123 w 124"/>
                <a:gd name="T15" fmla="*/ 57 h 124"/>
                <a:gd name="T16" fmla="*/ 121 w 124"/>
                <a:gd name="T17" fmla="*/ 49 h 124"/>
                <a:gd name="T18" fmla="*/ 115 w 124"/>
                <a:gd name="T19" fmla="*/ 43 h 124"/>
                <a:gd name="T20" fmla="*/ 75 w 124"/>
                <a:gd name="T21" fmla="*/ 0 h 124"/>
                <a:gd name="T22" fmla="*/ 0 w 124"/>
                <a:gd name="T23" fmla="*/ 70 h 124"/>
                <a:gd name="T24" fmla="*/ 40 w 124"/>
                <a:gd name="T25" fmla="*/ 113 h 124"/>
                <a:gd name="T26" fmla="*/ 40 w 124"/>
                <a:gd name="T27" fmla="*/ 113 h 124"/>
                <a:gd name="T28" fmla="*/ 46 w 124"/>
                <a:gd name="T29" fmla="*/ 119 h 124"/>
                <a:gd name="T30" fmla="*/ 54 w 124"/>
                <a:gd name="T31" fmla="*/ 122 h 124"/>
                <a:gd name="T32" fmla="*/ 61 w 124"/>
                <a:gd name="T33" fmla="*/ 124 h 124"/>
                <a:gd name="T34" fmla="*/ 70 w 124"/>
                <a:gd name="T35" fmla="*/ 124 h 124"/>
                <a:gd name="T36" fmla="*/ 80 w 124"/>
                <a:gd name="T37" fmla="*/ 123 h 124"/>
                <a:gd name="T38" fmla="*/ 88 w 124"/>
                <a:gd name="T39" fmla="*/ 120 h 124"/>
                <a:gd name="T40" fmla="*/ 97 w 124"/>
                <a:gd name="T41" fmla="*/ 114 h 124"/>
                <a:gd name="T42" fmla="*/ 106 w 124"/>
                <a:gd name="T43" fmla="*/ 108 h 124"/>
                <a:gd name="T44" fmla="*/ 106 w 124"/>
                <a:gd name="T45" fmla="*/ 10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 h="124">
                  <a:moveTo>
                    <a:pt x="106" y="108"/>
                  </a:moveTo>
                  <a:lnTo>
                    <a:pt x="106" y="108"/>
                  </a:lnTo>
                  <a:lnTo>
                    <a:pt x="112" y="100"/>
                  </a:lnTo>
                  <a:lnTo>
                    <a:pt x="118" y="92"/>
                  </a:lnTo>
                  <a:lnTo>
                    <a:pt x="122" y="83"/>
                  </a:lnTo>
                  <a:lnTo>
                    <a:pt x="124" y="74"/>
                  </a:lnTo>
                  <a:lnTo>
                    <a:pt x="124" y="66"/>
                  </a:lnTo>
                  <a:lnTo>
                    <a:pt x="123" y="57"/>
                  </a:lnTo>
                  <a:lnTo>
                    <a:pt x="121" y="49"/>
                  </a:lnTo>
                  <a:lnTo>
                    <a:pt x="115" y="43"/>
                  </a:lnTo>
                  <a:lnTo>
                    <a:pt x="75" y="0"/>
                  </a:lnTo>
                  <a:lnTo>
                    <a:pt x="0" y="70"/>
                  </a:lnTo>
                  <a:lnTo>
                    <a:pt x="40" y="113"/>
                  </a:lnTo>
                  <a:lnTo>
                    <a:pt x="40" y="113"/>
                  </a:lnTo>
                  <a:lnTo>
                    <a:pt x="46" y="119"/>
                  </a:lnTo>
                  <a:lnTo>
                    <a:pt x="54" y="122"/>
                  </a:lnTo>
                  <a:lnTo>
                    <a:pt x="61" y="124"/>
                  </a:lnTo>
                  <a:lnTo>
                    <a:pt x="70" y="124"/>
                  </a:lnTo>
                  <a:lnTo>
                    <a:pt x="80" y="123"/>
                  </a:lnTo>
                  <a:lnTo>
                    <a:pt x="88" y="120"/>
                  </a:lnTo>
                  <a:lnTo>
                    <a:pt x="97" y="114"/>
                  </a:lnTo>
                  <a:lnTo>
                    <a:pt x="106" y="108"/>
                  </a:lnTo>
                  <a:lnTo>
                    <a:pt x="106" y="108"/>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75" name="Freeform 474"/>
            <p:cNvSpPr>
              <a:spLocks/>
            </p:cNvSpPr>
            <p:nvPr/>
          </p:nvSpPr>
          <p:spPr bwMode="auto">
            <a:xfrm>
              <a:off x="6331516" y="4638904"/>
              <a:ext cx="53329" cy="52304"/>
            </a:xfrm>
            <a:custGeom>
              <a:avLst/>
              <a:gdLst>
                <a:gd name="T0" fmla="*/ 106 w 125"/>
                <a:gd name="T1" fmla="*/ 108 h 123"/>
                <a:gd name="T2" fmla="*/ 106 w 125"/>
                <a:gd name="T3" fmla="*/ 108 h 123"/>
                <a:gd name="T4" fmla="*/ 113 w 125"/>
                <a:gd name="T5" fmla="*/ 99 h 123"/>
                <a:gd name="T6" fmla="*/ 119 w 125"/>
                <a:gd name="T7" fmla="*/ 92 h 123"/>
                <a:gd name="T8" fmla="*/ 122 w 125"/>
                <a:gd name="T9" fmla="*/ 83 h 123"/>
                <a:gd name="T10" fmla="*/ 124 w 125"/>
                <a:gd name="T11" fmla="*/ 74 h 123"/>
                <a:gd name="T12" fmla="*/ 125 w 125"/>
                <a:gd name="T13" fmla="*/ 65 h 123"/>
                <a:gd name="T14" fmla="*/ 124 w 125"/>
                <a:gd name="T15" fmla="*/ 57 h 123"/>
                <a:gd name="T16" fmla="*/ 121 w 125"/>
                <a:gd name="T17" fmla="*/ 50 h 123"/>
                <a:gd name="T18" fmla="*/ 116 w 125"/>
                <a:gd name="T19" fmla="*/ 42 h 123"/>
                <a:gd name="T20" fmla="*/ 77 w 125"/>
                <a:gd name="T21" fmla="*/ 0 h 123"/>
                <a:gd name="T22" fmla="*/ 0 w 125"/>
                <a:gd name="T23" fmla="*/ 69 h 123"/>
                <a:gd name="T24" fmla="*/ 40 w 125"/>
                <a:gd name="T25" fmla="*/ 112 h 123"/>
                <a:gd name="T26" fmla="*/ 40 w 125"/>
                <a:gd name="T27" fmla="*/ 112 h 123"/>
                <a:gd name="T28" fmla="*/ 46 w 125"/>
                <a:gd name="T29" fmla="*/ 118 h 123"/>
                <a:gd name="T30" fmla="*/ 54 w 125"/>
                <a:gd name="T31" fmla="*/ 122 h 123"/>
                <a:gd name="T32" fmla="*/ 63 w 125"/>
                <a:gd name="T33" fmla="*/ 123 h 123"/>
                <a:gd name="T34" fmla="*/ 71 w 125"/>
                <a:gd name="T35" fmla="*/ 123 h 123"/>
                <a:gd name="T36" fmla="*/ 80 w 125"/>
                <a:gd name="T37" fmla="*/ 122 h 123"/>
                <a:gd name="T38" fmla="*/ 89 w 125"/>
                <a:gd name="T39" fmla="*/ 119 h 123"/>
                <a:gd name="T40" fmla="*/ 97 w 125"/>
                <a:gd name="T41" fmla="*/ 115 h 123"/>
                <a:gd name="T42" fmla="*/ 106 w 125"/>
                <a:gd name="T43" fmla="*/ 108 h 123"/>
                <a:gd name="T44" fmla="*/ 106 w 125"/>
                <a:gd name="T45" fmla="*/ 10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 h="123">
                  <a:moveTo>
                    <a:pt x="106" y="108"/>
                  </a:moveTo>
                  <a:lnTo>
                    <a:pt x="106" y="108"/>
                  </a:lnTo>
                  <a:lnTo>
                    <a:pt x="113" y="99"/>
                  </a:lnTo>
                  <a:lnTo>
                    <a:pt x="119" y="92"/>
                  </a:lnTo>
                  <a:lnTo>
                    <a:pt x="122" y="83"/>
                  </a:lnTo>
                  <a:lnTo>
                    <a:pt x="124" y="74"/>
                  </a:lnTo>
                  <a:lnTo>
                    <a:pt x="125" y="65"/>
                  </a:lnTo>
                  <a:lnTo>
                    <a:pt x="124" y="57"/>
                  </a:lnTo>
                  <a:lnTo>
                    <a:pt x="121" y="50"/>
                  </a:lnTo>
                  <a:lnTo>
                    <a:pt x="116" y="42"/>
                  </a:lnTo>
                  <a:lnTo>
                    <a:pt x="77" y="0"/>
                  </a:lnTo>
                  <a:lnTo>
                    <a:pt x="0" y="69"/>
                  </a:lnTo>
                  <a:lnTo>
                    <a:pt x="40" y="112"/>
                  </a:lnTo>
                  <a:lnTo>
                    <a:pt x="40" y="112"/>
                  </a:lnTo>
                  <a:lnTo>
                    <a:pt x="46" y="118"/>
                  </a:lnTo>
                  <a:lnTo>
                    <a:pt x="54" y="122"/>
                  </a:lnTo>
                  <a:lnTo>
                    <a:pt x="63" y="123"/>
                  </a:lnTo>
                  <a:lnTo>
                    <a:pt x="71" y="123"/>
                  </a:lnTo>
                  <a:lnTo>
                    <a:pt x="80" y="122"/>
                  </a:lnTo>
                  <a:lnTo>
                    <a:pt x="89" y="119"/>
                  </a:lnTo>
                  <a:lnTo>
                    <a:pt x="97" y="115"/>
                  </a:lnTo>
                  <a:lnTo>
                    <a:pt x="106" y="108"/>
                  </a:lnTo>
                  <a:lnTo>
                    <a:pt x="106" y="108"/>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76" name="Freeform 475"/>
            <p:cNvSpPr>
              <a:spLocks/>
            </p:cNvSpPr>
            <p:nvPr/>
          </p:nvSpPr>
          <p:spPr bwMode="auto">
            <a:xfrm>
              <a:off x="6241239" y="4429987"/>
              <a:ext cx="268360" cy="244648"/>
            </a:xfrm>
            <a:custGeom>
              <a:avLst/>
              <a:gdLst>
                <a:gd name="T0" fmla="*/ 37 w 624"/>
                <a:gd name="T1" fmla="*/ 572 h 581"/>
                <a:gd name="T2" fmla="*/ 614 w 624"/>
                <a:gd name="T3" fmla="*/ 37 h 581"/>
                <a:gd name="T4" fmla="*/ 614 w 624"/>
                <a:gd name="T5" fmla="*/ 37 h 581"/>
                <a:gd name="T6" fmla="*/ 618 w 624"/>
                <a:gd name="T7" fmla="*/ 34 h 581"/>
                <a:gd name="T8" fmla="*/ 621 w 624"/>
                <a:gd name="T9" fmla="*/ 30 h 581"/>
                <a:gd name="T10" fmla="*/ 622 w 624"/>
                <a:gd name="T11" fmla="*/ 26 h 581"/>
                <a:gd name="T12" fmla="*/ 624 w 624"/>
                <a:gd name="T13" fmla="*/ 21 h 581"/>
                <a:gd name="T14" fmla="*/ 624 w 624"/>
                <a:gd name="T15" fmla="*/ 17 h 581"/>
                <a:gd name="T16" fmla="*/ 623 w 624"/>
                <a:gd name="T17" fmla="*/ 13 h 581"/>
                <a:gd name="T18" fmla="*/ 622 w 624"/>
                <a:gd name="T19" fmla="*/ 8 h 581"/>
                <a:gd name="T20" fmla="*/ 620 w 624"/>
                <a:gd name="T21" fmla="*/ 5 h 581"/>
                <a:gd name="T22" fmla="*/ 620 w 624"/>
                <a:gd name="T23" fmla="*/ 5 h 581"/>
                <a:gd name="T24" fmla="*/ 617 w 624"/>
                <a:gd name="T25" fmla="*/ 3 h 581"/>
                <a:gd name="T26" fmla="*/ 612 w 624"/>
                <a:gd name="T27" fmla="*/ 1 h 581"/>
                <a:gd name="T28" fmla="*/ 608 w 624"/>
                <a:gd name="T29" fmla="*/ 0 h 581"/>
                <a:gd name="T30" fmla="*/ 604 w 624"/>
                <a:gd name="T31" fmla="*/ 0 h 581"/>
                <a:gd name="T32" fmla="*/ 599 w 624"/>
                <a:gd name="T33" fmla="*/ 1 h 581"/>
                <a:gd name="T34" fmla="*/ 595 w 624"/>
                <a:gd name="T35" fmla="*/ 2 h 581"/>
                <a:gd name="T36" fmla="*/ 591 w 624"/>
                <a:gd name="T37" fmla="*/ 4 h 581"/>
                <a:gd name="T38" fmla="*/ 586 w 624"/>
                <a:gd name="T39" fmla="*/ 8 h 581"/>
                <a:gd name="T40" fmla="*/ 10 w 624"/>
                <a:gd name="T41" fmla="*/ 542 h 581"/>
                <a:gd name="T42" fmla="*/ 10 w 624"/>
                <a:gd name="T43" fmla="*/ 542 h 581"/>
                <a:gd name="T44" fmla="*/ 5 w 624"/>
                <a:gd name="T45" fmla="*/ 546 h 581"/>
                <a:gd name="T46" fmla="*/ 3 w 624"/>
                <a:gd name="T47" fmla="*/ 550 h 581"/>
                <a:gd name="T48" fmla="*/ 1 w 624"/>
                <a:gd name="T49" fmla="*/ 555 h 581"/>
                <a:gd name="T50" fmla="*/ 0 w 624"/>
                <a:gd name="T51" fmla="*/ 559 h 581"/>
                <a:gd name="T52" fmla="*/ 0 w 624"/>
                <a:gd name="T53" fmla="*/ 563 h 581"/>
                <a:gd name="T54" fmla="*/ 0 w 624"/>
                <a:gd name="T55" fmla="*/ 568 h 581"/>
                <a:gd name="T56" fmla="*/ 2 w 624"/>
                <a:gd name="T57" fmla="*/ 571 h 581"/>
                <a:gd name="T58" fmla="*/ 4 w 624"/>
                <a:gd name="T59" fmla="*/ 575 h 581"/>
                <a:gd name="T60" fmla="*/ 4 w 624"/>
                <a:gd name="T61" fmla="*/ 575 h 581"/>
                <a:gd name="T62" fmla="*/ 8 w 624"/>
                <a:gd name="T63" fmla="*/ 577 h 581"/>
                <a:gd name="T64" fmla="*/ 11 w 624"/>
                <a:gd name="T65" fmla="*/ 580 h 581"/>
                <a:gd name="T66" fmla="*/ 15 w 624"/>
                <a:gd name="T67" fmla="*/ 580 h 581"/>
                <a:gd name="T68" fmla="*/ 19 w 624"/>
                <a:gd name="T69" fmla="*/ 581 h 581"/>
                <a:gd name="T70" fmla="*/ 24 w 624"/>
                <a:gd name="T71" fmla="*/ 580 h 581"/>
                <a:gd name="T72" fmla="*/ 28 w 624"/>
                <a:gd name="T73" fmla="*/ 577 h 581"/>
                <a:gd name="T74" fmla="*/ 33 w 624"/>
                <a:gd name="T75" fmla="*/ 575 h 581"/>
                <a:gd name="T76" fmla="*/ 37 w 624"/>
                <a:gd name="T77" fmla="*/ 572 h 581"/>
                <a:gd name="T78" fmla="*/ 37 w 624"/>
                <a:gd name="T79" fmla="*/ 572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24" h="581">
                  <a:moveTo>
                    <a:pt x="37" y="572"/>
                  </a:moveTo>
                  <a:lnTo>
                    <a:pt x="614" y="37"/>
                  </a:lnTo>
                  <a:lnTo>
                    <a:pt x="614" y="37"/>
                  </a:lnTo>
                  <a:lnTo>
                    <a:pt x="618" y="34"/>
                  </a:lnTo>
                  <a:lnTo>
                    <a:pt x="621" y="30"/>
                  </a:lnTo>
                  <a:lnTo>
                    <a:pt x="622" y="26"/>
                  </a:lnTo>
                  <a:lnTo>
                    <a:pt x="624" y="21"/>
                  </a:lnTo>
                  <a:lnTo>
                    <a:pt x="624" y="17"/>
                  </a:lnTo>
                  <a:lnTo>
                    <a:pt x="623" y="13"/>
                  </a:lnTo>
                  <a:lnTo>
                    <a:pt x="622" y="8"/>
                  </a:lnTo>
                  <a:lnTo>
                    <a:pt x="620" y="5"/>
                  </a:lnTo>
                  <a:lnTo>
                    <a:pt x="620" y="5"/>
                  </a:lnTo>
                  <a:lnTo>
                    <a:pt x="617" y="3"/>
                  </a:lnTo>
                  <a:lnTo>
                    <a:pt x="612" y="1"/>
                  </a:lnTo>
                  <a:lnTo>
                    <a:pt x="608" y="0"/>
                  </a:lnTo>
                  <a:lnTo>
                    <a:pt x="604" y="0"/>
                  </a:lnTo>
                  <a:lnTo>
                    <a:pt x="599" y="1"/>
                  </a:lnTo>
                  <a:lnTo>
                    <a:pt x="595" y="2"/>
                  </a:lnTo>
                  <a:lnTo>
                    <a:pt x="591" y="4"/>
                  </a:lnTo>
                  <a:lnTo>
                    <a:pt x="586" y="8"/>
                  </a:lnTo>
                  <a:lnTo>
                    <a:pt x="10" y="542"/>
                  </a:lnTo>
                  <a:lnTo>
                    <a:pt x="10" y="542"/>
                  </a:lnTo>
                  <a:lnTo>
                    <a:pt x="5" y="546"/>
                  </a:lnTo>
                  <a:lnTo>
                    <a:pt x="3" y="550"/>
                  </a:lnTo>
                  <a:lnTo>
                    <a:pt x="1" y="555"/>
                  </a:lnTo>
                  <a:lnTo>
                    <a:pt x="0" y="559"/>
                  </a:lnTo>
                  <a:lnTo>
                    <a:pt x="0" y="563"/>
                  </a:lnTo>
                  <a:lnTo>
                    <a:pt x="0" y="568"/>
                  </a:lnTo>
                  <a:lnTo>
                    <a:pt x="2" y="571"/>
                  </a:lnTo>
                  <a:lnTo>
                    <a:pt x="4" y="575"/>
                  </a:lnTo>
                  <a:lnTo>
                    <a:pt x="4" y="575"/>
                  </a:lnTo>
                  <a:lnTo>
                    <a:pt x="8" y="577"/>
                  </a:lnTo>
                  <a:lnTo>
                    <a:pt x="11" y="580"/>
                  </a:lnTo>
                  <a:lnTo>
                    <a:pt x="15" y="580"/>
                  </a:lnTo>
                  <a:lnTo>
                    <a:pt x="19" y="581"/>
                  </a:lnTo>
                  <a:lnTo>
                    <a:pt x="24" y="580"/>
                  </a:lnTo>
                  <a:lnTo>
                    <a:pt x="28" y="577"/>
                  </a:lnTo>
                  <a:lnTo>
                    <a:pt x="33" y="575"/>
                  </a:lnTo>
                  <a:lnTo>
                    <a:pt x="37" y="572"/>
                  </a:lnTo>
                  <a:lnTo>
                    <a:pt x="37" y="572"/>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77" name="Freeform 476"/>
            <p:cNvSpPr>
              <a:spLocks/>
            </p:cNvSpPr>
            <p:nvPr/>
          </p:nvSpPr>
          <p:spPr bwMode="auto">
            <a:xfrm>
              <a:off x="6206835" y="4394554"/>
              <a:ext cx="268360" cy="244648"/>
            </a:xfrm>
            <a:custGeom>
              <a:avLst/>
              <a:gdLst>
                <a:gd name="T0" fmla="*/ 38 w 624"/>
                <a:gd name="T1" fmla="*/ 573 h 580"/>
                <a:gd name="T2" fmla="*/ 615 w 624"/>
                <a:gd name="T3" fmla="*/ 38 h 580"/>
                <a:gd name="T4" fmla="*/ 615 w 624"/>
                <a:gd name="T5" fmla="*/ 38 h 580"/>
                <a:gd name="T6" fmla="*/ 619 w 624"/>
                <a:gd name="T7" fmla="*/ 34 h 580"/>
                <a:gd name="T8" fmla="*/ 621 w 624"/>
                <a:gd name="T9" fmla="*/ 31 h 580"/>
                <a:gd name="T10" fmla="*/ 623 w 624"/>
                <a:gd name="T11" fmla="*/ 26 h 580"/>
                <a:gd name="T12" fmla="*/ 624 w 624"/>
                <a:gd name="T13" fmla="*/ 21 h 580"/>
                <a:gd name="T14" fmla="*/ 624 w 624"/>
                <a:gd name="T15" fmla="*/ 17 h 580"/>
                <a:gd name="T16" fmla="*/ 624 w 624"/>
                <a:gd name="T17" fmla="*/ 13 h 580"/>
                <a:gd name="T18" fmla="*/ 622 w 624"/>
                <a:gd name="T19" fmla="*/ 9 h 580"/>
                <a:gd name="T20" fmla="*/ 620 w 624"/>
                <a:gd name="T21" fmla="*/ 6 h 580"/>
                <a:gd name="T22" fmla="*/ 620 w 624"/>
                <a:gd name="T23" fmla="*/ 6 h 580"/>
                <a:gd name="T24" fmla="*/ 617 w 624"/>
                <a:gd name="T25" fmla="*/ 2 h 580"/>
                <a:gd name="T26" fmla="*/ 613 w 624"/>
                <a:gd name="T27" fmla="*/ 1 h 580"/>
                <a:gd name="T28" fmla="*/ 609 w 624"/>
                <a:gd name="T29" fmla="*/ 0 h 580"/>
                <a:gd name="T30" fmla="*/ 605 w 624"/>
                <a:gd name="T31" fmla="*/ 0 h 580"/>
                <a:gd name="T32" fmla="*/ 601 w 624"/>
                <a:gd name="T33" fmla="*/ 1 h 580"/>
                <a:gd name="T34" fmla="*/ 596 w 624"/>
                <a:gd name="T35" fmla="*/ 2 h 580"/>
                <a:gd name="T36" fmla="*/ 592 w 624"/>
                <a:gd name="T37" fmla="*/ 5 h 580"/>
                <a:gd name="T38" fmla="*/ 588 w 624"/>
                <a:gd name="T39" fmla="*/ 8 h 580"/>
                <a:gd name="T40" fmla="*/ 10 w 624"/>
                <a:gd name="T41" fmla="*/ 542 h 580"/>
                <a:gd name="T42" fmla="*/ 10 w 624"/>
                <a:gd name="T43" fmla="*/ 542 h 580"/>
                <a:gd name="T44" fmla="*/ 7 w 624"/>
                <a:gd name="T45" fmla="*/ 547 h 580"/>
                <a:gd name="T46" fmla="*/ 3 w 624"/>
                <a:gd name="T47" fmla="*/ 550 h 580"/>
                <a:gd name="T48" fmla="*/ 2 w 624"/>
                <a:gd name="T49" fmla="*/ 555 h 580"/>
                <a:gd name="T50" fmla="*/ 1 w 624"/>
                <a:gd name="T51" fmla="*/ 560 h 580"/>
                <a:gd name="T52" fmla="*/ 0 w 624"/>
                <a:gd name="T53" fmla="*/ 564 h 580"/>
                <a:gd name="T54" fmla="*/ 1 w 624"/>
                <a:gd name="T55" fmla="*/ 568 h 580"/>
                <a:gd name="T56" fmla="*/ 2 w 624"/>
                <a:gd name="T57" fmla="*/ 572 h 580"/>
                <a:gd name="T58" fmla="*/ 4 w 624"/>
                <a:gd name="T59" fmla="*/ 575 h 580"/>
                <a:gd name="T60" fmla="*/ 4 w 624"/>
                <a:gd name="T61" fmla="*/ 575 h 580"/>
                <a:gd name="T62" fmla="*/ 8 w 624"/>
                <a:gd name="T63" fmla="*/ 578 h 580"/>
                <a:gd name="T64" fmla="*/ 12 w 624"/>
                <a:gd name="T65" fmla="*/ 579 h 580"/>
                <a:gd name="T66" fmla="*/ 16 w 624"/>
                <a:gd name="T67" fmla="*/ 580 h 580"/>
                <a:gd name="T68" fmla="*/ 21 w 624"/>
                <a:gd name="T69" fmla="*/ 580 h 580"/>
                <a:gd name="T70" fmla="*/ 25 w 624"/>
                <a:gd name="T71" fmla="*/ 580 h 580"/>
                <a:gd name="T72" fmla="*/ 29 w 624"/>
                <a:gd name="T73" fmla="*/ 578 h 580"/>
                <a:gd name="T74" fmla="*/ 34 w 624"/>
                <a:gd name="T75" fmla="*/ 576 h 580"/>
                <a:gd name="T76" fmla="*/ 38 w 624"/>
                <a:gd name="T77" fmla="*/ 573 h 580"/>
                <a:gd name="T78" fmla="*/ 38 w 624"/>
                <a:gd name="T79" fmla="*/ 573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24" h="580">
                  <a:moveTo>
                    <a:pt x="38" y="573"/>
                  </a:moveTo>
                  <a:lnTo>
                    <a:pt x="615" y="38"/>
                  </a:lnTo>
                  <a:lnTo>
                    <a:pt x="615" y="38"/>
                  </a:lnTo>
                  <a:lnTo>
                    <a:pt x="619" y="34"/>
                  </a:lnTo>
                  <a:lnTo>
                    <a:pt x="621" y="31"/>
                  </a:lnTo>
                  <a:lnTo>
                    <a:pt x="623" y="26"/>
                  </a:lnTo>
                  <a:lnTo>
                    <a:pt x="624" y="21"/>
                  </a:lnTo>
                  <a:lnTo>
                    <a:pt x="624" y="17"/>
                  </a:lnTo>
                  <a:lnTo>
                    <a:pt x="624" y="13"/>
                  </a:lnTo>
                  <a:lnTo>
                    <a:pt x="622" y="9"/>
                  </a:lnTo>
                  <a:lnTo>
                    <a:pt x="620" y="6"/>
                  </a:lnTo>
                  <a:lnTo>
                    <a:pt x="620" y="6"/>
                  </a:lnTo>
                  <a:lnTo>
                    <a:pt x="617" y="2"/>
                  </a:lnTo>
                  <a:lnTo>
                    <a:pt x="613" y="1"/>
                  </a:lnTo>
                  <a:lnTo>
                    <a:pt x="609" y="0"/>
                  </a:lnTo>
                  <a:lnTo>
                    <a:pt x="605" y="0"/>
                  </a:lnTo>
                  <a:lnTo>
                    <a:pt x="601" y="1"/>
                  </a:lnTo>
                  <a:lnTo>
                    <a:pt x="596" y="2"/>
                  </a:lnTo>
                  <a:lnTo>
                    <a:pt x="592" y="5"/>
                  </a:lnTo>
                  <a:lnTo>
                    <a:pt x="588" y="8"/>
                  </a:lnTo>
                  <a:lnTo>
                    <a:pt x="10" y="542"/>
                  </a:lnTo>
                  <a:lnTo>
                    <a:pt x="10" y="542"/>
                  </a:lnTo>
                  <a:lnTo>
                    <a:pt x="7" y="547"/>
                  </a:lnTo>
                  <a:lnTo>
                    <a:pt x="3" y="550"/>
                  </a:lnTo>
                  <a:lnTo>
                    <a:pt x="2" y="555"/>
                  </a:lnTo>
                  <a:lnTo>
                    <a:pt x="1" y="560"/>
                  </a:lnTo>
                  <a:lnTo>
                    <a:pt x="0" y="564"/>
                  </a:lnTo>
                  <a:lnTo>
                    <a:pt x="1" y="568"/>
                  </a:lnTo>
                  <a:lnTo>
                    <a:pt x="2" y="572"/>
                  </a:lnTo>
                  <a:lnTo>
                    <a:pt x="4" y="575"/>
                  </a:lnTo>
                  <a:lnTo>
                    <a:pt x="4" y="575"/>
                  </a:lnTo>
                  <a:lnTo>
                    <a:pt x="8" y="578"/>
                  </a:lnTo>
                  <a:lnTo>
                    <a:pt x="12" y="579"/>
                  </a:lnTo>
                  <a:lnTo>
                    <a:pt x="16" y="580"/>
                  </a:lnTo>
                  <a:lnTo>
                    <a:pt x="21" y="580"/>
                  </a:lnTo>
                  <a:lnTo>
                    <a:pt x="25" y="580"/>
                  </a:lnTo>
                  <a:lnTo>
                    <a:pt x="29" y="578"/>
                  </a:lnTo>
                  <a:lnTo>
                    <a:pt x="34" y="576"/>
                  </a:lnTo>
                  <a:lnTo>
                    <a:pt x="38" y="573"/>
                  </a:lnTo>
                  <a:lnTo>
                    <a:pt x="38" y="573"/>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78" name="Freeform 477"/>
            <p:cNvSpPr>
              <a:spLocks/>
            </p:cNvSpPr>
            <p:nvPr/>
          </p:nvSpPr>
          <p:spPr bwMode="auto">
            <a:xfrm>
              <a:off x="6174150" y="4357436"/>
              <a:ext cx="268360" cy="244648"/>
            </a:xfrm>
            <a:custGeom>
              <a:avLst/>
              <a:gdLst>
                <a:gd name="T0" fmla="*/ 38 w 624"/>
                <a:gd name="T1" fmla="*/ 572 h 580"/>
                <a:gd name="T2" fmla="*/ 615 w 624"/>
                <a:gd name="T3" fmla="*/ 38 h 580"/>
                <a:gd name="T4" fmla="*/ 615 w 624"/>
                <a:gd name="T5" fmla="*/ 38 h 580"/>
                <a:gd name="T6" fmla="*/ 618 w 624"/>
                <a:gd name="T7" fmla="*/ 33 h 580"/>
                <a:gd name="T8" fmla="*/ 621 w 624"/>
                <a:gd name="T9" fmla="*/ 29 h 580"/>
                <a:gd name="T10" fmla="*/ 623 w 624"/>
                <a:gd name="T11" fmla="*/ 25 h 580"/>
                <a:gd name="T12" fmla="*/ 624 w 624"/>
                <a:gd name="T13" fmla="*/ 21 h 580"/>
                <a:gd name="T14" fmla="*/ 624 w 624"/>
                <a:gd name="T15" fmla="*/ 16 h 580"/>
                <a:gd name="T16" fmla="*/ 624 w 624"/>
                <a:gd name="T17" fmla="*/ 12 h 580"/>
                <a:gd name="T18" fmla="*/ 622 w 624"/>
                <a:gd name="T19" fmla="*/ 9 h 580"/>
                <a:gd name="T20" fmla="*/ 620 w 624"/>
                <a:gd name="T21" fmla="*/ 5 h 580"/>
                <a:gd name="T22" fmla="*/ 620 w 624"/>
                <a:gd name="T23" fmla="*/ 5 h 580"/>
                <a:gd name="T24" fmla="*/ 617 w 624"/>
                <a:gd name="T25" fmla="*/ 2 h 580"/>
                <a:gd name="T26" fmla="*/ 613 w 624"/>
                <a:gd name="T27" fmla="*/ 0 h 580"/>
                <a:gd name="T28" fmla="*/ 609 w 624"/>
                <a:gd name="T29" fmla="*/ 0 h 580"/>
                <a:gd name="T30" fmla="*/ 605 w 624"/>
                <a:gd name="T31" fmla="*/ 0 h 580"/>
                <a:gd name="T32" fmla="*/ 600 w 624"/>
                <a:gd name="T33" fmla="*/ 0 h 580"/>
                <a:gd name="T34" fmla="*/ 595 w 624"/>
                <a:gd name="T35" fmla="*/ 2 h 580"/>
                <a:gd name="T36" fmla="*/ 591 w 624"/>
                <a:gd name="T37" fmla="*/ 4 h 580"/>
                <a:gd name="T38" fmla="*/ 587 w 624"/>
                <a:gd name="T39" fmla="*/ 8 h 580"/>
                <a:gd name="T40" fmla="*/ 10 w 624"/>
                <a:gd name="T41" fmla="*/ 542 h 580"/>
                <a:gd name="T42" fmla="*/ 10 w 624"/>
                <a:gd name="T43" fmla="*/ 542 h 580"/>
                <a:gd name="T44" fmla="*/ 7 w 624"/>
                <a:gd name="T45" fmla="*/ 545 h 580"/>
                <a:gd name="T46" fmla="*/ 3 w 624"/>
                <a:gd name="T47" fmla="*/ 550 h 580"/>
                <a:gd name="T48" fmla="*/ 1 w 624"/>
                <a:gd name="T49" fmla="*/ 554 h 580"/>
                <a:gd name="T50" fmla="*/ 0 w 624"/>
                <a:gd name="T51" fmla="*/ 558 h 580"/>
                <a:gd name="T52" fmla="*/ 0 w 624"/>
                <a:gd name="T53" fmla="*/ 563 h 580"/>
                <a:gd name="T54" fmla="*/ 0 w 624"/>
                <a:gd name="T55" fmla="*/ 567 h 580"/>
                <a:gd name="T56" fmla="*/ 2 w 624"/>
                <a:gd name="T57" fmla="*/ 571 h 580"/>
                <a:gd name="T58" fmla="*/ 5 w 624"/>
                <a:gd name="T59" fmla="*/ 575 h 580"/>
                <a:gd name="T60" fmla="*/ 5 w 624"/>
                <a:gd name="T61" fmla="*/ 575 h 580"/>
                <a:gd name="T62" fmla="*/ 8 w 624"/>
                <a:gd name="T63" fmla="*/ 577 h 580"/>
                <a:gd name="T64" fmla="*/ 12 w 624"/>
                <a:gd name="T65" fmla="*/ 579 h 580"/>
                <a:gd name="T66" fmla="*/ 15 w 624"/>
                <a:gd name="T67" fmla="*/ 580 h 580"/>
                <a:gd name="T68" fmla="*/ 20 w 624"/>
                <a:gd name="T69" fmla="*/ 580 h 580"/>
                <a:gd name="T70" fmla="*/ 25 w 624"/>
                <a:gd name="T71" fmla="*/ 579 h 580"/>
                <a:gd name="T72" fmla="*/ 29 w 624"/>
                <a:gd name="T73" fmla="*/ 578 h 580"/>
                <a:gd name="T74" fmla="*/ 34 w 624"/>
                <a:gd name="T75" fmla="*/ 576 h 580"/>
                <a:gd name="T76" fmla="*/ 38 w 624"/>
                <a:gd name="T77" fmla="*/ 572 h 580"/>
                <a:gd name="T78" fmla="*/ 38 w 624"/>
                <a:gd name="T79" fmla="*/ 572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24" h="580">
                  <a:moveTo>
                    <a:pt x="38" y="572"/>
                  </a:moveTo>
                  <a:lnTo>
                    <a:pt x="615" y="38"/>
                  </a:lnTo>
                  <a:lnTo>
                    <a:pt x="615" y="38"/>
                  </a:lnTo>
                  <a:lnTo>
                    <a:pt x="618" y="33"/>
                  </a:lnTo>
                  <a:lnTo>
                    <a:pt x="621" y="29"/>
                  </a:lnTo>
                  <a:lnTo>
                    <a:pt x="623" y="25"/>
                  </a:lnTo>
                  <a:lnTo>
                    <a:pt x="624" y="21"/>
                  </a:lnTo>
                  <a:lnTo>
                    <a:pt x="624" y="16"/>
                  </a:lnTo>
                  <a:lnTo>
                    <a:pt x="624" y="12"/>
                  </a:lnTo>
                  <a:lnTo>
                    <a:pt x="622" y="9"/>
                  </a:lnTo>
                  <a:lnTo>
                    <a:pt x="620" y="5"/>
                  </a:lnTo>
                  <a:lnTo>
                    <a:pt x="620" y="5"/>
                  </a:lnTo>
                  <a:lnTo>
                    <a:pt x="617" y="2"/>
                  </a:lnTo>
                  <a:lnTo>
                    <a:pt x="613" y="0"/>
                  </a:lnTo>
                  <a:lnTo>
                    <a:pt x="609" y="0"/>
                  </a:lnTo>
                  <a:lnTo>
                    <a:pt x="605" y="0"/>
                  </a:lnTo>
                  <a:lnTo>
                    <a:pt x="600" y="0"/>
                  </a:lnTo>
                  <a:lnTo>
                    <a:pt x="595" y="2"/>
                  </a:lnTo>
                  <a:lnTo>
                    <a:pt x="591" y="4"/>
                  </a:lnTo>
                  <a:lnTo>
                    <a:pt x="587" y="8"/>
                  </a:lnTo>
                  <a:lnTo>
                    <a:pt x="10" y="542"/>
                  </a:lnTo>
                  <a:lnTo>
                    <a:pt x="10" y="542"/>
                  </a:lnTo>
                  <a:lnTo>
                    <a:pt x="7" y="545"/>
                  </a:lnTo>
                  <a:lnTo>
                    <a:pt x="3" y="550"/>
                  </a:lnTo>
                  <a:lnTo>
                    <a:pt x="1" y="554"/>
                  </a:lnTo>
                  <a:lnTo>
                    <a:pt x="0" y="558"/>
                  </a:lnTo>
                  <a:lnTo>
                    <a:pt x="0" y="563"/>
                  </a:lnTo>
                  <a:lnTo>
                    <a:pt x="0" y="567"/>
                  </a:lnTo>
                  <a:lnTo>
                    <a:pt x="2" y="571"/>
                  </a:lnTo>
                  <a:lnTo>
                    <a:pt x="5" y="575"/>
                  </a:lnTo>
                  <a:lnTo>
                    <a:pt x="5" y="575"/>
                  </a:lnTo>
                  <a:lnTo>
                    <a:pt x="8" y="577"/>
                  </a:lnTo>
                  <a:lnTo>
                    <a:pt x="12" y="579"/>
                  </a:lnTo>
                  <a:lnTo>
                    <a:pt x="15" y="580"/>
                  </a:lnTo>
                  <a:lnTo>
                    <a:pt x="20" y="580"/>
                  </a:lnTo>
                  <a:lnTo>
                    <a:pt x="25" y="579"/>
                  </a:lnTo>
                  <a:lnTo>
                    <a:pt x="29" y="578"/>
                  </a:lnTo>
                  <a:lnTo>
                    <a:pt x="34" y="576"/>
                  </a:lnTo>
                  <a:lnTo>
                    <a:pt x="38" y="572"/>
                  </a:lnTo>
                  <a:lnTo>
                    <a:pt x="38" y="572"/>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79" name="Freeform 478"/>
            <p:cNvSpPr>
              <a:spLocks/>
            </p:cNvSpPr>
            <p:nvPr/>
          </p:nvSpPr>
          <p:spPr bwMode="auto">
            <a:xfrm>
              <a:off x="6139744" y="4322004"/>
              <a:ext cx="268360" cy="244648"/>
            </a:xfrm>
            <a:custGeom>
              <a:avLst/>
              <a:gdLst>
                <a:gd name="T0" fmla="*/ 37 w 625"/>
                <a:gd name="T1" fmla="*/ 572 h 581"/>
                <a:gd name="T2" fmla="*/ 615 w 625"/>
                <a:gd name="T3" fmla="*/ 38 h 581"/>
                <a:gd name="T4" fmla="*/ 615 w 625"/>
                <a:gd name="T5" fmla="*/ 38 h 581"/>
                <a:gd name="T6" fmla="*/ 618 w 625"/>
                <a:gd name="T7" fmla="*/ 34 h 581"/>
                <a:gd name="T8" fmla="*/ 621 w 625"/>
                <a:gd name="T9" fmla="*/ 30 h 581"/>
                <a:gd name="T10" fmla="*/ 622 w 625"/>
                <a:gd name="T11" fmla="*/ 26 h 581"/>
                <a:gd name="T12" fmla="*/ 624 w 625"/>
                <a:gd name="T13" fmla="*/ 21 h 581"/>
                <a:gd name="T14" fmla="*/ 625 w 625"/>
                <a:gd name="T15" fmla="*/ 17 h 581"/>
                <a:gd name="T16" fmla="*/ 624 w 625"/>
                <a:gd name="T17" fmla="*/ 13 h 581"/>
                <a:gd name="T18" fmla="*/ 622 w 625"/>
                <a:gd name="T19" fmla="*/ 8 h 581"/>
                <a:gd name="T20" fmla="*/ 620 w 625"/>
                <a:gd name="T21" fmla="*/ 5 h 581"/>
                <a:gd name="T22" fmla="*/ 620 w 625"/>
                <a:gd name="T23" fmla="*/ 5 h 581"/>
                <a:gd name="T24" fmla="*/ 617 w 625"/>
                <a:gd name="T25" fmla="*/ 3 h 581"/>
                <a:gd name="T26" fmla="*/ 613 w 625"/>
                <a:gd name="T27" fmla="*/ 1 h 581"/>
                <a:gd name="T28" fmla="*/ 608 w 625"/>
                <a:gd name="T29" fmla="*/ 0 h 581"/>
                <a:gd name="T30" fmla="*/ 604 w 625"/>
                <a:gd name="T31" fmla="*/ 0 h 581"/>
                <a:gd name="T32" fmla="*/ 600 w 625"/>
                <a:gd name="T33" fmla="*/ 1 h 581"/>
                <a:gd name="T34" fmla="*/ 595 w 625"/>
                <a:gd name="T35" fmla="*/ 3 h 581"/>
                <a:gd name="T36" fmla="*/ 591 w 625"/>
                <a:gd name="T37" fmla="*/ 5 h 581"/>
                <a:gd name="T38" fmla="*/ 587 w 625"/>
                <a:gd name="T39" fmla="*/ 8 h 581"/>
                <a:gd name="T40" fmla="*/ 10 w 625"/>
                <a:gd name="T41" fmla="*/ 543 h 581"/>
                <a:gd name="T42" fmla="*/ 10 w 625"/>
                <a:gd name="T43" fmla="*/ 543 h 581"/>
                <a:gd name="T44" fmla="*/ 6 w 625"/>
                <a:gd name="T45" fmla="*/ 546 h 581"/>
                <a:gd name="T46" fmla="*/ 4 w 625"/>
                <a:gd name="T47" fmla="*/ 550 h 581"/>
                <a:gd name="T48" fmla="*/ 1 w 625"/>
                <a:gd name="T49" fmla="*/ 555 h 581"/>
                <a:gd name="T50" fmla="*/ 0 w 625"/>
                <a:gd name="T51" fmla="*/ 559 h 581"/>
                <a:gd name="T52" fmla="*/ 0 w 625"/>
                <a:gd name="T53" fmla="*/ 563 h 581"/>
                <a:gd name="T54" fmla="*/ 0 w 625"/>
                <a:gd name="T55" fmla="*/ 568 h 581"/>
                <a:gd name="T56" fmla="*/ 3 w 625"/>
                <a:gd name="T57" fmla="*/ 572 h 581"/>
                <a:gd name="T58" fmla="*/ 5 w 625"/>
                <a:gd name="T59" fmla="*/ 575 h 581"/>
                <a:gd name="T60" fmla="*/ 5 w 625"/>
                <a:gd name="T61" fmla="*/ 575 h 581"/>
                <a:gd name="T62" fmla="*/ 8 w 625"/>
                <a:gd name="T63" fmla="*/ 577 h 581"/>
                <a:gd name="T64" fmla="*/ 11 w 625"/>
                <a:gd name="T65" fmla="*/ 580 h 581"/>
                <a:gd name="T66" fmla="*/ 15 w 625"/>
                <a:gd name="T67" fmla="*/ 581 h 581"/>
                <a:gd name="T68" fmla="*/ 20 w 625"/>
                <a:gd name="T69" fmla="*/ 581 h 581"/>
                <a:gd name="T70" fmla="*/ 24 w 625"/>
                <a:gd name="T71" fmla="*/ 580 h 581"/>
                <a:gd name="T72" fmla="*/ 28 w 625"/>
                <a:gd name="T73" fmla="*/ 578 h 581"/>
                <a:gd name="T74" fmla="*/ 33 w 625"/>
                <a:gd name="T75" fmla="*/ 575 h 581"/>
                <a:gd name="T76" fmla="*/ 37 w 625"/>
                <a:gd name="T77" fmla="*/ 572 h 581"/>
                <a:gd name="T78" fmla="*/ 37 w 625"/>
                <a:gd name="T79" fmla="*/ 572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25" h="581">
                  <a:moveTo>
                    <a:pt x="37" y="572"/>
                  </a:moveTo>
                  <a:lnTo>
                    <a:pt x="615" y="38"/>
                  </a:lnTo>
                  <a:lnTo>
                    <a:pt x="615" y="38"/>
                  </a:lnTo>
                  <a:lnTo>
                    <a:pt x="618" y="34"/>
                  </a:lnTo>
                  <a:lnTo>
                    <a:pt x="621" y="30"/>
                  </a:lnTo>
                  <a:lnTo>
                    <a:pt x="622" y="26"/>
                  </a:lnTo>
                  <a:lnTo>
                    <a:pt x="624" y="21"/>
                  </a:lnTo>
                  <a:lnTo>
                    <a:pt x="625" y="17"/>
                  </a:lnTo>
                  <a:lnTo>
                    <a:pt x="624" y="13"/>
                  </a:lnTo>
                  <a:lnTo>
                    <a:pt x="622" y="8"/>
                  </a:lnTo>
                  <a:lnTo>
                    <a:pt x="620" y="5"/>
                  </a:lnTo>
                  <a:lnTo>
                    <a:pt x="620" y="5"/>
                  </a:lnTo>
                  <a:lnTo>
                    <a:pt x="617" y="3"/>
                  </a:lnTo>
                  <a:lnTo>
                    <a:pt x="613" y="1"/>
                  </a:lnTo>
                  <a:lnTo>
                    <a:pt x="608" y="0"/>
                  </a:lnTo>
                  <a:lnTo>
                    <a:pt x="604" y="0"/>
                  </a:lnTo>
                  <a:lnTo>
                    <a:pt x="600" y="1"/>
                  </a:lnTo>
                  <a:lnTo>
                    <a:pt x="595" y="3"/>
                  </a:lnTo>
                  <a:lnTo>
                    <a:pt x="591" y="5"/>
                  </a:lnTo>
                  <a:lnTo>
                    <a:pt x="587" y="8"/>
                  </a:lnTo>
                  <a:lnTo>
                    <a:pt x="10" y="543"/>
                  </a:lnTo>
                  <a:lnTo>
                    <a:pt x="10" y="543"/>
                  </a:lnTo>
                  <a:lnTo>
                    <a:pt x="6" y="546"/>
                  </a:lnTo>
                  <a:lnTo>
                    <a:pt x="4" y="550"/>
                  </a:lnTo>
                  <a:lnTo>
                    <a:pt x="1" y="555"/>
                  </a:lnTo>
                  <a:lnTo>
                    <a:pt x="0" y="559"/>
                  </a:lnTo>
                  <a:lnTo>
                    <a:pt x="0" y="563"/>
                  </a:lnTo>
                  <a:lnTo>
                    <a:pt x="0" y="568"/>
                  </a:lnTo>
                  <a:lnTo>
                    <a:pt x="3" y="572"/>
                  </a:lnTo>
                  <a:lnTo>
                    <a:pt x="5" y="575"/>
                  </a:lnTo>
                  <a:lnTo>
                    <a:pt x="5" y="575"/>
                  </a:lnTo>
                  <a:lnTo>
                    <a:pt x="8" y="577"/>
                  </a:lnTo>
                  <a:lnTo>
                    <a:pt x="11" y="580"/>
                  </a:lnTo>
                  <a:lnTo>
                    <a:pt x="15" y="581"/>
                  </a:lnTo>
                  <a:lnTo>
                    <a:pt x="20" y="581"/>
                  </a:lnTo>
                  <a:lnTo>
                    <a:pt x="24" y="580"/>
                  </a:lnTo>
                  <a:lnTo>
                    <a:pt x="28" y="578"/>
                  </a:lnTo>
                  <a:lnTo>
                    <a:pt x="33" y="575"/>
                  </a:lnTo>
                  <a:lnTo>
                    <a:pt x="37" y="572"/>
                  </a:lnTo>
                  <a:lnTo>
                    <a:pt x="37" y="572"/>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80" name="Freeform 479"/>
            <p:cNvSpPr>
              <a:spLocks/>
            </p:cNvSpPr>
            <p:nvPr/>
          </p:nvSpPr>
          <p:spPr bwMode="auto">
            <a:xfrm>
              <a:off x="6105339" y="4284886"/>
              <a:ext cx="268360" cy="246334"/>
            </a:xfrm>
            <a:custGeom>
              <a:avLst/>
              <a:gdLst>
                <a:gd name="T0" fmla="*/ 38 w 625"/>
                <a:gd name="T1" fmla="*/ 573 h 581"/>
                <a:gd name="T2" fmla="*/ 615 w 625"/>
                <a:gd name="T3" fmla="*/ 38 h 581"/>
                <a:gd name="T4" fmla="*/ 615 w 625"/>
                <a:gd name="T5" fmla="*/ 38 h 581"/>
                <a:gd name="T6" fmla="*/ 619 w 625"/>
                <a:gd name="T7" fmla="*/ 35 h 581"/>
                <a:gd name="T8" fmla="*/ 621 w 625"/>
                <a:gd name="T9" fmla="*/ 31 h 581"/>
                <a:gd name="T10" fmla="*/ 624 w 625"/>
                <a:gd name="T11" fmla="*/ 26 h 581"/>
                <a:gd name="T12" fmla="*/ 625 w 625"/>
                <a:gd name="T13" fmla="*/ 22 h 581"/>
                <a:gd name="T14" fmla="*/ 625 w 625"/>
                <a:gd name="T15" fmla="*/ 18 h 581"/>
                <a:gd name="T16" fmla="*/ 625 w 625"/>
                <a:gd name="T17" fmla="*/ 13 h 581"/>
                <a:gd name="T18" fmla="*/ 623 w 625"/>
                <a:gd name="T19" fmla="*/ 9 h 581"/>
                <a:gd name="T20" fmla="*/ 620 w 625"/>
                <a:gd name="T21" fmla="*/ 6 h 581"/>
                <a:gd name="T22" fmla="*/ 620 w 625"/>
                <a:gd name="T23" fmla="*/ 6 h 581"/>
                <a:gd name="T24" fmla="*/ 617 w 625"/>
                <a:gd name="T25" fmla="*/ 4 h 581"/>
                <a:gd name="T26" fmla="*/ 614 w 625"/>
                <a:gd name="T27" fmla="*/ 1 h 581"/>
                <a:gd name="T28" fmla="*/ 610 w 625"/>
                <a:gd name="T29" fmla="*/ 0 h 581"/>
                <a:gd name="T30" fmla="*/ 605 w 625"/>
                <a:gd name="T31" fmla="*/ 0 h 581"/>
                <a:gd name="T32" fmla="*/ 601 w 625"/>
                <a:gd name="T33" fmla="*/ 1 h 581"/>
                <a:gd name="T34" fmla="*/ 597 w 625"/>
                <a:gd name="T35" fmla="*/ 2 h 581"/>
                <a:gd name="T36" fmla="*/ 591 w 625"/>
                <a:gd name="T37" fmla="*/ 6 h 581"/>
                <a:gd name="T38" fmla="*/ 588 w 625"/>
                <a:gd name="T39" fmla="*/ 9 h 581"/>
                <a:gd name="T40" fmla="*/ 10 w 625"/>
                <a:gd name="T41" fmla="*/ 542 h 581"/>
                <a:gd name="T42" fmla="*/ 10 w 625"/>
                <a:gd name="T43" fmla="*/ 542 h 581"/>
                <a:gd name="T44" fmla="*/ 7 w 625"/>
                <a:gd name="T45" fmla="*/ 547 h 581"/>
                <a:gd name="T46" fmla="*/ 4 w 625"/>
                <a:gd name="T47" fmla="*/ 551 h 581"/>
                <a:gd name="T48" fmla="*/ 3 w 625"/>
                <a:gd name="T49" fmla="*/ 555 h 581"/>
                <a:gd name="T50" fmla="*/ 0 w 625"/>
                <a:gd name="T51" fmla="*/ 560 h 581"/>
                <a:gd name="T52" fmla="*/ 0 w 625"/>
                <a:gd name="T53" fmla="*/ 564 h 581"/>
                <a:gd name="T54" fmla="*/ 2 w 625"/>
                <a:gd name="T55" fmla="*/ 568 h 581"/>
                <a:gd name="T56" fmla="*/ 3 w 625"/>
                <a:gd name="T57" fmla="*/ 572 h 581"/>
                <a:gd name="T58" fmla="*/ 5 w 625"/>
                <a:gd name="T59" fmla="*/ 576 h 581"/>
                <a:gd name="T60" fmla="*/ 5 w 625"/>
                <a:gd name="T61" fmla="*/ 576 h 581"/>
                <a:gd name="T62" fmla="*/ 8 w 625"/>
                <a:gd name="T63" fmla="*/ 578 h 581"/>
                <a:gd name="T64" fmla="*/ 12 w 625"/>
                <a:gd name="T65" fmla="*/ 580 h 581"/>
                <a:gd name="T66" fmla="*/ 17 w 625"/>
                <a:gd name="T67" fmla="*/ 581 h 581"/>
                <a:gd name="T68" fmla="*/ 21 w 625"/>
                <a:gd name="T69" fmla="*/ 581 h 581"/>
                <a:gd name="T70" fmla="*/ 25 w 625"/>
                <a:gd name="T71" fmla="*/ 580 h 581"/>
                <a:gd name="T72" fmla="*/ 30 w 625"/>
                <a:gd name="T73" fmla="*/ 578 h 581"/>
                <a:gd name="T74" fmla="*/ 34 w 625"/>
                <a:gd name="T75" fmla="*/ 576 h 581"/>
                <a:gd name="T76" fmla="*/ 38 w 625"/>
                <a:gd name="T77" fmla="*/ 573 h 581"/>
                <a:gd name="T78" fmla="*/ 38 w 625"/>
                <a:gd name="T79" fmla="*/ 573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25" h="581">
                  <a:moveTo>
                    <a:pt x="38" y="573"/>
                  </a:moveTo>
                  <a:lnTo>
                    <a:pt x="615" y="38"/>
                  </a:lnTo>
                  <a:lnTo>
                    <a:pt x="615" y="38"/>
                  </a:lnTo>
                  <a:lnTo>
                    <a:pt x="619" y="35"/>
                  </a:lnTo>
                  <a:lnTo>
                    <a:pt x="621" y="31"/>
                  </a:lnTo>
                  <a:lnTo>
                    <a:pt x="624" y="26"/>
                  </a:lnTo>
                  <a:lnTo>
                    <a:pt x="625" y="22"/>
                  </a:lnTo>
                  <a:lnTo>
                    <a:pt x="625" y="18"/>
                  </a:lnTo>
                  <a:lnTo>
                    <a:pt x="625" y="13"/>
                  </a:lnTo>
                  <a:lnTo>
                    <a:pt x="623" y="9"/>
                  </a:lnTo>
                  <a:lnTo>
                    <a:pt x="620" y="6"/>
                  </a:lnTo>
                  <a:lnTo>
                    <a:pt x="620" y="6"/>
                  </a:lnTo>
                  <a:lnTo>
                    <a:pt x="617" y="4"/>
                  </a:lnTo>
                  <a:lnTo>
                    <a:pt x="614" y="1"/>
                  </a:lnTo>
                  <a:lnTo>
                    <a:pt x="610" y="0"/>
                  </a:lnTo>
                  <a:lnTo>
                    <a:pt x="605" y="0"/>
                  </a:lnTo>
                  <a:lnTo>
                    <a:pt x="601" y="1"/>
                  </a:lnTo>
                  <a:lnTo>
                    <a:pt x="597" y="2"/>
                  </a:lnTo>
                  <a:lnTo>
                    <a:pt x="591" y="6"/>
                  </a:lnTo>
                  <a:lnTo>
                    <a:pt x="588" y="9"/>
                  </a:lnTo>
                  <a:lnTo>
                    <a:pt x="10" y="542"/>
                  </a:lnTo>
                  <a:lnTo>
                    <a:pt x="10" y="542"/>
                  </a:lnTo>
                  <a:lnTo>
                    <a:pt x="7" y="547"/>
                  </a:lnTo>
                  <a:lnTo>
                    <a:pt x="4" y="551"/>
                  </a:lnTo>
                  <a:lnTo>
                    <a:pt x="3" y="555"/>
                  </a:lnTo>
                  <a:lnTo>
                    <a:pt x="0" y="560"/>
                  </a:lnTo>
                  <a:lnTo>
                    <a:pt x="0" y="564"/>
                  </a:lnTo>
                  <a:lnTo>
                    <a:pt x="2" y="568"/>
                  </a:lnTo>
                  <a:lnTo>
                    <a:pt x="3" y="572"/>
                  </a:lnTo>
                  <a:lnTo>
                    <a:pt x="5" y="576"/>
                  </a:lnTo>
                  <a:lnTo>
                    <a:pt x="5" y="576"/>
                  </a:lnTo>
                  <a:lnTo>
                    <a:pt x="8" y="578"/>
                  </a:lnTo>
                  <a:lnTo>
                    <a:pt x="12" y="580"/>
                  </a:lnTo>
                  <a:lnTo>
                    <a:pt x="17" y="581"/>
                  </a:lnTo>
                  <a:lnTo>
                    <a:pt x="21" y="581"/>
                  </a:lnTo>
                  <a:lnTo>
                    <a:pt x="25" y="580"/>
                  </a:lnTo>
                  <a:lnTo>
                    <a:pt x="30" y="578"/>
                  </a:lnTo>
                  <a:lnTo>
                    <a:pt x="34" y="576"/>
                  </a:lnTo>
                  <a:lnTo>
                    <a:pt x="38" y="573"/>
                  </a:lnTo>
                  <a:lnTo>
                    <a:pt x="38" y="573"/>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81" name="Freeform 480"/>
            <p:cNvSpPr>
              <a:spLocks/>
            </p:cNvSpPr>
            <p:nvPr/>
          </p:nvSpPr>
          <p:spPr bwMode="auto">
            <a:xfrm>
              <a:off x="6036530" y="4214024"/>
              <a:ext cx="270080" cy="244648"/>
            </a:xfrm>
            <a:custGeom>
              <a:avLst/>
              <a:gdLst>
                <a:gd name="T0" fmla="*/ 36 w 624"/>
                <a:gd name="T1" fmla="*/ 572 h 580"/>
                <a:gd name="T2" fmla="*/ 614 w 624"/>
                <a:gd name="T3" fmla="*/ 37 h 580"/>
                <a:gd name="T4" fmla="*/ 614 w 624"/>
                <a:gd name="T5" fmla="*/ 37 h 580"/>
                <a:gd name="T6" fmla="*/ 618 w 624"/>
                <a:gd name="T7" fmla="*/ 33 h 580"/>
                <a:gd name="T8" fmla="*/ 621 w 624"/>
                <a:gd name="T9" fmla="*/ 29 h 580"/>
                <a:gd name="T10" fmla="*/ 622 w 624"/>
                <a:gd name="T11" fmla="*/ 24 h 580"/>
                <a:gd name="T12" fmla="*/ 623 w 624"/>
                <a:gd name="T13" fmla="*/ 20 h 580"/>
                <a:gd name="T14" fmla="*/ 624 w 624"/>
                <a:gd name="T15" fmla="*/ 16 h 580"/>
                <a:gd name="T16" fmla="*/ 623 w 624"/>
                <a:gd name="T17" fmla="*/ 12 h 580"/>
                <a:gd name="T18" fmla="*/ 622 w 624"/>
                <a:gd name="T19" fmla="*/ 8 h 580"/>
                <a:gd name="T20" fmla="*/ 619 w 624"/>
                <a:gd name="T21" fmla="*/ 5 h 580"/>
                <a:gd name="T22" fmla="*/ 619 w 624"/>
                <a:gd name="T23" fmla="*/ 5 h 580"/>
                <a:gd name="T24" fmla="*/ 616 w 624"/>
                <a:gd name="T25" fmla="*/ 2 h 580"/>
                <a:gd name="T26" fmla="*/ 612 w 624"/>
                <a:gd name="T27" fmla="*/ 0 h 580"/>
                <a:gd name="T28" fmla="*/ 608 w 624"/>
                <a:gd name="T29" fmla="*/ 0 h 580"/>
                <a:gd name="T30" fmla="*/ 603 w 624"/>
                <a:gd name="T31" fmla="*/ 0 h 580"/>
                <a:gd name="T32" fmla="*/ 599 w 624"/>
                <a:gd name="T33" fmla="*/ 0 h 580"/>
                <a:gd name="T34" fmla="*/ 595 w 624"/>
                <a:gd name="T35" fmla="*/ 2 h 580"/>
                <a:gd name="T36" fmla="*/ 591 w 624"/>
                <a:gd name="T37" fmla="*/ 4 h 580"/>
                <a:gd name="T38" fmla="*/ 586 w 624"/>
                <a:gd name="T39" fmla="*/ 7 h 580"/>
                <a:gd name="T40" fmla="*/ 8 w 624"/>
                <a:gd name="T41" fmla="*/ 542 h 580"/>
                <a:gd name="T42" fmla="*/ 8 w 624"/>
                <a:gd name="T43" fmla="*/ 542 h 580"/>
                <a:gd name="T44" fmla="*/ 5 w 624"/>
                <a:gd name="T45" fmla="*/ 545 h 580"/>
                <a:gd name="T46" fmla="*/ 3 w 624"/>
                <a:gd name="T47" fmla="*/ 549 h 580"/>
                <a:gd name="T48" fmla="*/ 1 w 624"/>
                <a:gd name="T49" fmla="*/ 554 h 580"/>
                <a:gd name="T50" fmla="*/ 0 w 624"/>
                <a:gd name="T51" fmla="*/ 558 h 580"/>
                <a:gd name="T52" fmla="*/ 0 w 624"/>
                <a:gd name="T53" fmla="*/ 562 h 580"/>
                <a:gd name="T54" fmla="*/ 0 w 624"/>
                <a:gd name="T55" fmla="*/ 567 h 580"/>
                <a:gd name="T56" fmla="*/ 1 w 624"/>
                <a:gd name="T57" fmla="*/ 571 h 580"/>
                <a:gd name="T58" fmla="*/ 4 w 624"/>
                <a:gd name="T59" fmla="*/ 574 h 580"/>
                <a:gd name="T60" fmla="*/ 4 w 624"/>
                <a:gd name="T61" fmla="*/ 574 h 580"/>
                <a:gd name="T62" fmla="*/ 7 w 624"/>
                <a:gd name="T63" fmla="*/ 577 h 580"/>
                <a:gd name="T64" fmla="*/ 11 w 624"/>
                <a:gd name="T65" fmla="*/ 579 h 580"/>
                <a:gd name="T66" fmla="*/ 15 w 624"/>
                <a:gd name="T67" fmla="*/ 580 h 580"/>
                <a:gd name="T68" fmla="*/ 19 w 624"/>
                <a:gd name="T69" fmla="*/ 580 h 580"/>
                <a:gd name="T70" fmla="*/ 24 w 624"/>
                <a:gd name="T71" fmla="*/ 579 h 580"/>
                <a:gd name="T72" fmla="*/ 28 w 624"/>
                <a:gd name="T73" fmla="*/ 577 h 580"/>
                <a:gd name="T74" fmla="*/ 32 w 624"/>
                <a:gd name="T75" fmla="*/ 575 h 580"/>
                <a:gd name="T76" fmla="*/ 36 w 624"/>
                <a:gd name="T77" fmla="*/ 572 h 580"/>
                <a:gd name="T78" fmla="*/ 36 w 624"/>
                <a:gd name="T79" fmla="*/ 572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24" h="580">
                  <a:moveTo>
                    <a:pt x="36" y="572"/>
                  </a:moveTo>
                  <a:lnTo>
                    <a:pt x="614" y="37"/>
                  </a:lnTo>
                  <a:lnTo>
                    <a:pt x="614" y="37"/>
                  </a:lnTo>
                  <a:lnTo>
                    <a:pt x="618" y="33"/>
                  </a:lnTo>
                  <a:lnTo>
                    <a:pt x="621" y="29"/>
                  </a:lnTo>
                  <a:lnTo>
                    <a:pt x="622" y="24"/>
                  </a:lnTo>
                  <a:lnTo>
                    <a:pt x="623" y="20"/>
                  </a:lnTo>
                  <a:lnTo>
                    <a:pt x="624" y="16"/>
                  </a:lnTo>
                  <a:lnTo>
                    <a:pt x="623" y="12"/>
                  </a:lnTo>
                  <a:lnTo>
                    <a:pt x="622" y="8"/>
                  </a:lnTo>
                  <a:lnTo>
                    <a:pt x="619" y="5"/>
                  </a:lnTo>
                  <a:lnTo>
                    <a:pt x="619" y="5"/>
                  </a:lnTo>
                  <a:lnTo>
                    <a:pt x="616" y="2"/>
                  </a:lnTo>
                  <a:lnTo>
                    <a:pt x="612" y="0"/>
                  </a:lnTo>
                  <a:lnTo>
                    <a:pt x="608" y="0"/>
                  </a:lnTo>
                  <a:lnTo>
                    <a:pt x="603" y="0"/>
                  </a:lnTo>
                  <a:lnTo>
                    <a:pt x="599" y="0"/>
                  </a:lnTo>
                  <a:lnTo>
                    <a:pt x="595" y="2"/>
                  </a:lnTo>
                  <a:lnTo>
                    <a:pt x="591" y="4"/>
                  </a:lnTo>
                  <a:lnTo>
                    <a:pt x="586" y="7"/>
                  </a:lnTo>
                  <a:lnTo>
                    <a:pt x="8" y="542"/>
                  </a:lnTo>
                  <a:lnTo>
                    <a:pt x="8" y="542"/>
                  </a:lnTo>
                  <a:lnTo>
                    <a:pt x="5" y="545"/>
                  </a:lnTo>
                  <a:lnTo>
                    <a:pt x="3" y="549"/>
                  </a:lnTo>
                  <a:lnTo>
                    <a:pt x="1" y="554"/>
                  </a:lnTo>
                  <a:lnTo>
                    <a:pt x="0" y="558"/>
                  </a:lnTo>
                  <a:lnTo>
                    <a:pt x="0" y="562"/>
                  </a:lnTo>
                  <a:lnTo>
                    <a:pt x="0" y="567"/>
                  </a:lnTo>
                  <a:lnTo>
                    <a:pt x="1" y="571"/>
                  </a:lnTo>
                  <a:lnTo>
                    <a:pt x="4" y="574"/>
                  </a:lnTo>
                  <a:lnTo>
                    <a:pt x="4" y="574"/>
                  </a:lnTo>
                  <a:lnTo>
                    <a:pt x="7" y="577"/>
                  </a:lnTo>
                  <a:lnTo>
                    <a:pt x="11" y="579"/>
                  </a:lnTo>
                  <a:lnTo>
                    <a:pt x="15" y="580"/>
                  </a:lnTo>
                  <a:lnTo>
                    <a:pt x="19" y="580"/>
                  </a:lnTo>
                  <a:lnTo>
                    <a:pt x="24" y="579"/>
                  </a:lnTo>
                  <a:lnTo>
                    <a:pt x="28" y="577"/>
                  </a:lnTo>
                  <a:lnTo>
                    <a:pt x="32" y="575"/>
                  </a:lnTo>
                  <a:lnTo>
                    <a:pt x="36" y="572"/>
                  </a:lnTo>
                  <a:lnTo>
                    <a:pt x="36" y="572"/>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82" name="Freeform 481"/>
            <p:cNvSpPr>
              <a:spLocks/>
            </p:cNvSpPr>
            <p:nvPr/>
          </p:nvSpPr>
          <p:spPr bwMode="auto">
            <a:xfrm>
              <a:off x="6002123" y="4176903"/>
              <a:ext cx="270080" cy="244648"/>
            </a:xfrm>
            <a:custGeom>
              <a:avLst/>
              <a:gdLst>
                <a:gd name="T0" fmla="*/ 38 w 624"/>
                <a:gd name="T1" fmla="*/ 573 h 581"/>
                <a:gd name="T2" fmla="*/ 614 w 624"/>
                <a:gd name="T3" fmla="*/ 39 h 581"/>
                <a:gd name="T4" fmla="*/ 614 w 624"/>
                <a:gd name="T5" fmla="*/ 39 h 581"/>
                <a:gd name="T6" fmla="*/ 619 w 624"/>
                <a:gd name="T7" fmla="*/ 35 h 581"/>
                <a:gd name="T8" fmla="*/ 621 w 624"/>
                <a:gd name="T9" fmla="*/ 30 h 581"/>
                <a:gd name="T10" fmla="*/ 623 w 624"/>
                <a:gd name="T11" fmla="*/ 26 h 581"/>
                <a:gd name="T12" fmla="*/ 624 w 624"/>
                <a:gd name="T13" fmla="*/ 22 h 581"/>
                <a:gd name="T14" fmla="*/ 624 w 624"/>
                <a:gd name="T15" fmla="*/ 18 h 581"/>
                <a:gd name="T16" fmla="*/ 624 w 624"/>
                <a:gd name="T17" fmla="*/ 13 h 581"/>
                <a:gd name="T18" fmla="*/ 622 w 624"/>
                <a:gd name="T19" fmla="*/ 10 h 581"/>
                <a:gd name="T20" fmla="*/ 620 w 624"/>
                <a:gd name="T21" fmla="*/ 6 h 581"/>
                <a:gd name="T22" fmla="*/ 620 w 624"/>
                <a:gd name="T23" fmla="*/ 6 h 581"/>
                <a:gd name="T24" fmla="*/ 617 w 624"/>
                <a:gd name="T25" fmla="*/ 3 h 581"/>
                <a:gd name="T26" fmla="*/ 613 w 624"/>
                <a:gd name="T27" fmla="*/ 1 h 581"/>
                <a:gd name="T28" fmla="*/ 609 w 624"/>
                <a:gd name="T29" fmla="*/ 0 h 581"/>
                <a:gd name="T30" fmla="*/ 605 w 624"/>
                <a:gd name="T31" fmla="*/ 0 h 581"/>
                <a:gd name="T32" fmla="*/ 600 w 624"/>
                <a:gd name="T33" fmla="*/ 1 h 581"/>
                <a:gd name="T34" fmla="*/ 595 w 624"/>
                <a:gd name="T35" fmla="*/ 3 h 581"/>
                <a:gd name="T36" fmla="*/ 591 w 624"/>
                <a:gd name="T37" fmla="*/ 6 h 581"/>
                <a:gd name="T38" fmla="*/ 587 w 624"/>
                <a:gd name="T39" fmla="*/ 9 h 581"/>
                <a:gd name="T40" fmla="*/ 10 w 624"/>
                <a:gd name="T41" fmla="*/ 543 h 581"/>
                <a:gd name="T42" fmla="*/ 10 w 624"/>
                <a:gd name="T43" fmla="*/ 543 h 581"/>
                <a:gd name="T44" fmla="*/ 6 w 624"/>
                <a:gd name="T45" fmla="*/ 547 h 581"/>
                <a:gd name="T46" fmla="*/ 3 w 624"/>
                <a:gd name="T47" fmla="*/ 551 h 581"/>
                <a:gd name="T48" fmla="*/ 1 w 624"/>
                <a:gd name="T49" fmla="*/ 555 h 581"/>
                <a:gd name="T50" fmla="*/ 0 w 624"/>
                <a:gd name="T51" fmla="*/ 560 h 581"/>
                <a:gd name="T52" fmla="*/ 0 w 624"/>
                <a:gd name="T53" fmla="*/ 564 h 581"/>
                <a:gd name="T54" fmla="*/ 1 w 624"/>
                <a:gd name="T55" fmla="*/ 568 h 581"/>
                <a:gd name="T56" fmla="*/ 2 w 624"/>
                <a:gd name="T57" fmla="*/ 573 h 581"/>
                <a:gd name="T58" fmla="*/ 4 w 624"/>
                <a:gd name="T59" fmla="*/ 576 h 581"/>
                <a:gd name="T60" fmla="*/ 4 w 624"/>
                <a:gd name="T61" fmla="*/ 576 h 581"/>
                <a:gd name="T62" fmla="*/ 7 w 624"/>
                <a:gd name="T63" fmla="*/ 578 h 581"/>
                <a:gd name="T64" fmla="*/ 12 w 624"/>
                <a:gd name="T65" fmla="*/ 580 h 581"/>
                <a:gd name="T66" fmla="*/ 16 w 624"/>
                <a:gd name="T67" fmla="*/ 581 h 581"/>
                <a:gd name="T68" fmla="*/ 20 w 624"/>
                <a:gd name="T69" fmla="*/ 581 h 581"/>
                <a:gd name="T70" fmla="*/ 25 w 624"/>
                <a:gd name="T71" fmla="*/ 580 h 581"/>
                <a:gd name="T72" fmla="*/ 29 w 624"/>
                <a:gd name="T73" fmla="*/ 579 h 581"/>
                <a:gd name="T74" fmla="*/ 33 w 624"/>
                <a:gd name="T75" fmla="*/ 576 h 581"/>
                <a:gd name="T76" fmla="*/ 38 w 624"/>
                <a:gd name="T77" fmla="*/ 573 h 581"/>
                <a:gd name="T78" fmla="*/ 38 w 624"/>
                <a:gd name="T79" fmla="*/ 573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24" h="581">
                  <a:moveTo>
                    <a:pt x="38" y="573"/>
                  </a:moveTo>
                  <a:lnTo>
                    <a:pt x="614" y="39"/>
                  </a:lnTo>
                  <a:lnTo>
                    <a:pt x="614" y="39"/>
                  </a:lnTo>
                  <a:lnTo>
                    <a:pt x="619" y="35"/>
                  </a:lnTo>
                  <a:lnTo>
                    <a:pt x="621" y="30"/>
                  </a:lnTo>
                  <a:lnTo>
                    <a:pt x="623" y="26"/>
                  </a:lnTo>
                  <a:lnTo>
                    <a:pt x="624" y="22"/>
                  </a:lnTo>
                  <a:lnTo>
                    <a:pt x="624" y="18"/>
                  </a:lnTo>
                  <a:lnTo>
                    <a:pt x="624" y="13"/>
                  </a:lnTo>
                  <a:lnTo>
                    <a:pt x="622" y="10"/>
                  </a:lnTo>
                  <a:lnTo>
                    <a:pt x="620" y="6"/>
                  </a:lnTo>
                  <a:lnTo>
                    <a:pt x="620" y="6"/>
                  </a:lnTo>
                  <a:lnTo>
                    <a:pt x="617" y="3"/>
                  </a:lnTo>
                  <a:lnTo>
                    <a:pt x="613" y="1"/>
                  </a:lnTo>
                  <a:lnTo>
                    <a:pt x="609" y="0"/>
                  </a:lnTo>
                  <a:lnTo>
                    <a:pt x="605" y="0"/>
                  </a:lnTo>
                  <a:lnTo>
                    <a:pt x="600" y="1"/>
                  </a:lnTo>
                  <a:lnTo>
                    <a:pt x="595" y="3"/>
                  </a:lnTo>
                  <a:lnTo>
                    <a:pt x="591" y="6"/>
                  </a:lnTo>
                  <a:lnTo>
                    <a:pt x="587" y="9"/>
                  </a:lnTo>
                  <a:lnTo>
                    <a:pt x="10" y="543"/>
                  </a:lnTo>
                  <a:lnTo>
                    <a:pt x="10" y="543"/>
                  </a:lnTo>
                  <a:lnTo>
                    <a:pt x="6" y="547"/>
                  </a:lnTo>
                  <a:lnTo>
                    <a:pt x="3" y="551"/>
                  </a:lnTo>
                  <a:lnTo>
                    <a:pt x="1" y="555"/>
                  </a:lnTo>
                  <a:lnTo>
                    <a:pt x="0" y="560"/>
                  </a:lnTo>
                  <a:lnTo>
                    <a:pt x="0" y="564"/>
                  </a:lnTo>
                  <a:lnTo>
                    <a:pt x="1" y="568"/>
                  </a:lnTo>
                  <a:lnTo>
                    <a:pt x="2" y="573"/>
                  </a:lnTo>
                  <a:lnTo>
                    <a:pt x="4" y="576"/>
                  </a:lnTo>
                  <a:lnTo>
                    <a:pt x="4" y="576"/>
                  </a:lnTo>
                  <a:lnTo>
                    <a:pt x="7" y="578"/>
                  </a:lnTo>
                  <a:lnTo>
                    <a:pt x="12" y="580"/>
                  </a:lnTo>
                  <a:lnTo>
                    <a:pt x="16" y="581"/>
                  </a:lnTo>
                  <a:lnTo>
                    <a:pt x="20" y="581"/>
                  </a:lnTo>
                  <a:lnTo>
                    <a:pt x="25" y="580"/>
                  </a:lnTo>
                  <a:lnTo>
                    <a:pt x="29" y="579"/>
                  </a:lnTo>
                  <a:lnTo>
                    <a:pt x="33" y="576"/>
                  </a:lnTo>
                  <a:lnTo>
                    <a:pt x="38" y="573"/>
                  </a:lnTo>
                  <a:lnTo>
                    <a:pt x="38" y="573"/>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83" name="Freeform 482"/>
            <p:cNvSpPr>
              <a:spLocks/>
            </p:cNvSpPr>
            <p:nvPr/>
          </p:nvSpPr>
          <p:spPr bwMode="auto">
            <a:xfrm>
              <a:off x="5969438" y="4141473"/>
              <a:ext cx="268360" cy="244648"/>
            </a:xfrm>
            <a:custGeom>
              <a:avLst/>
              <a:gdLst>
                <a:gd name="T0" fmla="*/ 38 w 624"/>
                <a:gd name="T1" fmla="*/ 572 h 581"/>
                <a:gd name="T2" fmla="*/ 615 w 624"/>
                <a:gd name="T3" fmla="*/ 38 h 581"/>
                <a:gd name="T4" fmla="*/ 615 w 624"/>
                <a:gd name="T5" fmla="*/ 38 h 581"/>
                <a:gd name="T6" fmla="*/ 618 w 624"/>
                <a:gd name="T7" fmla="*/ 34 h 581"/>
                <a:gd name="T8" fmla="*/ 621 w 624"/>
                <a:gd name="T9" fmla="*/ 30 h 581"/>
                <a:gd name="T10" fmla="*/ 623 w 624"/>
                <a:gd name="T11" fmla="*/ 26 h 581"/>
                <a:gd name="T12" fmla="*/ 624 w 624"/>
                <a:gd name="T13" fmla="*/ 22 h 581"/>
                <a:gd name="T14" fmla="*/ 624 w 624"/>
                <a:gd name="T15" fmla="*/ 17 h 581"/>
                <a:gd name="T16" fmla="*/ 623 w 624"/>
                <a:gd name="T17" fmla="*/ 13 h 581"/>
                <a:gd name="T18" fmla="*/ 622 w 624"/>
                <a:gd name="T19" fmla="*/ 9 h 581"/>
                <a:gd name="T20" fmla="*/ 620 w 624"/>
                <a:gd name="T21" fmla="*/ 5 h 581"/>
                <a:gd name="T22" fmla="*/ 620 w 624"/>
                <a:gd name="T23" fmla="*/ 5 h 581"/>
                <a:gd name="T24" fmla="*/ 617 w 624"/>
                <a:gd name="T25" fmla="*/ 3 h 581"/>
                <a:gd name="T26" fmla="*/ 612 w 624"/>
                <a:gd name="T27" fmla="*/ 1 h 581"/>
                <a:gd name="T28" fmla="*/ 609 w 624"/>
                <a:gd name="T29" fmla="*/ 0 h 581"/>
                <a:gd name="T30" fmla="*/ 605 w 624"/>
                <a:gd name="T31" fmla="*/ 0 h 581"/>
                <a:gd name="T32" fmla="*/ 599 w 624"/>
                <a:gd name="T33" fmla="*/ 1 h 581"/>
                <a:gd name="T34" fmla="*/ 595 w 624"/>
                <a:gd name="T35" fmla="*/ 2 h 581"/>
                <a:gd name="T36" fmla="*/ 591 w 624"/>
                <a:gd name="T37" fmla="*/ 5 h 581"/>
                <a:gd name="T38" fmla="*/ 586 w 624"/>
                <a:gd name="T39" fmla="*/ 9 h 581"/>
                <a:gd name="T40" fmla="*/ 10 w 624"/>
                <a:gd name="T41" fmla="*/ 542 h 581"/>
                <a:gd name="T42" fmla="*/ 10 w 624"/>
                <a:gd name="T43" fmla="*/ 542 h 581"/>
                <a:gd name="T44" fmla="*/ 5 w 624"/>
                <a:gd name="T45" fmla="*/ 546 h 581"/>
                <a:gd name="T46" fmla="*/ 3 w 624"/>
                <a:gd name="T47" fmla="*/ 551 h 581"/>
                <a:gd name="T48" fmla="*/ 1 w 624"/>
                <a:gd name="T49" fmla="*/ 555 h 581"/>
                <a:gd name="T50" fmla="*/ 0 w 624"/>
                <a:gd name="T51" fmla="*/ 559 h 581"/>
                <a:gd name="T52" fmla="*/ 0 w 624"/>
                <a:gd name="T53" fmla="*/ 564 h 581"/>
                <a:gd name="T54" fmla="*/ 0 w 624"/>
                <a:gd name="T55" fmla="*/ 568 h 581"/>
                <a:gd name="T56" fmla="*/ 2 w 624"/>
                <a:gd name="T57" fmla="*/ 571 h 581"/>
                <a:gd name="T58" fmla="*/ 4 w 624"/>
                <a:gd name="T59" fmla="*/ 576 h 581"/>
                <a:gd name="T60" fmla="*/ 4 w 624"/>
                <a:gd name="T61" fmla="*/ 576 h 581"/>
                <a:gd name="T62" fmla="*/ 8 w 624"/>
                <a:gd name="T63" fmla="*/ 578 h 581"/>
                <a:gd name="T64" fmla="*/ 11 w 624"/>
                <a:gd name="T65" fmla="*/ 580 h 581"/>
                <a:gd name="T66" fmla="*/ 15 w 624"/>
                <a:gd name="T67" fmla="*/ 581 h 581"/>
                <a:gd name="T68" fmla="*/ 19 w 624"/>
                <a:gd name="T69" fmla="*/ 581 h 581"/>
                <a:gd name="T70" fmla="*/ 24 w 624"/>
                <a:gd name="T71" fmla="*/ 580 h 581"/>
                <a:gd name="T72" fmla="*/ 29 w 624"/>
                <a:gd name="T73" fmla="*/ 578 h 581"/>
                <a:gd name="T74" fmla="*/ 33 w 624"/>
                <a:gd name="T75" fmla="*/ 576 h 581"/>
                <a:gd name="T76" fmla="*/ 38 w 624"/>
                <a:gd name="T77" fmla="*/ 572 h 581"/>
                <a:gd name="T78" fmla="*/ 38 w 624"/>
                <a:gd name="T79" fmla="*/ 572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24" h="581">
                  <a:moveTo>
                    <a:pt x="38" y="572"/>
                  </a:moveTo>
                  <a:lnTo>
                    <a:pt x="615" y="38"/>
                  </a:lnTo>
                  <a:lnTo>
                    <a:pt x="615" y="38"/>
                  </a:lnTo>
                  <a:lnTo>
                    <a:pt x="618" y="34"/>
                  </a:lnTo>
                  <a:lnTo>
                    <a:pt x="621" y="30"/>
                  </a:lnTo>
                  <a:lnTo>
                    <a:pt x="623" y="26"/>
                  </a:lnTo>
                  <a:lnTo>
                    <a:pt x="624" y="22"/>
                  </a:lnTo>
                  <a:lnTo>
                    <a:pt x="624" y="17"/>
                  </a:lnTo>
                  <a:lnTo>
                    <a:pt x="623" y="13"/>
                  </a:lnTo>
                  <a:lnTo>
                    <a:pt x="622" y="9"/>
                  </a:lnTo>
                  <a:lnTo>
                    <a:pt x="620" y="5"/>
                  </a:lnTo>
                  <a:lnTo>
                    <a:pt x="620" y="5"/>
                  </a:lnTo>
                  <a:lnTo>
                    <a:pt x="617" y="3"/>
                  </a:lnTo>
                  <a:lnTo>
                    <a:pt x="612" y="1"/>
                  </a:lnTo>
                  <a:lnTo>
                    <a:pt x="609" y="0"/>
                  </a:lnTo>
                  <a:lnTo>
                    <a:pt x="605" y="0"/>
                  </a:lnTo>
                  <a:lnTo>
                    <a:pt x="599" y="1"/>
                  </a:lnTo>
                  <a:lnTo>
                    <a:pt x="595" y="2"/>
                  </a:lnTo>
                  <a:lnTo>
                    <a:pt x="591" y="5"/>
                  </a:lnTo>
                  <a:lnTo>
                    <a:pt x="586" y="9"/>
                  </a:lnTo>
                  <a:lnTo>
                    <a:pt x="10" y="542"/>
                  </a:lnTo>
                  <a:lnTo>
                    <a:pt x="10" y="542"/>
                  </a:lnTo>
                  <a:lnTo>
                    <a:pt x="5" y="546"/>
                  </a:lnTo>
                  <a:lnTo>
                    <a:pt x="3" y="551"/>
                  </a:lnTo>
                  <a:lnTo>
                    <a:pt x="1" y="555"/>
                  </a:lnTo>
                  <a:lnTo>
                    <a:pt x="0" y="559"/>
                  </a:lnTo>
                  <a:lnTo>
                    <a:pt x="0" y="564"/>
                  </a:lnTo>
                  <a:lnTo>
                    <a:pt x="0" y="568"/>
                  </a:lnTo>
                  <a:lnTo>
                    <a:pt x="2" y="571"/>
                  </a:lnTo>
                  <a:lnTo>
                    <a:pt x="4" y="576"/>
                  </a:lnTo>
                  <a:lnTo>
                    <a:pt x="4" y="576"/>
                  </a:lnTo>
                  <a:lnTo>
                    <a:pt x="8" y="578"/>
                  </a:lnTo>
                  <a:lnTo>
                    <a:pt x="11" y="580"/>
                  </a:lnTo>
                  <a:lnTo>
                    <a:pt x="15" y="581"/>
                  </a:lnTo>
                  <a:lnTo>
                    <a:pt x="19" y="581"/>
                  </a:lnTo>
                  <a:lnTo>
                    <a:pt x="24" y="580"/>
                  </a:lnTo>
                  <a:lnTo>
                    <a:pt x="29" y="578"/>
                  </a:lnTo>
                  <a:lnTo>
                    <a:pt x="33" y="576"/>
                  </a:lnTo>
                  <a:lnTo>
                    <a:pt x="38" y="572"/>
                  </a:lnTo>
                  <a:lnTo>
                    <a:pt x="38" y="572"/>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84" name="Freeform 483"/>
            <p:cNvSpPr>
              <a:spLocks/>
            </p:cNvSpPr>
            <p:nvPr/>
          </p:nvSpPr>
          <p:spPr bwMode="auto">
            <a:xfrm>
              <a:off x="5935034" y="4104354"/>
              <a:ext cx="268360" cy="244648"/>
            </a:xfrm>
            <a:custGeom>
              <a:avLst/>
              <a:gdLst>
                <a:gd name="T0" fmla="*/ 38 w 625"/>
                <a:gd name="T1" fmla="*/ 572 h 580"/>
                <a:gd name="T2" fmla="*/ 616 w 625"/>
                <a:gd name="T3" fmla="*/ 37 h 580"/>
                <a:gd name="T4" fmla="*/ 616 w 625"/>
                <a:gd name="T5" fmla="*/ 37 h 580"/>
                <a:gd name="T6" fmla="*/ 619 w 625"/>
                <a:gd name="T7" fmla="*/ 34 h 580"/>
                <a:gd name="T8" fmla="*/ 621 w 625"/>
                <a:gd name="T9" fmla="*/ 30 h 580"/>
                <a:gd name="T10" fmla="*/ 623 w 625"/>
                <a:gd name="T11" fmla="*/ 26 h 580"/>
                <a:gd name="T12" fmla="*/ 624 w 625"/>
                <a:gd name="T13" fmla="*/ 20 h 580"/>
                <a:gd name="T14" fmla="*/ 625 w 625"/>
                <a:gd name="T15" fmla="*/ 16 h 580"/>
                <a:gd name="T16" fmla="*/ 624 w 625"/>
                <a:gd name="T17" fmla="*/ 13 h 580"/>
                <a:gd name="T18" fmla="*/ 623 w 625"/>
                <a:gd name="T19" fmla="*/ 8 h 580"/>
                <a:gd name="T20" fmla="*/ 620 w 625"/>
                <a:gd name="T21" fmla="*/ 5 h 580"/>
                <a:gd name="T22" fmla="*/ 620 w 625"/>
                <a:gd name="T23" fmla="*/ 5 h 580"/>
                <a:gd name="T24" fmla="*/ 617 w 625"/>
                <a:gd name="T25" fmla="*/ 2 h 580"/>
                <a:gd name="T26" fmla="*/ 614 w 625"/>
                <a:gd name="T27" fmla="*/ 1 h 580"/>
                <a:gd name="T28" fmla="*/ 609 w 625"/>
                <a:gd name="T29" fmla="*/ 0 h 580"/>
                <a:gd name="T30" fmla="*/ 605 w 625"/>
                <a:gd name="T31" fmla="*/ 0 h 580"/>
                <a:gd name="T32" fmla="*/ 601 w 625"/>
                <a:gd name="T33" fmla="*/ 1 h 580"/>
                <a:gd name="T34" fmla="*/ 596 w 625"/>
                <a:gd name="T35" fmla="*/ 2 h 580"/>
                <a:gd name="T36" fmla="*/ 592 w 625"/>
                <a:gd name="T37" fmla="*/ 4 h 580"/>
                <a:gd name="T38" fmla="*/ 588 w 625"/>
                <a:gd name="T39" fmla="*/ 7 h 580"/>
                <a:gd name="T40" fmla="*/ 10 w 625"/>
                <a:gd name="T41" fmla="*/ 542 h 580"/>
                <a:gd name="T42" fmla="*/ 10 w 625"/>
                <a:gd name="T43" fmla="*/ 542 h 580"/>
                <a:gd name="T44" fmla="*/ 7 w 625"/>
                <a:gd name="T45" fmla="*/ 546 h 580"/>
                <a:gd name="T46" fmla="*/ 4 w 625"/>
                <a:gd name="T47" fmla="*/ 550 h 580"/>
                <a:gd name="T48" fmla="*/ 2 w 625"/>
                <a:gd name="T49" fmla="*/ 555 h 580"/>
                <a:gd name="T50" fmla="*/ 1 w 625"/>
                <a:gd name="T51" fmla="*/ 559 h 580"/>
                <a:gd name="T52" fmla="*/ 0 w 625"/>
                <a:gd name="T53" fmla="*/ 563 h 580"/>
                <a:gd name="T54" fmla="*/ 1 w 625"/>
                <a:gd name="T55" fmla="*/ 568 h 580"/>
                <a:gd name="T56" fmla="*/ 2 w 625"/>
                <a:gd name="T57" fmla="*/ 571 h 580"/>
                <a:gd name="T58" fmla="*/ 5 w 625"/>
                <a:gd name="T59" fmla="*/ 574 h 580"/>
                <a:gd name="T60" fmla="*/ 5 w 625"/>
                <a:gd name="T61" fmla="*/ 574 h 580"/>
                <a:gd name="T62" fmla="*/ 9 w 625"/>
                <a:gd name="T63" fmla="*/ 577 h 580"/>
                <a:gd name="T64" fmla="*/ 12 w 625"/>
                <a:gd name="T65" fmla="*/ 578 h 580"/>
                <a:gd name="T66" fmla="*/ 16 w 625"/>
                <a:gd name="T67" fmla="*/ 580 h 580"/>
                <a:gd name="T68" fmla="*/ 21 w 625"/>
                <a:gd name="T69" fmla="*/ 580 h 580"/>
                <a:gd name="T70" fmla="*/ 25 w 625"/>
                <a:gd name="T71" fmla="*/ 580 h 580"/>
                <a:gd name="T72" fmla="*/ 29 w 625"/>
                <a:gd name="T73" fmla="*/ 577 h 580"/>
                <a:gd name="T74" fmla="*/ 34 w 625"/>
                <a:gd name="T75" fmla="*/ 575 h 580"/>
                <a:gd name="T76" fmla="*/ 38 w 625"/>
                <a:gd name="T77" fmla="*/ 572 h 580"/>
                <a:gd name="T78" fmla="*/ 38 w 625"/>
                <a:gd name="T79" fmla="*/ 572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25" h="580">
                  <a:moveTo>
                    <a:pt x="38" y="572"/>
                  </a:moveTo>
                  <a:lnTo>
                    <a:pt x="616" y="37"/>
                  </a:lnTo>
                  <a:lnTo>
                    <a:pt x="616" y="37"/>
                  </a:lnTo>
                  <a:lnTo>
                    <a:pt x="619" y="34"/>
                  </a:lnTo>
                  <a:lnTo>
                    <a:pt x="621" y="30"/>
                  </a:lnTo>
                  <a:lnTo>
                    <a:pt x="623" y="26"/>
                  </a:lnTo>
                  <a:lnTo>
                    <a:pt x="624" y="20"/>
                  </a:lnTo>
                  <a:lnTo>
                    <a:pt x="625" y="16"/>
                  </a:lnTo>
                  <a:lnTo>
                    <a:pt x="624" y="13"/>
                  </a:lnTo>
                  <a:lnTo>
                    <a:pt x="623" y="8"/>
                  </a:lnTo>
                  <a:lnTo>
                    <a:pt x="620" y="5"/>
                  </a:lnTo>
                  <a:lnTo>
                    <a:pt x="620" y="5"/>
                  </a:lnTo>
                  <a:lnTo>
                    <a:pt x="617" y="2"/>
                  </a:lnTo>
                  <a:lnTo>
                    <a:pt x="614" y="1"/>
                  </a:lnTo>
                  <a:lnTo>
                    <a:pt x="609" y="0"/>
                  </a:lnTo>
                  <a:lnTo>
                    <a:pt x="605" y="0"/>
                  </a:lnTo>
                  <a:lnTo>
                    <a:pt x="601" y="1"/>
                  </a:lnTo>
                  <a:lnTo>
                    <a:pt x="596" y="2"/>
                  </a:lnTo>
                  <a:lnTo>
                    <a:pt x="592" y="4"/>
                  </a:lnTo>
                  <a:lnTo>
                    <a:pt x="588" y="7"/>
                  </a:lnTo>
                  <a:lnTo>
                    <a:pt x="10" y="542"/>
                  </a:lnTo>
                  <a:lnTo>
                    <a:pt x="10" y="542"/>
                  </a:lnTo>
                  <a:lnTo>
                    <a:pt x="7" y="546"/>
                  </a:lnTo>
                  <a:lnTo>
                    <a:pt x="4" y="550"/>
                  </a:lnTo>
                  <a:lnTo>
                    <a:pt x="2" y="555"/>
                  </a:lnTo>
                  <a:lnTo>
                    <a:pt x="1" y="559"/>
                  </a:lnTo>
                  <a:lnTo>
                    <a:pt x="0" y="563"/>
                  </a:lnTo>
                  <a:lnTo>
                    <a:pt x="1" y="568"/>
                  </a:lnTo>
                  <a:lnTo>
                    <a:pt x="2" y="571"/>
                  </a:lnTo>
                  <a:lnTo>
                    <a:pt x="5" y="574"/>
                  </a:lnTo>
                  <a:lnTo>
                    <a:pt x="5" y="574"/>
                  </a:lnTo>
                  <a:lnTo>
                    <a:pt x="9" y="577"/>
                  </a:lnTo>
                  <a:lnTo>
                    <a:pt x="12" y="578"/>
                  </a:lnTo>
                  <a:lnTo>
                    <a:pt x="16" y="580"/>
                  </a:lnTo>
                  <a:lnTo>
                    <a:pt x="21" y="580"/>
                  </a:lnTo>
                  <a:lnTo>
                    <a:pt x="25" y="580"/>
                  </a:lnTo>
                  <a:lnTo>
                    <a:pt x="29" y="577"/>
                  </a:lnTo>
                  <a:lnTo>
                    <a:pt x="34" y="575"/>
                  </a:lnTo>
                  <a:lnTo>
                    <a:pt x="38" y="572"/>
                  </a:lnTo>
                  <a:lnTo>
                    <a:pt x="38" y="572"/>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85" name="Freeform 484"/>
            <p:cNvSpPr>
              <a:spLocks/>
            </p:cNvSpPr>
            <p:nvPr/>
          </p:nvSpPr>
          <p:spPr bwMode="auto">
            <a:xfrm>
              <a:off x="5900629" y="4068921"/>
              <a:ext cx="268360" cy="244648"/>
            </a:xfrm>
            <a:custGeom>
              <a:avLst/>
              <a:gdLst>
                <a:gd name="T0" fmla="*/ 38 w 624"/>
                <a:gd name="T1" fmla="*/ 573 h 580"/>
                <a:gd name="T2" fmla="*/ 615 w 624"/>
                <a:gd name="T3" fmla="*/ 38 h 580"/>
                <a:gd name="T4" fmla="*/ 615 w 624"/>
                <a:gd name="T5" fmla="*/ 38 h 580"/>
                <a:gd name="T6" fmla="*/ 619 w 624"/>
                <a:gd name="T7" fmla="*/ 34 h 580"/>
                <a:gd name="T8" fmla="*/ 621 w 624"/>
                <a:gd name="T9" fmla="*/ 29 h 580"/>
                <a:gd name="T10" fmla="*/ 623 w 624"/>
                <a:gd name="T11" fmla="*/ 25 h 580"/>
                <a:gd name="T12" fmla="*/ 624 w 624"/>
                <a:gd name="T13" fmla="*/ 21 h 580"/>
                <a:gd name="T14" fmla="*/ 624 w 624"/>
                <a:gd name="T15" fmla="*/ 16 h 580"/>
                <a:gd name="T16" fmla="*/ 624 w 624"/>
                <a:gd name="T17" fmla="*/ 12 h 580"/>
                <a:gd name="T18" fmla="*/ 622 w 624"/>
                <a:gd name="T19" fmla="*/ 9 h 580"/>
                <a:gd name="T20" fmla="*/ 620 w 624"/>
                <a:gd name="T21" fmla="*/ 6 h 580"/>
                <a:gd name="T22" fmla="*/ 620 w 624"/>
                <a:gd name="T23" fmla="*/ 6 h 580"/>
                <a:gd name="T24" fmla="*/ 617 w 624"/>
                <a:gd name="T25" fmla="*/ 2 h 580"/>
                <a:gd name="T26" fmla="*/ 614 w 624"/>
                <a:gd name="T27" fmla="*/ 1 h 580"/>
                <a:gd name="T28" fmla="*/ 609 w 624"/>
                <a:gd name="T29" fmla="*/ 0 h 580"/>
                <a:gd name="T30" fmla="*/ 605 w 624"/>
                <a:gd name="T31" fmla="*/ 0 h 580"/>
                <a:gd name="T32" fmla="*/ 601 w 624"/>
                <a:gd name="T33" fmla="*/ 0 h 580"/>
                <a:gd name="T34" fmla="*/ 595 w 624"/>
                <a:gd name="T35" fmla="*/ 2 h 580"/>
                <a:gd name="T36" fmla="*/ 591 w 624"/>
                <a:gd name="T37" fmla="*/ 5 h 580"/>
                <a:gd name="T38" fmla="*/ 588 w 624"/>
                <a:gd name="T39" fmla="*/ 8 h 580"/>
                <a:gd name="T40" fmla="*/ 10 w 624"/>
                <a:gd name="T41" fmla="*/ 542 h 580"/>
                <a:gd name="T42" fmla="*/ 10 w 624"/>
                <a:gd name="T43" fmla="*/ 542 h 580"/>
                <a:gd name="T44" fmla="*/ 7 w 624"/>
                <a:gd name="T45" fmla="*/ 546 h 580"/>
                <a:gd name="T46" fmla="*/ 3 w 624"/>
                <a:gd name="T47" fmla="*/ 550 h 580"/>
                <a:gd name="T48" fmla="*/ 1 w 624"/>
                <a:gd name="T49" fmla="*/ 554 h 580"/>
                <a:gd name="T50" fmla="*/ 0 w 624"/>
                <a:gd name="T51" fmla="*/ 559 h 580"/>
                <a:gd name="T52" fmla="*/ 0 w 624"/>
                <a:gd name="T53" fmla="*/ 564 h 580"/>
                <a:gd name="T54" fmla="*/ 1 w 624"/>
                <a:gd name="T55" fmla="*/ 567 h 580"/>
                <a:gd name="T56" fmla="*/ 2 w 624"/>
                <a:gd name="T57" fmla="*/ 572 h 580"/>
                <a:gd name="T58" fmla="*/ 5 w 624"/>
                <a:gd name="T59" fmla="*/ 575 h 580"/>
                <a:gd name="T60" fmla="*/ 5 w 624"/>
                <a:gd name="T61" fmla="*/ 575 h 580"/>
                <a:gd name="T62" fmla="*/ 8 w 624"/>
                <a:gd name="T63" fmla="*/ 578 h 580"/>
                <a:gd name="T64" fmla="*/ 12 w 624"/>
                <a:gd name="T65" fmla="*/ 579 h 580"/>
                <a:gd name="T66" fmla="*/ 15 w 624"/>
                <a:gd name="T67" fmla="*/ 580 h 580"/>
                <a:gd name="T68" fmla="*/ 21 w 624"/>
                <a:gd name="T69" fmla="*/ 580 h 580"/>
                <a:gd name="T70" fmla="*/ 25 w 624"/>
                <a:gd name="T71" fmla="*/ 579 h 580"/>
                <a:gd name="T72" fmla="*/ 29 w 624"/>
                <a:gd name="T73" fmla="*/ 578 h 580"/>
                <a:gd name="T74" fmla="*/ 34 w 624"/>
                <a:gd name="T75" fmla="*/ 576 h 580"/>
                <a:gd name="T76" fmla="*/ 38 w 624"/>
                <a:gd name="T77" fmla="*/ 573 h 580"/>
                <a:gd name="T78" fmla="*/ 38 w 624"/>
                <a:gd name="T79" fmla="*/ 573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24" h="580">
                  <a:moveTo>
                    <a:pt x="38" y="573"/>
                  </a:moveTo>
                  <a:lnTo>
                    <a:pt x="615" y="38"/>
                  </a:lnTo>
                  <a:lnTo>
                    <a:pt x="615" y="38"/>
                  </a:lnTo>
                  <a:lnTo>
                    <a:pt x="619" y="34"/>
                  </a:lnTo>
                  <a:lnTo>
                    <a:pt x="621" y="29"/>
                  </a:lnTo>
                  <a:lnTo>
                    <a:pt x="623" y="25"/>
                  </a:lnTo>
                  <a:lnTo>
                    <a:pt x="624" y="21"/>
                  </a:lnTo>
                  <a:lnTo>
                    <a:pt x="624" y="16"/>
                  </a:lnTo>
                  <a:lnTo>
                    <a:pt x="624" y="12"/>
                  </a:lnTo>
                  <a:lnTo>
                    <a:pt x="622" y="9"/>
                  </a:lnTo>
                  <a:lnTo>
                    <a:pt x="620" y="6"/>
                  </a:lnTo>
                  <a:lnTo>
                    <a:pt x="620" y="6"/>
                  </a:lnTo>
                  <a:lnTo>
                    <a:pt x="617" y="2"/>
                  </a:lnTo>
                  <a:lnTo>
                    <a:pt x="614" y="1"/>
                  </a:lnTo>
                  <a:lnTo>
                    <a:pt x="609" y="0"/>
                  </a:lnTo>
                  <a:lnTo>
                    <a:pt x="605" y="0"/>
                  </a:lnTo>
                  <a:lnTo>
                    <a:pt x="601" y="0"/>
                  </a:lnTo>
                  <a:lnTo>
                    <a:pt x="595" y="2"/>
                  </a:lnTo>
                  <a:lnTo>
                    <a:pt x="591" y="5"/>
                  </a:lnTo>
                  <a:lnTo>
                    <a:pt x="588" y="8"/>
                  </a:lnTo>
                  <a:lnTo>
                    <a:pt x="10" y="542"/>
                  </a:lnTo>
                  <a:lnTo>
                    <a:pt x="10" y="542"/>
                  </a:lnTo>
                  <a:lnTo>
                    <a:pt x="7" y="546"/>
                  </a:lnTo>
                  <a:lnTo>
                    <a:pt x="3" y="550"/>
                  </a:lnTo>
                  <a:lnTo>
                    <a:pt x="1" y="554"/>
                  </a:lnTo>
                  <a:lnTo>
                    <a:pt x="0" y="559"/>
                  </a:lnTo>
                  <a:lnTo>
                    <a:pt x="0" y="564"/>
                  </a:lnTo>
                  <a:lnTo>
                    <a:pt x="1" y="567"/>
                  </a:lnTo>
                  <a:lnTo>
                    <a:pt x="2" y="572"/>
                  </a:lnTo>
                  <a:lnTo>
                    <a:pt x="5" y="575"/>
                  </a:lnTo>
                  <a:lnTo>
                    <a:pt x="5" y="575"/>
                  </a:lnTo>
                  <a:lnTo>
                    <a:pt x="8" y="578"/>
                  </a:lnTo>
                  <a:lnTo>
                    <a:pt x="12" y="579"/>
                  </a:lnTo>
                  <a:lnTo>
                    <a:pt x="15" y="580"/>
                  </a:lnTo>
                  <a:lnTo>
                    <a:pt x="21" y="580"/>
                  </a:lnTo>
                  <a:lnTo>
                    <a:pt x="25" y="579"/>
                  </a:lnTo>
                  <a:lnTo>
                    <a:pt x="29" y="578"/>
                  </a:lnTo>
                  <a:lnTo>
                    <a:pt x="34" y="576"/>
                  </a:lnTo>
                  <a:lnTo>
                    <a:pt x="38" y="573"/>
                  </a:lnTo>
                  <a:lnTo>
                    <a:pt x="38" y="573"/>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86" name="Freeform 485"/>
            <p:cNvSpPr>
              <a:spLocks/>
            </p:cNvSpPr>
            <p:nvPr/>
          </p:nvSpPr>
          <p:spPr bwMode="auto">
            <a:xfrm>
              <a:off x="5866223" y="4031803"/>
              <a:ext cx="268360" cy="246334"/>
            </a:xfrm>
            <a:custGeom>
              <a:avLst/>
              <a:gdLst>
                <a:gd name="T0" fmla="*/ 37 w 625"/>
                <a:gd name="T1" fmla="*/ 572 h 581"/>
                <a:gd name="T2" fmla="*/ 615 w 625"/>
                <a:gd name="T3" fmla="*/ 39 h 581"/>
                <a:gd name="T4" fmla="*/ 615 w 625"/>
                <a:gd name="T5" fmla="*/ 39 h 581"/>
                <a:gd name="T6" fmla="*/ 618 w 625"/>
                <a:gd name="T7" fmla="*/ 34 h 581"/>
                <a:gd name="T8" fmla="*/ 621 w 625"/>
                <a:gd name="T9" fmla="*/ 30 h 581"/>
                <a:gd name="T10" fmla="*/ 624 w 625"/>
                <a:gd name="T11" fmla="*/ 26 h 581"/>
                <a:gd name="T12" fmla="*/ 625 w 625"/>
                <a:gd name="T13" fmla="*/ 21 h 581"/>
                <a:gd name="T14" fmla="*/ 625 w 625"/>
                <a:gd name="T15" fmla="*/ 17 h 581"/>
                <a:gd name="T16" fmla="*/ 624 w 625"/>
                <a:gd name="T17" fmla="*/ 13 h 581"/>
                <a:gd name="T18" fmla="*/ 622 w 625"/>
                <a:gd name="T19" fmla="*/ 10 h 581"/>
                <a:gd name="T20" fmla="*/ 620 w 625"/>
                <a:gd name="T21" fmla="*/ 5 h 581"/>
                <a:gd name="T22" fmla="*/ 620 w 625"/>
                <a:gd name="T23" fmla="*/ 5 h 581"/>
                <a:gd name="T24" fmla="*/ 617 w 625"/>
                <a:gd name="T25" fmla="*/ 3 h 581"/>
                <a:gd name="T26" fmla="*/ 613 w 625"/>
                <a:gd name="T27" fmla="*/ 1 h 581"/>
                <a:gd name="T28" fmla="*/ 608 w 625"/>
                <a:gd name="T29" fmla="*/ 0 h 581"/>
                <a:gd name="T30" fmla="*/ 604 w 625"/>
                <a:gd name="T31" fmla="*/ 0 h 581"/>
                <a:gd name="T32" fmla="*/ 600 w 625"/>
                <a:gd name="T33" fmla="*/ 1 h 581"/>
                <a:gd name="T34" fmla="*/ 595 w 625"/>
                <a:gd name="T35" fmla="*/ 3 h 581"/>
                <a:gd name="T36" fmla="*/ 591 w 625"/>
                <a:gd name="T37" fmla="*/ 5 h 581"/>
                <a:gd name="T38" fmla="*/ 587 w 625"/>
                <a:gd name="T39" fmla="*/ 9 h 581"/>
                <a:gd name="T40" fmla="*/ 10 w 625"/>
                <a:gd name="T41" fmla="*/ 543 h 581"/>
                <a:gd name="T42" fmla="*/ 10 w 625"/>
                <a:gd name="T43" fmla="*/ 543 h 581"/>
                <a:gd name="T44" fmla="*/ 6 w 625"/>
                <a:gd name="T45" fmla="*/ 546 h 581"/>
                <a:gd name="T46" fmla="*/ 4 w 625"/>
                <a:gd name="T47" fmla="*/ 551 h 581"/>
                <a:gd name="T48" fmla="*/ 1 w 625"/>
                <a:gd name="T49" fmla="*/ 555 h 581"/>
                <a:gd name="T50" fmla="*/ 0 w 625"/>
                <a:gd name="T51" fmla="*/ 559 h 581"/>
                <a:gd name="T52" fmla="*/ 0 w 625"/>
                <a:gd name="T53" fmla="*/ 564 h 581"/>
                <a:gd name="T54" fmla="*/ 0 w 625"/>
                <a:gd name="T55" fmla="*/ 568 h 581"/>
                <a:gd name="T56" fmla="*/ 3 w 625"/>
                <a:gd name="T57" fmla="*/ 572 h 581"/>
                <a:gd name="T58" fmla="*/ 5 w 625"/>
                <a:gd name="T59" fmla="*/ 576 h 581"/>
                <a:gd name="T60" fmla="*/ 5 w 625"/>
                <a:gd name="T61" fmla="*/ 576 h 581"/>
                <a:gd name="T62" fmla="*/ 8 w 625"/>
                <a:gd name="T63" fmla="*/ 578 h 581"/>
                <a:gd name="T64" fmla="*/ 11 w 625"/>
                <a:gd name="T65" fmla="*/ 580 h 581"/>
                <a:gd name="T66" fmla="*/ 16 w 625"/>
                <a:gd name="T67" fmla="*/ 581 h 581"/>
                <a:gd name="T68" fmla="*/ 20 w 625"/>
                <a:gd name="T69" fmla="*/ 581 h 581"/>
                <a:gd name="T70" fmla="*/ 24 w 625"/>
                <a:gd name="T71" fmla="*/ 580 h 581"/>
                <a:gd name="T72" fmla="*/ 30 w 625"/>
                <a:gd name="T73" fmla="*/ 579 h 581"/>
                <a:gd name="T74" fmla="*/ 34 w 625"/>
                <a:gd name="T75" fmla="*/ 576 h 581"/>
                <a:gd name="T76" fmla="*/ 37 w 625"/>
                <a:gd name="T77" fmla="*/ 572 h 581"/>
                <a:gd name="T78" fmla="*/ 37 w 625"/>
                <a:gd name="T79" fmla="*/ 572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25" h="581">
                  <a:moveTo>
                    <a:pt x="37" y="572"/>
                  </a:moveTo>
                  <a:lnTo>
                    <a:pt x="615" y="39"/>
                  </a:lnTo>
                  <a:lnTo>
                    <a:pt x="615" y="39"/>
                  </a:lnTo>
                  <a:lnTo>
                    <a:pt x="618" y="34"/>
                  </a:lnTo>
                  <a:lnTo>
                    <a:pt x="621" y="30"/>
                  </a:lnTo>
                  <a:lnTo>
                    <a:pt x="624" y="26"/>
                  </a:lnTo>
                  <a:lnTo>
                    <a:pt x="625" y="21"/>
                  </a:lnTo>
                  <a:lnTo>
                    <a:pt x="625" y="17"/>
                  </a:lnTo>
                  <a:lnTo>
                    <a:pt x="624" y="13"/>
                  </a:lnTo>
                  <a:lnTo>
                    <a:pt x="622" y="10"/>
                  </a:lnTo>
                  <a:lnTo>
                    <a:pt x="620" y="5"/>
                  </a:lnTo>
                  <a:lnTo>
                    <a:pt x="620" y="5"/>
                  </a:lnTo>
                  <a:lnTo>
                    <a:pt x="617" y="3"/>
                  </a:lnTo>
                  <a:lnTo>
                    <a:pt x="613" y="1"/>
                  </a:lnTo>
                  <a:lnTo>
                    <a:pt x="608" y="0"/>
                  </a:lnTo>
                  <a:lnTo>
                    <a:pt x="604" y="0"/>
                  </a:lnTo>
                  <a:lnTo>
                    <a:pt x="600" y="1"/>
                  </a:lnTo>
                  <a:lnTo>
                    <a:pt x="595" y="3"/>
                  </a:lnTo>
                  <a:lnTo>
                    <a:pt x="591" y="5"/>
                  </a:lnTo>
                  <a:lnTo>
                    <a:pt x="587" y="9"/>
                  </a:lnTo>
                  <a:lnTo>
                    <a:pt x="10" y="543"/>
                  </a:lnTo>
                  <a:lnTo>
                    <a:pt x="10" y="543"/>
                  </a:lnTo>
                  <a:lnTo>
                    <a:pt x="6" y="546"/>
                  </a:lnTo>
                  <a:lnTo>
                    <a:pt x="4" y="551"/>
                  </a:lnTo>
                  <a:lnTo>
                    <a:pt x="1" y="555"/>
                  </a:lnTo>
                  <a:lnTo>
                    <a:pt x="0" y="559"/>
                  </a:lnTo>
                  <a:lnTo>
                    <a:pt x="0" y="564"/>
                  </a:lnTo>
                  <a:lnTo>
                    <a:pt x="0" y="568"/>
                  </a:lnTo>
                  <a:lnTo>
                    <a:pt x="3" y="572"/>
                  </a:lnTo>
                  <a:lnTo>
                    <a:pt x="5" y="576"/>
                  </a:lnTo>
                  <a:lnTo>
                    <a:pt x="5" y="576"/>
                  </a:lnTo>
                  <a:lnTo>
                    <a:pt x="8" y="578"/>
                  </a:lnTo>
                  <a:lnTo>
                    <a:pt x="11" y="580"/>
                  </a:lnTo>
                  <a:lnTo>
                    <a:pt x="16" y="581"/>
                  </a:lnTo>
                  <a:lnTo>
                    <a:pt x="20" y="581"/>
                  </a:lnTo>
                  <a:lnTo>
                    <a:pt x="24" y="580"/>
                  </a:lnTo>
                  <a:lnTo>
                    <a:pt x="30" y="579"/>
                  </a:lnTo>
                  <a:lnTo>
                    <a:pt x="34" y="576"/>
                  </a:lnTo>
                  <a:lnTo>
                    <a:pt x="37" y="572"/>
                  </a:lnTo>
                  <a:lnTo>
                    <a:pt x="37" y="572"/>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87" name="Freeform 486"/>
            <p:cNvSpPr>
              <a:spLocks/>
            </p:cNvSpPr>
            <p:nvPr/>
          </p:nvSpPr>
          <p:spPr bwMode="auto">
            <a:xfrm>
              <a:off x="5831819" y="3996371"/>
              <a:ext cx="270080" cy="244648"/>
            </a:xfrm>
            <a:custGeom>
              <a:avLst/>
              <a:gdLst>
                <a:gd name="T0" fmla="*/ 38 w 626"/>
                <a:gd name="T1" fmla="*/ 572 h 581"/>
                <a:gd name="T2" fmla="*/ 616 w 626"/>
                <a:gd name="T3" fmla="*/ 37 h 581"/>
                <a:gd name="T4" fmla="*/ 616 w 626"/>
                <a:gd name="T5" fmla="*/ 37 h 581"/>
                <a:gd name="T6" fmla="*/ 619 w 626"/>
                <a:gd name="T7" fmla="*/ 34 h 581"/>
                <a:gd name="T8" fmla="*/ 621 w 626"/>
                <a:gd name="T9" fmla="*/ 30 h 581"/>
                <a:gd name="T10" fmla="*/ 624 w 626"/>
                <a:gd name="T11" fmla="*/ 25 h 581"/>
                <a:gd name="T12" fmla="*/ 625 w 626"/>
                <a:gd name="T13" fmla="*/ 21 h 581"/>
                <a:gd name="T14" fmla="*/ 626 w 626"/>
                <a:gd name="T15" fmla="*/ 17 h 581"/>
                <a:gd name="T16" fmla="*/ 625 w 626"/>
                <a:gd name="T17" fmla="*/ 13 h 581"/>
                <a:gd name="T18" fmla="*/ 624 w 626"/>
                <a:gd name="T19" fmla="*/ 8 h 581"/>
                <a:gd name="T20" fmla="*/ 620 w 626"/>
                <a:gd name="T21" fmla="*/ 5 h 581"/>
                <a:gd name="T22" fmla="*/ 620 w 626"/>
                <a:gd name="T23" fmla="*/ 5 h 581"/>
                <a:gd name="T24" fmla="*/ 617 w 626"/>
                <a:gd name="T25" fmla="*/ 3 h 581"/>
                <a:gd name="T26" fmla="*/ 614 w 626"/>
                <a:gd name="T27" fmla="*/ 1 h 581"/>
                <a:gd name="T28" fmla="*/ 610 w 626"/>
                <a:gd name="T29" fmla="*/ 0 h 581"/>
                <a:gd name="T30" fmla="*/ 605 w 626"/>
                <a:gd name="T31" fmla="*/ 0 h 581"/>
                <a:gd name="T32" fmla="*/ 601 w 626"/>
                <a:gd name="T33" fmla="*/ 1 h 581"/>
                <a:gd name="T34" fmla="*/ 597 w 626"/>
                <a:gd name="T35" fmla="*/ 2 h 581"/>
                <a:gd name="T36" fmla="*/ 592 w 626"/>
                <a:gd name="T37" fmla="*/ 5 h 581"/>
                <a:gd name="T38" fmla="*/ 588 w 626"/>
                <a:gd name="T39" fmla="*/ 8 h 581"/>
                <a:gd name="T40" fmla="*/ 10 w 626"/>
                <a:gd name="T41" fmla="*/ 542 h 581"/>
                <a:gd name="T42" fmla="*/ 10 w 626"/>
                <a:gd name="T43" fmla="*/ 542 h 581"/>
                <a:gd name="T44" fmla="*/ 7 w 626"/>
                <a:gd name="T45" fmla="*/ 546 h 581"/>
                <a:gd name="T46" fmla="*/ 4 w 626"/>
                <a:gd name="T47" fmla="*/ 550 h 581"/>
                <a:gd name="T48" fmla="*/ 3 w 626"/>
                <a:gd name="T49" fmla="*/ 555 h 581"/>
                <a:gd name="T50" fmla="*/ 2 w 626"/>
                <a:gd name="T51" fmla="*/ 559 h 581"/>
                <a:gd name="T52" fmla="*/ 0 w 626"/>
                <a:gd name="T53" fmla="*/ 563 h 581"/>
                <a:gd name="T54" fmla="*/ 2 w 626"/>
                <a:gd name="T55" fmla="*/ 568 h 581"/>
                <a:gd name="T56" fmla="*/ 3 w 626"/>
                <a:gd name="T57" fmla="*/ 571 h 581"/>
                <a:gd name="T58" fmla="*/ 6 w 626"/>
                <a:gd name="T59" fmla="*/ 575 h 581"/>
                <a:gd name="T60" fmla="*/ 6 w 626"/>
                <a:gd name="T61" fmla="*/ 575 h 581"/>
                <a:gd name="T62" fmla="*/ 9 w 626"/>
                <a:gd name="T63" fmla="*/ 577 h 581"/>
                <a:gd name="T64" fmla="*/ 12 w 626"/>
                <a:gd name="T65" fmla="*/ 580 h 581"/>
                <a:gd name="T66" fmla="*/ 17 w 626"/>
                <a:gd name="T67" fmla="*/ 581 h 581"/>
                <a:gd name="T68" fmla="*/ 21 w 626"/>
                <a:gd name="T69" fmla="*/ 581 h 581"/>
                <a:gd name="T70" fmla="*/ 25 w 626"/>
                <a:gd name="T71" fmla="*/ 580 h 581"/>
                <a:gd name="T72" fmla="*/ 30 w 626"/>
                <a:gd name="T73" fmla="*/ 577 h 581"/>
                <a:gd name="T74" fmla="*/ 34 w 626"/>
                <a:gd name="T75" fmla="*/ 575 h 581"/>
                <a:gd name="T76" fmla="*/ 38 w 626"/>
                <a:gd name="T77" fmla="*/ 572 h 581"/>
                <a:gd name="T78" fmla="*/ 38 w 626"/>
                <a:gd name="T79" fmla="*/ 572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26" h="581">
                  <a:moveTo>
                    <a:pt x="38" y="572"/>
                  </a:moveTo>
                  <a:lnTo>
                    <a:pt x="616" y="37"/>
                  </a:lnTo>
                  <a:lnTo>
                    <a:pt x="616" y="37"/>
                  </a:lnTo>
                  <a:lnTo>
                    <a:pt x="619" y="34"/>
                  </a:lnTo>
                  <a:lnTo>
                    <a:pt x="621" y="30"/>
                  </a:lnTo>
                  <a:lnTo>
                    <a:pt x="624" y="25"/>
                  </a:lnTo>
                  <a:lnTo>
                    <a:pt x="625" y="21"/>
                  </a:lnTo>
                  <a:lnTo>
                    <a:pt x="626" y="17"/>
                  </a:lnTo>
                  <a:lnTo>
                    <a:pt x="625" y="13"/>
                  </a:lnTo>
                  <a:lnTo>
                    <a:pt x="624" y="8"/>
                  </a:lnTo>
                  <a:lnTo>
                    <a:pt x="620" y="5"/>
                  </a:lnTo>
                  <a:lnTo>
                    <a:pt x="620" y="5"/>
                  </a:lnTo>
                  <a:lnTo>
                    <a:pt x="617" y="3"/>
                  </a:lnTo>
                  <a:lnTo>
                    <a:pt x="614" y="1"/>
                  </a:lnTo>
                  <a:lnTo>
                    <a:pt x="610" y="0"/>
                  </a:lnTo>
                  <a:lnTo>
                    <a:pt x="605" y="0"/>
                  </a:lnTo>
                  <a:lnTo>
                    <a:pt x="601" y="1"/>
                  </a:lnTo>
                  <a:lnTo>
                    <a:pt x="597" y="2"/>
                  </a:lnTo>
                  <a:lnTo>
                    <a:pt x="592" y="5"/>
                  </a:lnTo>
                  <a:lnTo>
                    <a:pt x="588" y="8"/>
                  </a:lnTo>
                  <a:lnTo>
                    <a:pt x="10" y="542"/>
                  </a:lnTo>
                  <a:lnTo>
                    <a:pt x="10" y="542"/>
                  </a:lnTo>
                  <a:lnTo>
                    <a:pt x="7" y="546"/>
                  </a:lnTo>
                  <a:lnTo>
                    <a:pt x="4" y="550"/>
                  </a:lnTo>
                  <a:lnTo>
                    <a:pt x="3" y="555"/>
                  </a:lnTo>
                  <a:lnTo>
                    <a:pt x="2" y="559"/>
                  </a:lnTo>
                  <a:lnTo>
                    <a:pt x="0" y="563"/>
                  </a:lnTo>
                  <a:lnTo>
                    <a:pt x="2" y="568"/>
                  </a:lnTo>
                  <a:lnTo>
                    <a:pt x="3" y="571"/>
                  </a:lnTo>
                  <a:lnTo>
                    <a:pt x="6" y="575"/>
                  </a:lnTo>
                  <a:lnTo>
                    <a:pt x="6" y="575"/>
                  </a:lnTo>
                  <a:lnTo>
                    <a:pt x="9" y="577"/>
                  </a:lnTo>
                  <a:lnTo>
                    <a:pt x="12" y="580"/>
                  </a:lnTo>
                  <a:lnTo>
                    <a:pt x="17" y="581"/>
                  </a:lnTo>
                  <a:lnTo>
                    <a:pt x="21" y="581"/>
                  </a:lnTo>
                  <a:lnTo>
                    <a:pt x="25" y="580"/>
                  </a:lnTo>
                  <a:lnTo>
                    <a:pt x="30" y="577"/>
                  </a:lnTo>
                  <a:lnTo>
                    <a:pt x="34" y="575"/>
                  </a:lnTo>
                  <a:lnTo>
                    <a:pt x="38" y="572"/>
                  </a:lnTo>
                  <a:lnTo>
                    <a:pt x="38" y="572"/>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88" name="Freeform 487"/>
            <p:cNvSpPr>
              <a:spLocks/>
            </p:cNvSpPr>
            <p:nvPr/>
          </p:nvSpPr>
          <p:spPr bwMode="auto">
            <a:xfrm>
              <a:off x="5799134" y="3960940"/>
              <a:ext cx="268360" cy="244648"/>
            </a:xfrm>
            <a:custGeom>
              <a:avLst/>
              <a:gdLst>
                <a:gd name="T0" fmla="*/ 37 w 624"/>
                <a:gd name="T1" fmla="*/ 573 h 580"/>
                <a:gd name="T2" fmla="*/ 614 w 624"/>
                <a:gd name="T3" fmla="*/ 38 h 580"/>
                <a:gd name="T4" fmla="*/ 614 w 624"/>
                <a:gd name="T5" fmla="*/ 38 h 580"/>
                <a:gd name="T6" fmla="*/ 618 w 624"/>
                <a:gd name="T7" fmla="*/ 35 h 580"/>
                <a:gd name="T8" fmla="*/ 621 w 624"/>
                <a:gd name="T9" fmla="*/ 30 h 580"/>
                <a:gd name="T10" fmla="*/ 623 w 624"/>
                <a:gd name="T11" fmla="*/ 26 h 580"/>
                <a:gd name="T12" fmla="*/ 624 w 624"/>
                <a:gd name="T13" fmla="*/ 22 h 580"/>
                <a:gd name="T14" fmla="*/ 624 w 624"/>
                <a:gd name="T15" fmla="*/ 16 h 580"/>
                <a:gd name="T16" fmla="*/ 624 w 624"/>
                <a:gd name="T17" fmla="*/ 13 h 580"/>
                <a:gd name="T18" fmla="*/ 622 w 624"/>
                <a:gd name="T19" fmla="*/ 9 h 580"/>
                <a:gd name="T20" fmla="*/ 620 w 624"/>
                <a:gd name="T21" fmla="*/ 6 h 580"/>
                <a:gd name="T22" fmla="*/ 620 w 624"/>
                <a:gd name="T23" fmla="*/ 6 h 580"/>
                <a:gd name="T24" fmla="*/ 616 w 624"/>
                <a:gd name="T25" fmla="*/ 2 h 580"/>
                <a:gd name="T26" fmla="*/ 613 w 624"/>
                <a:gd name="T27" fmla="*/ 1 h 580"/>
                <a:gd name="T28" fmla="*/ 609 w 624"/>
                <a:gd name="T29" fmla="*/ 0 h 580"/>
                <a:gd name="T30" fmla="*/ 604 w 624"/>
                <a:gd name="T31" fmla="*/ 0 h 580"/>
                <a:gd name="T32" fmla="*/ 600 w 624"/>
                <a:gd name="T33" fmla="*/ 1 h 580"/>
                <a:gd name="T34" fmla="*/ 595 w 624"/>
                <a:gd name="T35" fmla="*/ 2 h 580"/>
                <a:gd name="T36" fmla="*/ 590 w 624"/>
                <a:gd name="T37" fmla="*/ 5 h 580"/>
                <a:gd name="T38" fmla="*/ 586 w 624"/>
                <a:gd name="T39" fmla="*/ 8 h 580"/>
                <a:gd name="T40" fmla="*/ 9 w 624"/>
                <a:gd name="T41" fmla="*/ 542 h 580"/>
                <a:gd name="T42" fmla="*/ 9 w 624"/>
                <a:gd name="T43" fmla="*/ 542 h 580"/>
                <a:gd name="T44" fmla="*/ 6 w 624"/>
                <a:gd name="T45" fmla="*/ 547 h 580"/>
                <a:gd name="T46" fmla="*/ 3 w 624"/>
                <a:gd name="T47" fmla="*/ 551 h 580"/>
                <a:gd name="T48" fmla="*/ 1 w 624"/>
                <a:gd name="T49" fmla="*/ 555 h 580"/>
                <a:gd name="T50" fmla="*/ 0 w 624"/>
                <a:gd name="T51" fmla="*/ 560 h 580"/>
                <a:gd name="T52" fmla="*/ 0 w 624"/>
                <a:gd name="T53" fmla="*/ 564 h 580"/>
                <a:gd name="T54" fmla="*/ 1 w 624"/>
                <a:gd name="T55" fmla="*/ 568 h 580"/>
                <a:gd name="T56" fmla="*/ 2 w 624"/>
                <a:gd name="T57" fmla="*/ 572 h 580"/>
                <a:gd name="T58" fmla="*/ 4 w 624"/>
                <a:gd name="T59" fmla="*/ 575 h 580"/>
                <a:gd name="T60" fmla="*/ 4 w 624"/>
                <a:gd name="T61" fmla="*/ 575 h 580"/>
                <a:gd name="T62" fmla="*/ 7 w 624"/>
                <a:gd name="T63" fmla="*/ 578 h 580"/>
                <a:gd name="T64" fmla="*/ 12 w 624"/>
                <a:gd name="T65" fmla="*/ 579 h 580"/>
                <a:gd name="T66" fmla="*/ 15 w 624"/>
                <a:gd name="T67" fmla="*/ 580 h 580"/>
                <a:gd name="T68" fmla="*/ 19 w 624"/>
                <a:gd name="T69" fmla="*/ 580 h 580"/>
                <a:gd name="T70" fmla="*/ 24 w 624"/>
                <a:gd name="T71" fmla="*/ 580 h 580"/>
                <a:gd name="T72" fmla="*/ 29 w 624"/>
                <a:gd name="T73" fmla="*/ 578 h 580"/>
                <a:gd name="T74" fmla="*/ 33 w 624"/>
                <a:gd name="T75" fmla="*/ 576 h 580"/>
                <a:gd name="T76" fmla="*/ 37 w 624"/>
                <a:gd name="T77" fmla="*/ 573 h 580"/>
                <a:gd name="T78" fmla="*/ 37 w 624"/>
                <a:gd name="T79" fmla="*/ 573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24" h="580">
                  <a:moveTo>
                    <a:pt x="37" y="573"/>
                  </a:moveTo>
                  <a:lnTo>
                    <a:pt x="614" y="38"/>
                  </a:lnTo>
                  <a:lnTo>
                    <a:pt x="614" y="38"/>
                  </a:lnTo>
                  <a:lnTo>
                    <a:pt x="618" y="35"/>
                  </a:lnTo>
                  <a:lnTo>
                    <a:pt x="621" y="30"/>
                  </a:lnTo>
                  <a:lnTo>
                    <a:pt x="623" y="26"/>
                  </a:lnTo>
                  <a:lnTo>
                    <a:pt x="624" y="22"/>
                  </a:lnTo>
                  <a:lnTo>
                    <a:pt x="624" y="16"/>
                  </a:lnTo>
                  <a:lnTo>
                    <a:pt x="624" y="13"/>
                  </a:lnTo>
                  <a:lnTo>
                    <a:pt x="622" y="9"/>
                  </a:lnTo>
                  <a:lnTo>
                    <a:pt x="620" y="6"/>
                  </a:lnTo>
                  <a:lnTo>
                    <a:pt x="620" y="6"/>
                  </a:lnTo>
                  <a:lnTo>
                    <a:pt x="616" y="2"/>
                  </a:lnTo>
                  <a:lnTo>
                    <a:pt x="613" y="1"/>
                  </a:lnTo>
                  <a:lnTo>
                    <a:pt x="609" y="0"/>
                  </a:lnTo>
                  <a:lnTo>
                    <a:pt x="604" y="0"/>
                  </a:lnTo>
                  <a:lnTo>
                    <a:pt x="600" y="1"/>
                  </a:lnTo>
                  <a:lnTo>
                    <a:pt x="595" y="2"/>
                  </a:lnTo>
                  <a:lnTo>
                    <a:pt x="590" y="5"/>
                  </a:lnTo>
                  <a:lnTo>
                    <a:pt x="586" y="8"/>
                  </a:lnTo>
                  <a:lnTo>
                    <a:pt x="9" y="542"/>
                  </a:lnTo>
                  <a:lnTo>
                    <a:pt x="9" y="542"/>
                  </a:lnTo>
                  <a:lnTo>
                    <a:pt x="6" y="547"/>
                  </a:lnTo>
                  <a:lnTo>
                    <a:pt x="3" y="551"/>
                  </a:lnTo>
                  <a:lnTo>
                    <a:pt x="1" y="555"/>
                  </a:lnTo>
                  <a:lnTo>
                    <a:pt x="0" y="560"/>
                  </a:lnTo>
                  <a:lnTo>
                    <a:pt x="0" y="564"/>
                  </a:lnTo>
                  <a:lnTo>
                    <a:pt x="1" y="568"/>
                  </a:lnTo>
                  <a:lnTo>
                    <a:pt x="2" y="572"/>
                  </a:lnTo>
                  <a:lnTo>
                    <a:pt x="4" y="575"/>
                  </a:lnTo>
                  <a:lnTo>
                    <a:pt x="4" y="575"/>
                  </a:lnTo>
                  <a:lnTo>
                    <a:pt x="7" y="578"/>
                  </a:lnTo>
                  <a:lnTo>
                    <a:pt x="12" y="579"/>
                  </a:lnTo>
                  <a:lnTo>
                    <a:pt x="15" y="580"/>
                  </a:lnTo>
                  <a:lnTo>
                    <a:pt x="19" y="580"/>
                  </a:lnTo>
                  <a:lnTo>
                    <a:pt x="24" y="580"/>
                  </a:lnTo>
                  <a:lnTo>
                    <a:pt x="29" y="578"/>
                  </a:lnTo>
                  <a:lnTo>
                    <a:pt x="33" y="576"/>
                  </a:lnTo>
                  <a:lnTo>
                    <a:pt x="37" y="573"/>
                  </a:lnTo>
                  <a:lnTo>
                    <a:pt x="37" y="573"/>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nvGrpSpPr>
            <p:cNvPr id="489" name="Group 488"/>
            <p:cNvGrpSpPr/>
            <p:nvPr/>
          </p:nvGrpSpPr>
          <p:grpSpPr>
            <a:xfrm>
              <a:off x="1896701" y="3253338"/>
              <a:ext cx="1197377" cy="678259"/>
              <a:chOff x="1804054" y="3339736"/>
              <a:chExt cx="1197377" cy="678259"/>
            </a:xfrm>
          </p:grpSpPr>
          <p:sp>
            <p:nvSpPr>
              <p:cNvPr id="787" name="Freeform 786"/>
              <p:cNvSpPr>
                <a:spLocks/>
              </p:cNvSpPr>
              <p:nvPr/>
            </p:nvSpPr>
            <p:spPr bwMode="auto">
              <a:xfrm>
                <a:off x="1804054" y="3957257"/>
                <a:ext cx="55048" cy="40492"/>
              </a:xfrm>
              <a:custGeom>
                <a:avLst/>
                <a:gdLst>
                  <a:gd name="T0" fmla="*/ 131 w 131"/>
                  <a:gd name="T1" fmla="*/ 37 h 97"/>
                  <a:gd name="T2" fmla="*/ 123 w 131"/>
                  <a:gd name="T3" fmla="*/ 23 h 97"/>
                  <a:gd name="T4" fmla="*/ 118 w 131"/>
                  <a:gd name="T5" fmla="*/ 12 h 97"/>
                  <a:gd name="T6" fmla="*/ 37 w 131"/>
                  <a:gd name="T7" fmla="*/ 0 h 97"/>
                  <a:gd name="T8" fmla="*/ 0 w 131"/>
                  <a:gd name="T9" fmla="*/ 73 h 97"/>
                  <a:gd name="T10" fmla="*/ 7 w 131"/>
                  <a:gd name="T11" fmla="*/ 83 h 97"/>
                  <a:gd name="T12" fmla="*/ 13 w 131"/>
                  <a:gd name="T13" fmla="*/ 97 h 97"/>
                  <a:gd name="T14" fmla="*/ 50 w 131"/>
                  <a:gd name="T15" fmla="*/ 24 h 97"/>
                  <a:gd name="T16" fmla="*/ 131 w 131"/>
                  <a:gd name="T17" fmla="*/ 3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97">
                    <a:moveTo>
                      <a:pt x="131" y="37"/>
                    </a:moveTo>
                    <a:lnTo>
                      <a:pt x="123" y="23"/>
                    </a:lnTo>
                    <a:lnTo>
                      <a:pt x="118" y="12"/>
                    </a:lnTo>
                    <a:lnTo>
                      <a:pt x="37" y="0"/>
                    </a:lnTo>
                    <a:lnTo>
                      <a:pt x="0" y="73"/>
                    </a:lnTo>
                    <a:lnTo>
                      <a:pt x="7" y="83"/>
                    </a:lnTo>
                    <a:lnTo>
                      <a:pt x="13" y="97"/>
                    </a:lnTo>
                    <a:lnTo>
                      <a:pt x="50" y="24"/>
                    </a:lnTo>
                    <a:lnTo>
                      <a:pt x="131" y="37"/>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88" name="Freeform 787"/>
              <p:cNvSpPr>
                <a:spLocks/>
              </p:cNvSpPr>
              <p:nvPr/>
            </p:nvSpPr>
            <p:spPr bwMode="auto">
              <a:xfrm>
                <a:off x="1814374" y="3977503"/>
                <a:ext cx="56770" cy="40492"/>
              </a:xfrm>
              <a:custGeom>
                <a:avLst/>
                <a:gdLst>
                  <a:gd name="T0" fmla="*/ 49 w 130"/>
                  <a:gd name="T1" fmla="*/ 25 h 97"/>
                  <a:gd name="T2" fmla="*/ 130 w 130"/>
                  <a:gd name="T3" fmla="*/ 36 h 97"/>
                  <a:gd name="T4" fmla="*/ 122 w 130"/>
                  <a:gd name="T5" fmla="*/ 22 h 97"/>
                  <a:gd name="T6" fmla="*/ 117 w 130"/>
                  <a:gd name="T7" fmla="*/ 12 h 97"/>
                  <a:gd name="T8" fmla="*/ 36 w 130"/>
                  <a:gd name="T9" fmla="*/ 0 h 97"/>
                  <a:gd name="T10" fmla="*/ 0 w 130"/>
                  <a:gd name="T11" fmla="*/ 73 h 97"/>
                  <a:gd name="T12" fmla="*/ 6 w 130"/>
                  <a:gd name="T13" fmla="*/ 84 h 97"/>
                  <a:gd name="T14" fmla="*/ 12 w 130"/>
                  <a:gd name="T15" fmla="*/ 97 h 97"/>
                  <a:gd name="T16" fmla="*/ 49 w 130"/>
                  <a:gd name="T17" fmla="*/ 2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97">
                    <a:moveTo>
                      <a:pt x="49" y="25"/>
                    </a:moveTo>
                    <a:lnTo>
                      <a:pt x="130" y="36"/>
                    </a:lnTo>
                    <a:lnTo>
                      <a:pt x="122" y="22"/>
                    </a:lnTo>
                    <a:lnTo>
                      <a:pt x="117" y="12"/>
                    </a:lnTo>
                    <a:lnTo>
                      <a:pt x="36" y="0"/>
                    </a:lnTo>
                    <a:lnTo>
                      <a:pt x="0" y="73"/>
                    </a:lnTo>
                    <a:lnTo>
                      <a:pt x="6" y="84"/>
                    </a:lnTo>
                    <a:lnTo>
                      <a:pt x="12" y="97"/>
                    </a:lnTo>
                    <a:lnTo>
                      <a:pt x="49" y="25"/>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89" name="Freeform 788"/>
              <p:cNvSpPr>
                <a:spLocks noEditPoints="1"/>
              </p:cNvSpPr>
              <p:nvPr/>
            </p:nvSpPr>
            <p:spPr bwMode="auto">
              <a:xfrm>
                <a:off x="1872863" y="3791907"/>
                <a:ext cx="251159" cy="205844"/>
              </a:xfrm>
              <a:custGeom>
                <a:avLst/>
                <a:gdLst>
                  <a:gd name="T0" fmla="*/ 7 w 584"/>
                  <a:gd name="T1" fmla="*/ 280 h 489"/>
                  <a:gd name="T2" fmla="*/ 99 w 584"/>
                  <a:gd name="T3" fmla="*/ 458 h 489"/>
                  <a:gd name="T4" fmla="*/ 99 w 584"/>
                  <a:gd name="T5" fmla="*/ 458 h 489"/>
                  <a:gd name="T6" fmla="*/ 105 w 584"/>
                  <a:gd name="T7" fmla="*/ 467 h 489"/>
                  <a:gd name="T8" fmla="*/ 111 w 584"/>
                  <a:gd name="T9" fmla="*/ 474 h 489"/>
                  <a:gd name="T10" fmla="*/ 119 w 584"/>
                  <a:gd name="T11" fmla="*/ 480 h 489"/>
                  <a:gd name="T12" fmla="*/ 128 w 584"/>
                  <a:gd name="T13" fmla="*/ 485 h 489"/>
                  <a:gd name="T14" fmla="*/ 128 w 584"/>
                  <a:gd name="T15" fmla="*/ 485 h 489"/>
                  <a:gd name="T16" fmla="*/ 139 w 584"/>
                  <a:gd name="T17" fmla="*/ 488 h 489"/>
                  <a:gd name="T18" fmla="*/ 151 w 584"/>
                  <a:gd name="T19" fmla="*/ 489 h 489"/>
                  <a:gd name="T20" fmla="*/ 163 w 584"/>
                  <a:gd name="T21" fmla="*/ 488 h 489"/>
                  <a:gd name="T22" fmla="*/ 175 w 584"/>
                  <a:gd name="T23" fmla="*/ 485 h 489"/>
                  <a:gd name="T24" fmla="*/ 175 w 584"/>
                  <a:gd name="T25" fmla="*/ 485 h 489"/>
                  <a:gd name="T26" fmla="*/ 178 w 584"/>
                  <a:gd name="T27" fmla="*/ 483 h 489"/>
                  <a:gd name="T28" fmla="*/ 553 w 584"/>
                  <a:gd name="T29" fmla="*/ 289 h 489"/>
                  <a:gd name="T30" fmla="*/ 553 w 584"/>
                  <a:gd name="T31" fmla="*/ 289 h 489"/>
                  <a:gd name="T32" fmla="*/ 563 w 584"/>
                  <a:gd name="T33" fmla="*/ 282 h 489"/>
                  <a:gd name="T34" fmla="*/ 571 w 584"/>
                  <a:gd name="T35" fmla="*/ 275 h 489"/>
                  <a:gd name="T36" fmla="*/ 578 w 584"/>
                  <a:gd name="T37" fmla="*/ 265 h 489"/>
                  <a:gd name="T38" fmla="*/ 582 w 584"/>
                  <a:gd name="T39" fmla="*/ 255 h 489"/>
                  <a:gd name="T40" fmla="*/ 584 w 584"/>
                  <a:gd name="T41" fmla="*/ 244 h 489"/>
                  <a:gd name="T42" fmla="*/ 584 w 584"/>
                  <a:gd name="T43" fmla="*/ 232 h 489"/>
                  <a:gd name="T44" fmla="*/ 582 w 584"/>
                  <a:gd name="T45" fmla="*/ 222 h 489"/>
                  <a:gd name="T46" fmla="*/ 578 w 584"/>
                  <a:gd name="T47" fmla="*/ 211 h 489"/>
                  <a:gd name="T48" fmla="*/ 485 w 584"/>
                  <a:gd name="T49" fmla="*/ 32 h 489"/>
                  <a:gd name="T50" fmla="*/ 485 w 584"/>
                  <a:gd name="T51" fmla="*/ 32 h 489"/>
                  <a:gd name="T52" fmla="*/ 479 w 584"/>
                  <a:gd name="T53" fmla="*/ 22 h 489"/>
                  <a:gd name="T54" fmla="*/ 471 w 584"/>
                  <a:gd name="T55" fmla="*/ 13 h 489"/>
                  <a:gd name="T56" fmla="*/ 461 w 584"/>
                  <a:gd name="T57" fmla="*/ 7 h 489"/>
                  <a:gd name="T58" fmla="*/ 452 w 584"/>
                  <a:gd name="T59" fmla="*/ 2 h 489"/>
                  <a:gd name="T60" fmla="*/ 441 w 584"/>
                  <a:gd name="T61" fmla="*/ 0 h 489"/>
                  <a:gd name="T62" fmla="*/ 429 w 584"/>
                  <a:gd name="T63" fmla="*/ 0 h 489"/>
                  <a:gd name="T64" fmla="*/ 418 w 584"/>
                  <a:gd name="T65" fmla="*/ 2 h 489"/>
                  <a:gd name="T66" fmla="*/ 407 w 584"/>
                  <a:gd name="T67" fmla="*/ 7 h 489"/>
                  <a:gd name="T68" fmla="*/ 31 w 584"/>
                  <a:gd name="T69" fmla="*/ 201 h 489"/>
                  <a:gd name="T70" fmla="*/ 31 w 584"/>
                  <a:gd name="T71" fmla="*/ 201 h 489"/>
                  <a:gd name="T72" fmla="*/ 22 w 584"/>
                  <a:gd name="T73" fmla="*/ 208 h 489"/>
                  <a:gd name="T74" fmla="*/ 14 w 584"/>
                  <a:gd name="T75" fmla="*/ 215 h 489"/>
                  <a:gd name="T76" fmla="*/ 8 w 584"/>
                  <a:gd name="T77" fmla="*/ 225 h 489"/>
                  <a:gd name="T78" fmla="*/ 3 w 584"/>
                  <a:gd name="T79" fmla="*/ 235 h 489"/>
                  <a:gd name="T80" fmla="*/ 1 w 584"/>
                  <a:gd name="T81" fmla="*/ 246 h 489"/>
                  <a:gd name="T82" fmla="*/ 0 w 584"/>
                  <a:gd name="T83" fmla="*/ 257 h 489"/>
                  <a:gd name="T84" fmla="*/ 2 w 584"/>
                  <a:gd name="T85" fmla="*/ 268 h 489"/>
                  <a:gd name="T86" fmla="*/ 7 w 584"/>
                  <a:gd name="T87" fmla="*/ 280 h 489"/>
                  <a:gd name="T88" fmla="*/ 7 w 584"/>
                  <a:gd name="T89" fmla="*/ 280 h 489"/>
                  <a:gd name="T90" fmla="*/ 403 w 584"/>
                  <a:gd name="T91" fmla="*/ 41 h 489"/>
                  <a:gd name="T92" fmla="*/ 523 w 584"/>
                  <a:gd name="T93" fmla="*/ 272 h 489"/>
                  <a:gd name="T94" fmla="*/ 184 w 584"/>
                  <a:gd name="T95" fmla="*/ 448 h 489"/>
                  <a:gd name="T96" fmla="*/ 64 w 584"/>
                  <a:gd name="T97" fmla="*/ 217 h 489"/>
                  <a:gd name="T98" fmla="*/ 403 w 584"/>
                  <a:gd name="T99" fmla="*/ 41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4" h="489">
                    <a:moveTo>
                      <a:pt x="7" y="280"/>
                    </a:moveTo>
                    <a:lnTo>
                      <a:pt x="99" y="458"/>
                    </a:lnTo>
                    <a:lnTo>
                      <a:pt x="99" y="458"/>
                    </a:lnTo>
                    <a:lnTo>
                      <a:pt x="105" y="467"/>
                    </a:lnTo>
                    <a:lnTo>
                      <a:pt x="111" y="474"/>
                    </a:lnTo>
                    <a:lnTo>
                      <a:pt x="119" y="480"/>
                    </a:lnTo>
                    <a:lnTo>
                      <a:pt x="128" y="485"/>
                    </a:lnTo>
                    <a:lnTo>
                      <a:pt x="128" y="485"/>
                    </a:lnTo>
                    <a:lnTo>
                      <a:pt x="139" y="488"/>
                    </a:lnTo>
                    <a:lnTo>
                      <a:pt x="151" y="489"/>
                    </a:lnTo>
                    <a:lnTo>
                      <a:pt x="163" y="488"/>
                    </a:lnTo>
                    <a:lnTo>
                      <a:pt x="175" y="485"/>
                    </a:lnTo>
                    <a:lnTo>
                      <a:pt x="175" y="485"/>
                    </a:lnTo>
                    <a:lnTo>
                      <a:pt x="178" y="483"/>
                    </a:lnTo>
                    <a:lnTo>
                      <a:pt x="553" y="289"/>
                    </a:lnTo>
                    <a:lnTo>
                      <a:pt x="553" y="289"/>
                    </a:lnTo>
                    <a:lnTo>
                      <a:pt x="563" y="282"/>
                    </a:lnTo>
                    <a:lnTo>
                      <a:pt x="571" y="275"/>
                    </a:lnTo>
                    <a:lnTo>
                      <a:pt x="578" y="265"/>
                    </a:lnTo>
                    <a:lnTo>
                      <a:pt x="582" y="255"/>
                    </a:lnTo>
                    <a:lnTo>
                      <a:pt x="584" y="244"/>
                    </a:lnTo>
                    <a:lnTo>
                      <a:pt x="584" y="232"/>
                    </a:lnTo>
                    <a:lnTo>
                      <a:pt x="582" y="222"/>
                    </a:lnTo>
                    <a:lnTo>
                      <a:pt x="578" y="211"/>
                    </a:lnTo>
                    <a:lnTo>
                      <a:pt x="485" y="32"/>
                    </a:lnTo>
                    <a:lnTo>
                      <a:pt x="485" y="32"/>
                    </a:lnTo>
                    <a:lnTo>
                      <a:pt x="479" y="22"/>
                    </a:lnTo>
                    <a:lnTo>
                      <a:pt x="471" y="13"/>
                    </a:lnTo>
                    <a:lnTo>
                      <a:pt x="461" y="7"/>
                    </a:lnTo>
                    <a:lnTo>
                      <a:pt x="452" y="2"/>
                    </a:lnTo>
                    <a:lnTo>
                      <a:pt x="441" y="0"/>
                    </a:lnTo>
                    <a:lnTo>
                      <a:pt x="429" y="0"/>
                    </a:lnTo>
                    <a:lnTo>
                      <a:pt x="418" y="2"/>
                    </a:lnTo>
                    <a:lnTo>
                      <a:pt x="407" y="7"/>
                    </a:lnTo>
                    <a:lnTo>
                      <a:pt x="31" y="201"/>
                    </a:lnTo>
                    <a:lnTo>
                      <a:pt x="31" y="201"/>
                    </a:lnTo>
                    <a:lnTo>
                      <a:pt x="22" y="208"/>
                    </a:lnTo>
                    <a:lnTo>
                      <a:pt x="14" y="215"/>
                    </a:lnTo>
                    <a:lnTo>
                      <a:pt x="8" y="225"/>
                    </a:lnTo>
                    <a:lnTo>
                      <a:pt x="3" y="235"/>
                    </a:lnTo>
                    <a:lnTo>
                      <a:pt x="1" y="246"/>
                    </a:lnTo>
                    <a:lnTo>
                      <a:pt x="0" y="257"/>
                    </a:lnTo>
                    <a:lnTo>
                      <a:pt x="2" y="268"/>
                    </a:lnTo>
                    <a:lnTo>
                      <a:pt x="7" y="280"/>
                    </a:lnTo>
                    <a:lnTo>
                      <a:pt x="7" y="280"/>
                    </a:lnTo>
                    <a:close/>
                    <a:moveTo>
                      <a:pt x="403" y="41"/>
                    </a:moveTo>
                    <a:lnTo>
                      <a:pt x="523" y="272"/>
                    </a:lnTo>
                    <a:lnTo>
                      <a:pt x="184" y="448"/>
                    </a:lnTo>
                    <a:lnTo>
                      <a:pt x="64" y="217"/>
                    </a:lnTo>
                    <a:lnTo>
                      <a:pt x="403" y="41"/>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90" name="Freeform 789"/>
              <p:cNvSpPr>
                <a:spLocks/>
              </p:cNvSpPr>
              <p:nvPr/>
            </p:nvSpPr>
            <p:spPr bwMode="auto">
              <a:xfrm>
                <a:off x="1931444" y="3876322"/>
                <a:ext cx="104936" cy="60740"/>
              </a:xfrm>
              <a:custGeom>
                <a:avLst/>
                <a:gdLst>
                  <a:gd name="T0" fmla="*/ 231 w 243"/>
                  <a:gd name="T1" fmla="*/ 0 h 144"/>
                  <a:gd name="T2" fmla="*/ 243 w 243"/>
                  <a:gd name="T3" fmla="*/ 24 h 144"/>
                  <a:gd name="T4" fmla="*/ 12 w 243"/>
                  <a:gd name="T5" fmla="*/ 144 h 144"/>
                  <a:gd name="T6" fmla="*/ 0 w 243"/>
                  <a:gd name="T7" fmla="*/ 120 h 144"/>
                  <a:gd name="T8" fmla="*/ 231 w 243"/>
                  <a:gd name="T9" fmla="*/ 0 h 144"/>
                </a:gdLst>
                <a:ahLst/>
                <a:cxnLst>
                  <a:cxn ang="0">
                    <a:pos x="T0" y="T1"/>
                  </a:cxn>
                  <a:cxn ang="0">
                    <a:pos x="T2" y="T3"/>
                  </a:cxn>
                  <a:cxn ang="0">
                    <a:pos x="T4" y="T5"/>
                  </a:cxn>
                  <a:cxn ang="0">
                    <a:pos x="T6" y="T7"/>
                  </a:cxn>
                  <a:cxn ang="0">
                    <a:pos x="T8" y="T9"/>
                  </a:cxn>
                </a:cxnLst>
                <a:rect l="0" t="0" r="r" b="b"/>
                <a:pathLst>
                  <a:path w="243" h="144">
                    <a:moveTo>
                      <a:pt x="231" y="0"/>
                    </a:moveTo>
                    <a:lnTo>
                      <a:pt x="243" y="24"/>
                    </a:lnTo>
                    <a:lnTo>
                      <a:pt x="12" y="144"/>
                    </a:lnTo>
                    <a:lnTo>
                      <a:pt x="0" y="120"/>
                    </a:lnTo>
                    <a:lnTo>
                      <a:pt x="231" y="0"/>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91" name="Freeform 790"/>
              <p:cNvSpPr>
                <a:spLocks/>
              </p:cNvSpPr>
              <p:nvPr/>
            </p:nvSpPr>
            <p:spPr bwMode="auto">
              <a:xfrm>
                <a:off x="2017446" y="3339736"/>
                <a:ext cx="983985" cy="575341"/>
              </a:xfrm>
              <a:custGeom>
                <a:avLst/>
                <a:gdLst>
                  <a:gd name="T0" fmla="*/ 66 w 2291"/>
                  <a:gd name="T1" fmla="*/ 1127 h 1363"/>
                  <a:gd name="T2" fmla="*/ 66 w 2291"/>
                  <a:gd name="T3" fmla="*/ 1127 h 1363"/>
                  <a:gd name="T4" fmla="*/ 56 w 2291"/>
                  <a:gd name="T5" fmla="*/ 1134 h 1363"/>
                  <a:gd name="T6" fmla="*/ 46 w 2291"/>
                  <a:gd name="T7" fmla="*/ 1141 h 1363"/>
                  <a:gd name="T8" fmla="*/ 37 w 2291"/>
                  <a:gd name="T9" fmla="*/ 1150 h 1363"/>
                  <a:gd name="T10" fmla="*/ 29 w 2291"/>
                  <a:gd name="T11" fmla="*/ 1158 h 1363"/>
                  <a:gd name="T12" fmla="*/ 21 w 2291"/>
                  <a:gd name="T13" fmla="*/ 1168 h 1363"/>
                  <a:gd name="T14" fmla="*/ 16 w 2291"/>
                  <a:gd name="T15" fmla="*/ 1179 h 1363"/>
                  <a:gd name="T16" fmla="*/ 10 w 2291"/>
                  <a:gd name="T17" fmla="*/ 1190 h 1363"/>
                  <a:gd name="T18" fmla="*/ 6 w 2291"/>
                  <a:gd name="T19" fmla="*/ 1201 h 1363"/>
                  <a:gd name="T20" fmla="*/ 4 w 2291"/>
                  <a:gd name="T21" fmla="*/ 1212 h 1363"/>
                  <a:gd name="T22" fmla="*/ 2 w 2291"/>
                  <a:gd name="T23" fmla="*/ 1224 h 1363"/>
                  <a:gd name="T24" fmla="*/ 0 w 2291"/>
                  <a:gd name="T25" fmla="*/ 1236 h 1363"/>
                  <a:gd name="T26" fmla="*/ 2 w 2291"/>
                  <a:gd name="T27" fmla="*/ 1249 h 1363"/>
                  <a:gd name="T28" fmla="*/ 3 w 2291"/>
                  <a:gd name="T29" fmla="*/ 1261 h 1363"/>
                  <a:gd name="T30" fmla="*/ 6 w 2291"/>
                  <a:gd name="T31" fmla="*/ 1273 h 1363"/>
                  <a:gd name="T32" fmla="*/ 10 w 2291"/>
                  <a:gd name="T33" fmla="*/ 1285 h 1363"/>
                  <a:gd name="T34" fmla="*/ 16 w 2291"/>
                  <a:gd name="T35" fmla="*/ 1297 h 1363"/>
                  <a:gd name="T36" fmla="*/ 16 w 2291"/>
                  <a:gd name="T37" fmla="*/ 1297 h 1363"/>
                  <a:gd name="T38" fmla="*/ 22 w 2291"/>
                  <a:gd name="T39" fmla="*/ 1308 h 1363"/>
                  <a:gd name="T40" fmla="*/ 30 w 2291"/>
                  <a:gd name="T41" fmla="*/ 1317 h 1363"/>
                  <a:gd name="T42" fmla="*/ 38 w 2291"/>
                  <a:gd name="T43" fmla="*/ 1327 h 1363"/>
                  <a:gd name="T44" fmla="*/ 47 w 2291"/>
                  <a:gd name="T45" fmla="*/ 1335 h 1363"/>
                  <a:gd name="T46" fmla="*/ 57 w 2291"/>
                  <a:gd name="T47" fmla="*/ 1342 h 1363"/>
                  <a:gd name="T48" fmla="*/ 67 w 2291"/>
                  <a:gd name="T49" fmla="*/ 1347 h 1363"/>
                  <a:gd name="T50" fmla="*/ 78 w 2291"/>
                  <a:gd name="T51" fmla="*/ 1353 h 1363"/>
                  <a:gd name="T52" fmla="*/ 90 w 2291"/>
                  <a:gd name="T53" fmla="*/ 1357 h 1363"/>
                  <a:gd name="T54" fmla="*/ 101 w 2291"/>
                  <a:gd name="T55" fmla="*/ 1359 h 1363"/>
                  <a:gd name="T56" fmla="*/ 113 w 2291"/>
                  <a:gd name="T57" fmla="*/ 1362 h 1363"/>
                  <a:gd name="T58" fmla="*/ 125 w 2291"/>
                  <a:gd name="T59" fmla="*/ 1363 h 1363"/>
                  <a:gd name="T60" fmla="*/ 138 w 2291"/>
                  <a:gd name="T61" fmla="*/ 1362 h 1363"/>
                  <a:gd name="T62" fmla="*/ 150 w 2291"/>
                  <a:gd name="T63" fmla="*/ 1360 h 1363"/>
                  <a:gd name="T64" fmla="*/ 161 w 2291"/>
                  <a:gd name="T65" fmla="*/ 1357 h 1363"/>
                  <a:gd name="T66" fmla="*/ 173 w 2291"/>
                  <a:gd name="T67" fmla="*/ 1353 h 1363"/>
                  <a:gd name="T68" fmla="*/ 185 w 2291"/>
                  <a:gd name="T69" fmla="*/ 1347 h 1363"/>
                  <a:gd name="T70" fmla="*/ 2291 w 2291"/>
                  <a:gd name="T71" fmla="*/ 220 h 1363"/>
                  <a:gd name="T72" fmla="*/ 2173 w 2291"/>
                  <a:gd name="T73" fmla="*/ 0 h 1363"/>
                  <a:gd name="T74" fmla="*/ 66 w 2291"/>
                  <a:gd name="T75" fmla="*/ 1127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91" h="1363">
                    <a:moveTo>
                      <a:pt x="66" y="1127"/>
                    </a:moveTo>
                    <a:lnTo>
                      <a:pt x="66" y="1127"/>
                    </a:lnTo>
                    <a:lnTo>
                      <a:pt x="56" y="1134"/>
                    </a:lnTo>
                    <a:lnTo>
                      <a:pt x="46" y="1141"/>
                    </a:lnTo>
                    <a:lnTo>
                      <a:pt x="37" y="1150"/>
                    </a:lnTo>
                    <a:lnTo>
                      <a:pt x="29" y="1158"/>
                    </a:lnTo>
                    <a:lnTo>
                      <a:pt x="21" y="1168"/>
                    </a:lnTo>
                    <a:lnTo>
                      <a:pt x="16" y="1179"/>
                    </a:lnTo>
                    <a:lnTo>
                      <a:pt x="10" y="1190"/>
                    </a:lnTo>
                    <a:lnTo>
                      <a:pt x="6" y="1201"/>
                    </a:lnTo>
                    <a:lnTo>
                      <a:pt x="4" y="1212"/>
                    </a:lnTo>
                    <a:lnTo>
                      <a:pt x="2" y="1224"/>
                    </a:lnTo>
                    <a:lnTo>
                      <a:pt x="0" y="1236"/>
                    </a:lnTo>
                    <a:lnTo>
                      <a:pt x="2" y="1249"/>
                    </a:lnTo>
                    <a:lnTo>
                      <a:pt x="3" y="1261"/>
                    </a:lnTo>
                    <a:lnTo>
                      <a:pt x="6" y="1273"/>
                    </a:lnTo>
                    <a:lnTo>
                      <a:pt x="10" y="1285"/>
                    </a:lnTo>
                    <a:lnTo>
                      <a:pt x="16" y="1297"/>
                    </a:lnTo>
                    <a:lnTo>
                      <a:pt x="16" y="1297"/>
                    </a:lnTo>
                    <a:lnTo>
                      <a:pt x="22" y="1308"/>
                    </a:lnTo>
                    <a:lnTo>
                      <a:pt x="30" y="1317"/>
                    </a:lnTo>
                    <a:lnTo>
                      <a:pt x="38" y="1327"/>
                    </a:lnTo>
                    <a:lnTo>
                      <a:pt x="47" y="1335"/>
                    </a:lnTo>
                    <a:lnTo>
                      <a:pt x="57" y="1342"/>
                    </a:lnTo>
                    <a:lnTo>
                      <a:pt x="67" y="1347"/>
                    </a:lnTo>
                    <a:lnTo>
                      <a:pt x="78" y="1353"/>
                    </a:lnTo>
                    <a:lnTo>
                      <a:pt x="90" y="1357"/>
                    </a:lnTo>
                    <a:lnTo>
                      <a:pt x="101" y="1359"/>
                    </a:lnTo>
                    <a:lnTo>
                      <a:pt x="113" y="1362"/>
                    </a:lnTo>
                    <a:lnTo>
                      <a:pt x="125" y="1363"/>
                    </a:lnTo>
                    <a:lnTo>
                      <a:pt x="138" y="1362"/>
                    </a:lnTo>
                    <a:lnTo>
                      <a:pt x="150" y="1360"/>
                    </a:lnTo>
                    <a:lnTo>
                      <a:pt x="161" y="1357"/>
                    </a:lnTo>
                    <a:lnTo>
                      <a:pt x="173" y="1353"/>
                    </a:lnTo>
                    <a:lnTo>
                      <a:pt x="185" y="1347"/>
                    </a:lnTo>
                    <a:lnTo>
                      <a:pt x="2291" y="220"/>
                    </a:lnTo>
                    <a:lnTo>
                      <a:pt x="2173" y="0"/>
                    </a:lnTo>
                    <a:lnTo>
                      <a:pt x="66" y="1127"/>
                    </a:lnTo>
                    <a:close/>
                  </a:path>
                </a:pathLst>
              </a:custGeom>
              <a:solidFill>
                <a:sysClr val="window" lastClr="FFFFFF">
                  <a:lumMod val="7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92" name="Freeform 791"/>
              <p:cNvSpPr>
                <a:spLocks/>
              </p:cNvSpPr>
              <p:nvPr/>
            </p:nvSpPr>
            <p:spPr bwMode="auto">
              <a:xfrm>
                <a:off x="2165387" y="3773351"/>
                <a:ext cx="36125" cy="59052"/>
              </a:xfrm>
              <a:custGeom>
                <a:avLst/>
                <a:gdLst>
                  <a:gd name="T0" fmla="*/ 69 w 84"/>
                  <a:gd name="T1" fmla="*/ 138 h 138"/>
                  <a:gd name="T2" fmla="*/ 84 w 84"/>
                  <a:gd name="T3" fmla="*/ 131 h 138"/>
                  <a:gd name="T4" fmla="*/ 15 w 84"/>
                  <a:gd name="T5" fmla="*/ 0 h 138"/>
                  <a:gd name="T6" fmla="*/ 0 w 84"/>
                  <a:gd name="T7" fmla="*/ 8 h 138"/>
                  <a:gd name="T8" fmla="*/ 69 w 84"/>
                  <a:gd name="T9" fmla="*/ 138 h 138"/>
                </a:gdLst>
                <a:ahLst/>
                <a:cxnLst>
                  <a:cxn ang="0">
                    <a:pos x="T0" y="T1"/>
                  </a:cxn>
                  <a:cxn ang="0">
                    <a:pos x="T2" y="T3"/>
                  </a:cxn>
                  <a:cxn ang="0">
                    <a:pos x="T4" y="T5"/>
                  </a:cxn>
                  <a:cxn ang="0">
                    <a:pos x="T6" y="T7"/>
                  </a:cxn>
                  <a:cxn ang="0">
                    <a:pos x="T8" y="T9"/>
                  </a:cxn>
                </a:cxnLst>
                <a:rect l="0" t="0" r="r" b="b"/>
                <a:pathLst>
                  <a:path w="84" h="138">
                    <a:moveTo>
                      <a:pt x="69" y="138"/>
                    </a:moveTo>
                    <a:lnTo>
                      <a:pt x="84" y="131"/>
                    </a:lnTo>
                    <a:lnTo>
                      <a:pt x="15" y="0"/>
                    </a:lnTo>
                    <a:lnTo>
                      <a:pt x="0" y="8"/>
                    </a:lnTo>
                    <a:lnTo>
                      <a:pt x="69" y="138"/>
                    </a:lnTo>
                    <a:close/>
                  </a:path>
                </a:pathLst>
              </a:custGeom>
              <a:solidFill>
                <a:srgbClr val="E5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93" name="Freeform 792"/>
              <p:cNvSpPr>
                <a:spLocks/>
              </p:cNvSpPr>
              <p:nvPr/>
            </p:nvSpPr>
            <p:spPr bwMode="auto">
              <a:xfrm>
                <a:off x="2210114" y="3749728"/>
                <a:ext cx="37846" cy="59052"/>
              </a:xfrm>
              <a:custGeom>
                <a:avLst/>
                <a:gdLst>
                  <a:gd name="T0" fmla="*/ 85 w 85"/>
                  <a:gd name="T1" fmla="*/ 130 h 138"/>
                  <a:gd name="T2" fmla="*/ 15 w 85"/>
                  <a:gd name="T3" fmla="*/ 0 h 138"/>
                  <a:gd name="T4" fmla="*/ 0 w 85"/>
                  <a:gd name="T5" fmla="*/ 7 h 138"/>
                  <a:gd name="T6" fmla="*/ 70 w 85"/>
                  <a:gd name="T7" fmla="*/ 138 h 138"/>
                  <a:gd name="T8" fmla="*/ 85 w 85"/>
                  <a:gd name="T9" fmla="*/ 130 h 138"/>
                </a:gdLst>
                <a:ahLst/>
                <a:cxnLst>
                  <a:cxn ang="0">
                    <a:pos x="T0" y="T1"/>
                  </a:cxn>
                  <a:cxn ang="0">
                    <a:pos x="T2" y="T3"/>
                  </a:cxn>
                  <a:cxn ang="0">
                    <a:pos x="T4" y="T5"/>
                  </a:cxn>
                  <a:cxn ang="0">
                    <a:pos x="T6" y="T7"/>
                  </a:cxn>
                  <a:cxn ang="0">
                    <a:pos x="T8" y="T9"/>
                  </a:cxn>
                </a:cxnLst>
                <a:rect l="0" t="0" r="r" b="b"/>
                <a:pathLst>
                  <a:path w="85" h="138">
                    <a:moveTo>
                      <a:pt x="85" y="130"/>
                    </a:moveTo>
                    <a:lnTo>
                      <a:pt x="15" y="0"/>
                    </a:lnTo>
                    <a:lnTo>
                      <a:pt x="0" y="7"/>
                    </a:lnTo>
                    <a:lnTo>
                      <a:pt x="70" y="138"/>
                    </a:lnTo>
                    <a:lnTo>
                      <a:pt x="85" y="130"/>
                    </a:lnTo>
                    <a:close/>
                  </a:path>
                </a:pathLst>
              </a:custGeom>
              <a:solidFill>
                <a:srgbClr val="E5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94" name="Freeform 793"/>
              <p:cNvSpPr>
                <a:spLocks/>
              </p:cNvSpPr>
              <p:nvPr/>
            </p:nvSpPr>
            <p:spPr bwMode="auto">
              <a:xfrm>
                <a:off x="2256561" y="3726108"/>
                <a:ext cx="36125" cy="59052"/>
              </a:xfrm>
              <a:custGeom>
                <a:avLst/>
                <a:gdLst>
                  <a:gd name="T0" fmla="*/ 85 w 85"/>
                  <a:gd name="T1" fmla="*/ 130 h 139"/>
                  <a:gd name="T2" fmla="*/ 15 w 85"/>
                  <a:gd name="T3" fmla="*/ 0 h 139"/>
                  <a:gd name="T4" fmla="*/ 0 w 85"/>
                  <a:gd name="T5" fmla="*/ 8 h 139"/>
                  <a:gd name="T6" fmla="*/ 70 w 85"/>
                  <a:gd name="T7" fmla="*/ 139 h 139"/>
                  <a:gd name="T8" fmla="*/ 85 w 85"/>
                  <a:gd name="T9" fmla="*/ 130 h 139"/>
                </a:gdLst>
                <a:ahLst/>
                <a:cxnLst>
                  <a:cxn ang="0">
                    <a:pos x="T0" y="T1"/>
                  </a:cxn>
                  <a:cxn ang="0">
                    <a:pos x="T2" y="T3"/>
                  </a:cxn>
                  <a:cxn ang="0">
                    <a:pos x="T4" y="T5"/>
                  </a:cxn>
                  <a:cxn ang="0">
                    <a:pos x="T6" y="T7"/>
                  </a:cxn>
                  <a:cxn ang="0">
                    <a:pos x="T8" y="T9"/>
                  </a:cxn>
                </a:cxnLst>
                <a:rect l="0" t="0" r="r" b="b"/>
                <a:pathLst>
                  <a:path w="85" h="139">
                    <a:moveTo>
                      <a:pt x="85" y="130"/>
                    </a:moveTo>
                    <a:lnTo>
                      <a:pt x="15" y="0"/>
                    </a:lnTo>
                    <a:lnTo>
                      <a:pt x="0" y="8"/>
                    </a:lnTo>
                    <a:lnTo>
                      <a:pt x="70" y="139"/>
                    </a:lnTo>
                    <a:lnTo>
                      <a:pt x="85" y="130"/>
                    </a:lnTo>
                    <a:close/>
                  </a:path>
                </a:pathLst>
              </a:custGeom>
              <a:solidFill>
                <a:srgbClr val="E5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95" name="Freeform 794"/>
              <p:cNvSpPr>
                <a:spLocks/>
              </p:cNvSpPr>
              <p:nvPr/>
            </p:nvSpPr>
            <p:spPr bwMode="auto">
              <a:xfrm>
                <a:off x="2301287" y="3702487"/>
                <a:ext cx="37846" cy="59052"/>
              </a:xfrm>
              <a:custGeom>
                <a:avLst/>
                <a:gdLst>
                  <a:gd name="T0" fmla="*/ 85 w 85"/>
                  <a:gd name="T1" fmla="*/ 131 h 140"/>
                  <a:gd name="T2" fmla="*/ 15 w 85"/>
                  <a:gd name="T3" fmla="*/ 0 h 140"/>
                  <a:gd name="T4" fmla="*/ 0 w 85"/>
                  <a:gd name="T5" fmla="*/ 9 h 140"/>
                  <a:gd name="T6" fmla="*/ 70 w 85"/>
                  <a:gd name="T7" fmla="*/ 140 h 140"/>
                  <a:gd name="T8" fmla="*/ 85 w 85"/>
                  <a:gd name="T9" fmla="*/ 131 h 140"/>
                </a:gdLst>
                <a:ahLst/>
                <a:cxnLst>
                  <a:cxn ang="0">
                    <a:pos x="T0" y="T1"/>
                  </a:cxn>
                  <a:cxn ang="0">
                    <a:pos x="T2" y="T3"/>
                  </a:cxn>
                  <a:cxn ang="0">
                    <a:pos x="T4" y="T5"/>
                  </a:cxn>
                  <a:cxn ang="0">
                    <a:pos x="T6" y="T7"/>
                  </a:cxn>
                  <a:cxn ang="0">
                    <a:pos x="T8" y="T9"/>
                  </a:cxn>
                </a:cxnLst>
                <a:rect l="0" t="0" r="r" b="b"/>
                <a:pathLst>
                  <a:path w="85" h="140">
                    <a:moveTo>
                      <a:pt x="85" y="131"/>
                    </a:moveTo>
                    <a:lnTo>
                      <a:pt x="15" y="0"/>
                    </a:lnTo>
                    <a:lnTo>
                      <a:pt x="0" y="9"/>
                    </a:lnTo>
                    <a:lnTo>
                      <a:pt x="70" y="140"/>
                    </a:lnTo>
                    <a:lnTo>
                      <a:pt x="85" y="131"/>
                    </a:lnTo>
                    <a:close/>
                  </a:path>
                </a:pathLst>
              </a:custGeom>
              <a:solidFill>
                <a:srgbClr val="E5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sp>
          <p:nvSpPr>
            <p:cNvPr id="490" name="Freeform 489"/>
            <p:cNvSpPr>
              <a:spLocks/>
            </p:cNvSpPr>
            <p:nvPr/>
          </p:nvSpPr>
          <p:spPr bwMode="auto">
            <a:xfrm>
              <a:off x="2048410" y="3374049"/>
              <a:ext cx="930658" cy="504479"/>
            </a:xfrm>
            <a:custGeom>
              <a:avLst/>
              <a:gdLst>
                <a:gd name="T0" fmla="*/ 31 w 2165"/>
                <a:gd name="T1" fmla="*/ 1085 h 1196"/>
                <a:gd name="T2" fmla="*/ 31 w 2165"/>
                <a:gd name="T3" fmla="*/ 1085 h 1196"/>
                <a:gd name="T4" fmla="*/ 22 w 2165"/>
                <a:gd name="T5" fmla="*/ 1092 h 1196"/>
                <a:gd name="T6" fmla="*/ 13 w 2165"/>
                <a:gd name="T7" fmla="*/ 1100 h 1196"/>
                <a:gd name="T8" fmla="*/ 6 w 2165"/>
                <a:gd name="T9" fmla="*/ 1109 h 1196"/>
                <a:gd name="T10" fmla="*/ 2 w 2165"/>
                <a:gd name="T11" fmla="*/ 1120 h 1196"/>
                <a:gd name="T12" fmla="*/ 0 w 2165"/>
                <a:gd name="T13" fmla="*/ 1132 h 1196"/>
                <a:gd name="T14" fmla="*/ 0 w 2165"/>
                <a:gd name="T15" fmla="*/ 1142 h 1196"/>
                <a:gd name="T16" fmla="*/ 2 w 2165"/>
                <a:gd name="T17" fmla="*/ 1154 h 1196"/>
                <a:gd name="T18" fmla="*/ 6 w 2165"/>
                <a:gd name="T19" fmla="*/ 1165 h 1196"/>
                <a:gd name="T20" fmla="*/ 6 w 2165"/>
                <a:gd name="T21" fmla="*/ 1165 h 1196"/>
                <a:gd name="T22" fmla="*/ 14 w 2165"/>
                <a:gd name="T23" fmla="*/ 1176 h 1196"/>
                <a:gd name="T24" fmla="*/ 22 w 2165"/>
                <a:gd name="T25" fmla="*/ 1183 h 1196"/>
                <a:gd name="T26" fmla="*/ 31 w 2165"/>
                <a:gd name="T27" fmla="*/ 1190 h 1196"/>
                <a:gd name="T28" fmla="*/ 42 w 2165"/>
                <a:gd name="T29" fmla="*/ 1194 h 1196"/>
                <a:gd name="T30" fmla="*/ 53 w 2165"/>
                <a:gd name="T31" fmla="*/ 1196 h 1196"/>
                <a:gd name="T32" fmla="*/ 65 w 2165"/>
                <a:gd name="T33" fmla="*/ 1196 h 1196"/>
                <a:gd name="T34" fmla="*/ 77 w 2165"/>
                <a:gd name="T35" fmla="*/ 1194 h 1196"/>
                <a:gd name="T36" fmla="*/ 87 w 2165"/>
                <a:gd name="T37" fmla="*/ 1190 h 1196"/>
                <a:gd name="T38" fmla="*/ 87 w 2165"/>
                <a:gd name="T39" fmla="*/ 1190 h 1196"/>
                <a:gd name="T40" fmla="*/ 96 w 2165"/>
                <a:gd name="T41" fmla="*/ 1185 h 1196"/>
                <a:gd name="T42" fmla="*/ 104 w 2165"/>
                <a:gd name="T43" fmla="*/ 1178 h 1196"/>
                <a:gd name="T44" fmla="*/ 109 w 2165"/>
                <a:gd name="T45" fmla="*/ 1169 h 1196"/>
                <a:gd name="T46" fmla="*/ 113 w 2165"/>
                <a:gd name="T47" fmla="*/ 1162 h 1196"/>
                <a:gd name="T48" fmla="*/ 117 w 2165"/>
                <a:gd name="T49" fmla="*/ 1152 h 1196"/>
                <a:gd name="T50" fmla="*/ 119 w 2165"/>
                <a:gd name="T51" fmla="*/ 1142 h 1196"/>
                <a:gd name="T52" fmla="*/ 119 w 2165"/>
                <a:gd name="T53" fmla="*/ 1134 h 1196"/>
                <a:gd name="T54" fmla="*/ 118 w 2165"/>
                <a:gd name="T55" fmla="*/ 1124 h 1196"/>
                <a:gd name="T56" fmla="*/ 2165 w 2165"/>
                <a:gd name="T57" fmla="*/ 27 h 1196"/>
                <a:gd name="T58" fmla="*/ 2151 w 2165"/>
                <a:gd name="T59" fmla="*/ 0 h 1196"/>
                <a:gd name="T60" fmla="*/ 103 w 2165"/>
                <a:gd name="T61" fmla="*/ 1097 h 1196"/>
                <a:gd name="T62" fmla="*/ 103 w 2165"/>
                <a:gd name="T63" fmla="*/ 1097 h 1196"/>
                <a:gd name="T64" fmla="*/ 96 w 2165"/>
                <a:gd name="T65" fmla="*/ 1089 h 1196"/>
                <a:gd name="T66" fmla="*/ 87 w 2165"/>
                <a:gd name="T67" fmla="*/ 1085 h 1196"/>
                <a:gd name="T68" fmla="*/ 79 w 2165"/>
                <a:gd name="T69" fmla="*/ 1081 h 1196"/>
                <a:gd name="T70" fmla="*/ 69 w 2165"/>
                <a:gd name="T71" fmla="*/ 1079 h 1196"/>
                <a:gd name="T72" fmla="*/ 60 w 2165"/>
                <a:gd name="T73" fmla="*/ 1078 h 1196"/>
                <a:gd name="T74" fmla="*/ 51 w 2165"/>
                <a:gd name="T75" fmla="*/ 1079 h 1196"/>
                <a:gd name="T76" fmla="*/ 41 w 2165"/>
                <a:gd name="T77" fmla="*/ 1081 h 1196"/>
                <a:gd name="T78" fmla="*/ 31 w 2165"/>
                <a:gd name="T79" fmla="*/ 1085 h 1196"/>
                <a:gd name="T80" fmla="*/ 31 w 2165"/>
                <a:gd name="T81" fmla="*/ 1085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65" h="1196">
                  <a:moveTo>
                    <a:pt x="31" y="1085"/>
                  </a:moveTo>
                  <a:lnTo>
                    <a:pt x="31" y="1085"/>
                  </a:lnTo>
                  <a:lnTo>
                    <a:pt x="22" y="1092"/>
                  </a:lnTo>
                  <a:lnTo>
                    <a:pt x="13" y="1100"/>
                  </a:lnTo>
                  <a:lnTo>
                    <a:pt x="6" y="1109"/>
                  </a:lnTo>
                  <a:lnTo>
                    <a:pt x="2" y="1120"/>
                  </a:lnTo>
                  <a:lnTo>
                    <a:pt x="0" y="1132"/>
                  </a:lnTo>
                  <a:lnTo>
                    <a:pt x="0" y="1142"/>
                  </a:lnTo>
                  <a:lnTo>
                    <a:pt x="2" y="1154"/>
                  </a:lnTo>
                  <a:lnTo>
                    <a:pt x="6" y="1165"/>
                  </a:lnTo>
                  <a:lnTo>
                    <a:pt x="6" y="1165"/>
                  </a:lnTo>
                  <a:lnTo>
                    <a:pt x="14" y="1176"/>
                  </a:lnTo>
                  <a:lnTo>
                    <a:pt x="22" y="1183"/>
                  </a:lnTo>
                  <a:lnTo>
                    <a:pt x="31" y="1190"/>
                  </a:lnTo>
                  <a:lnTo>
                    <a:pt x="42" y="1194"/>
                  </a:lnTo>
                  <a:lnTo>
                    <a:pt x="53" y="1196"/>
                  </a:lnTo>
                  <a:lnTo>
                    <a:pt x="65" y="1196"/>
                  </a:lnTo>
                  <a:lnTo>
                    <a:pt x="77" y="1194"/>
                  </a:lnTo>
                  <a:lnTo>
                    <a:pt x="87" y="1190"/>
                  </a:lnTo>
                  <a:lnTo>
                    <a:pt x="87" y="1190"/>
                  </a:lnTo>
                  <a:lnTo>
                    <a:pt x="96" y="1185"/>
                  </a:lnTo>
                  <a:lnTo>
                    <a:pt x="104" y="1178"/>
                  </a:lnTo>
                  <a:lnTo>
                    <a:pt x="109" y="1169"/>
                  </a:lnTo>
                  <a:lnTo>
                    <a:pt x="113" y="1162"/>
                  </a:lnTo>
                  <a:lnTo>
                    <a:pt x="117" y="1152"/>
                  </a:lnTo>
                  <a:lnTo>
                    <a:pt x="119" y="1142"/>
                  </a:lnTo>
                  <a:lnTo>
                    <a:pt x="119" y="1134"/>
                  </a:lnTo>
                  <a:lnTo>
                    <a:pt x="118" y="1124"/>
                  </a:lnTo>
                  <a:lnTo>
                    <a:pt x="2165" y="27"/>
                  </a:lnTo>
                  <a:lnTo>
                    <a:pt x="2151" y="0"/>
                  </a:lnTo>
                  <a:lnTo>
                    <a:pt x="103" y="1097"/>
                  </a:lnTo>
                  <a:lnTo>
                    <a:pt x="103" y="1097"/>
                  </a:lnTo>
                  <a:lnTo>
                    <a:pt x="96" y="1089"/>
                  </a:lnTo>
                  <a:lnTo>
                    <a:pt x="87" y="1085"/>
                  </a:lnTo>
                  <a:lnTo>
                    <a:pt x="79" y="1081"/>
                  </a:lnTo>
                  <a:lnTo>
                    <a:pt x="69" y="1079"/>
                  </a:lnTo>
                  <a:lnTo>
                    <a:pt x="60" y="1078"/>
                  </a:lnTo>
                  <a:lnTo>
                    <a:pt x="51" y="1079"/>
                  </a:lnTo>
                  <a:lnTo>
                    <a:pt x="41" y="1081"/>
                  </a:lnTo>
                  <a:lnTo>
                    <a:pt x="31" y="1085"/>
                  </a:lnTo>
                  <a:lnTo>
                    <a:pt x="31" y="1085"/>
                  </a:lnTo>
                  <a:close/>
                </a:path>
              </a:pathLst>
            </a:custGeom>
            <a:solidFill>
              <a:srgbClr val="E5E8E8"/>
            </a:solidFill>
            <a:ln w="9525">
              <a:no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nvGrpSpPr>
            <p:cNvPr id="491" name="Group 490"/>
            <p:cNvGrpSpPr/>
            <p:nvPr/>
          </p:nvGrpSpPr>
          <p:grpSpPr>
            <a:xfrm>
              <a:off x="2460299" y="3533008"/>
              <a:ext cx="1080319" cy="1057886"/>
              <a:chOff x="2323239" y="3699537"/>
              <a:chExt cx="1080319" cy="1057886"/>
            </a:xfrm>
          </p:grpSpPr>
          <p:sp>
            <p:nvSpPr>
              <p:cNvPr id="743" name="Freeform 742"/>
              <p:cNvSpPr>
                <a:spLocks/>
              </p:cNvSpPr>
              <p:nvPr/>
            </p:nvSpPr>
            <p:spPr bwMode="auto">
              <a:xfrm>
                <a:off x="2323239" y="3699537"/>
                <a:ext cx="1080319" cy="1057886"/>
              </a:xfrm>
              <a:custGeom>
                <a:avLst/>
                <a:gdLst>
                  <a:gd name="T0" fmla="*/ 417 w 2511"/>
                  <a:gd name="T1" fmla="*/ 2510 h 2510"/>
                  <a:gd name="T2" fmla="*/ 0 w 2511"/>
                  <a:gd name="T3" fmla="*/ 2093 h 2510"/>
                  <a:gd name="T4" fmla="*/ 2094 w 2511"/>
                  <a:gd name="T5" fmla="*/ 0 h 2510"/>
                  <a:gd name="T6" fmla="*/ 2511 w 2511"/>
                  <a:gd name="T7" fmla="*/ 417 h 2510"/>
                  <a:gd name="T8" fmla="*/ 417 w 2511"/>
                  <a:gd name="T9" fmla="*/ 2510 h 2510"/>
                </a:gdLst>
                <a:ahLst/>
                <a:cxnLst>
                  <a:cxn ang="0">
                    <a:pos x="T0" y="T1"/>
                  </a:cxn>
                  <a:cxn ang="0">
                    <a:pos x="T2" y="T3"/>
                  </a:cxn>
                  <a:cxn ang="0">
                    <a:pos x="T4" y="T5"/>
                  </a:cxn>
                  <a:cxn ang="0">
                    <a:pos x="T6" y="T7"/>
                  </a:cxn>
                  <a:cxn ang="0">
                    <a:pos x="T8" y="T9"/>
                  </a:cxn>
                </a:cxnLst>
                <a:rect l="0" t="0" r="r" b="b"/>
                <a:pathLst>
                  <a:path w="2511" h="2510">
                    <a:moveTo>
                      <a:pt x="417" y="2510"/>
                    </a:moveTo>
                    <a:lnTo>
                      <a:pt x="0" y="2093"/>
                    </a:lnTo>
                    <a:lnTo>
                      <a:pt x="2094" y="0"/>
                    </a:lnTo>
                    <a:lnTo>
                      <a:pt x="2511" y="417"/>
                    </a:lnTo>
                    <a:lnTo>
                      <a:pt x="417" y="2510"/>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44" name="Freeform 743"/>
              <p:cNvSpPr>
                <a:spLocks/>
              </p:cNvSpPr>
              <p:nvPr/>
            </p:nvSpPr>
            <p:spPr bwMode="auto">
              <a:xfrm>
                <a:off x="2517628" y="4612322"/>
                <a:ext cx="63649" cy="60739"/>
              </a:xfrm>
              <a:custGeom>
                <a:avLst/>
                <a:gdLst>
                  <a:gd name="T0" fmla="*/ 0 w 148"/>
                  <a:gd name="T1" fmla="*/ 79 h 147"/>
                  <a:gd name="T2" fmla="*/ 70 w 148"/>
                  <a:gd name="T3" fmla="*/ 147 h 147"/>
                  <a:gd name="T4" fmla="*/ 148 w 148"/>
                  <a:gd name="T5" fmla="*/ 69 h 147"/>
                  <a:gd name="T6" fmla="*/ 79 w 148"/>
                  <a:gd name="T7" fmla="*/ 0 h 147"/>
                  <a:gd name="T8" fmla="*/ 0 w 148"/>
                  <a:gd name="T9" fmla="*/ 79 h 147"/>
                </a:gdLst>
                <a:ahLst/>
                <a:cxnLst>
                  <a:cxn ang="0">
                    <a:pos x="T0" y="T1"/>
                  </a:cxn>
                  <a:cxn ang="0">
                    <a:pos x="T2" y="T3"/>
                  </a:cxn>
                  <a:cxn ang="0">
                    <a:pos x="T4" y="T5"/>
                  </a:cxn>
                  <a:cxn ang="0">
                    <a:pos x="T6" y="T7"/>
                  </a:cxn>
                  <a:cxn ang="0">
                    <a:pos x="T8" y="T9"/>
                  </a:cxn>
                </a:cxnLst>
                <a:rect l="0" t="0" r="r" b="b"/>
                <a:pathLst>
                  <a:path w="148" h="147">
                    <a:moveTo>
                      <a:pt x="0" y="79"/>
                    </a:moveTo>
                    <a:lnTo>
                      <a:pt x="70" y="147"/>
                    </a:lnTo>
                    <a:lnTo>
                      <a:pt x="148" y="69"/>
                    </a:lnTo>
                    <a:lnTo>
                      <a:pt x="79" y="0"/>
                    </a:lnTo>
                    <a:lnTo>
                      <a:pt x="0" y="79"/>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45" name="Freeform 744"/>
              <p:cNvSpPr>
                <a:spLocks/>
              </p:cNvSpPr>
              <p:nvPr/>
            </p:nvSpPr>
            <p:spPr bwMode="auto">
              <a:xfrm>
                <a:off x="2483223" y="4576891"/>
                <a:ext cx="61929" cy="62428"/>
              </a:xfrm>
              <a:custGeom>
                <a:avLst/>
                <a:gdLst>
                  <a:gd name="T0" fmla="*/ 78 w 147"/>
                  <a:gd name="T1" fmla="*/ 0 h 148"/>
                  <a:gd name="T2" fmla="*/ 0 w 147"/>
                  <a:gd name="T3" fmla="*/ 79 h 148"/>
                  <a:gd name="T4" fmla="*/ 68 w 147"/>
                  <a:gd name="T5" fmla="*/ 148 h 148"/>
                  <a:gd name="T6" fmla="*/ 147 w 147"/>
                  <a:gd name="T7" fmla="*/ 69 h 148"/>
                  <a:gd name="T8" fmla="*/ 78 w 147"/>
                  <a:gd name="T9" fmla="*/ 0 h 148"/>
                </a:gdLst>
                <a:ahLst/>
                <a:cxnLst>
                  <a:cxn ang="0">
                    <a:pos x="T0" y="T1"/>
                  </a:cxn>
                  <a:cxn ang="0">
                    <a:pos x="T2" y="T3"/>
                  </a:cxn>
                  <a:cxn ang="0">
                    <a:pos x="T4" y="T5"/>
                  </a:cxn>
                  <a:cxn ang="0">
                    <a:pos x="T6" y="T7"/>
                  </a:cxn>
                  <a:cxn ang="0">
                    <a:pos x="T8" y="T9"/>
                  </a:cxn>
                </a:cxnLst>
                <a:rect l="0" t="0" r="r" b="b"/>
                <a:pathLst>
                  <a:path w="147" h="148">
                    <a:moveTo>
                      <a:pt x="78" y="0"/>
                    </a:moveTo>
                    <a:lnTo>
                      <a:pt x="0" y="79"/>
                    </a:lnTo>
                    <a:lnTo>
                      <a:pt x="68" y="148"/>
                    </a:lnTo>
                    <a:lnTo>
                      <a:pt x="147" y="69"/>
                    </a:lnTo>
                    <a:lnTo>
                      <a:pt x="78"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46" name="Freeform 745"/>
              <p:cNvSpPr>
                <a:spLocks/>
              </p:cNvSpPr>
              <p:nvPr/>
            </p:nvSpPr>
            <p:spPr bwMode="auto">
              <a:xfrm>
                <a:off x="2447098" y="4539772"/>
                <a:ext cx="61929" cy="62428"/>
              </a:xfrm>
              <a:custGeom>
                <a:avLst/>
                <a:gdLst>
                  <a:gd name="T0" fmla="*/ 78 w 147"/>
                  <a:gd name="T1" fmla="*/ 0 h 148"/>
                  <a:gd name="T2" fmla="*/ 0 w 147"/>
                  <a:gd name="T3" fmla="*/ 79 h 148"/>
                  <a:gd name="T4" fmla="*/ 68 w 147"/>
                  <a:gd name="T5" fmla="*/ 148 h 148"/>
                  <a:gd name="T6" fmla="*/ 147 w 147"/>
                  <a:gd name="T7" fmla="*/ 69 h 148"/>
                  <a:gd name="T8" fmla="*/ 78 w 147"/>
                  <a:gd name="T9" fmla="*/ 0 h 148"/>
                </a:gdLst>
                <a:ahLst/>
                <a:cxnLst>
                  <a:cxn ang="0">
                    <a:pos x="T0" y="T1"/>
                  </a:cxn>
                  <a:cxn ang="0">
                    <a:pos x="T2" y="T3"/>
                  </a:cxn>
                  <a:cxn ang="0">
                    <a:pos x="T4" y="T5"/>
                  </a:cxn>
                  <a:cxn ang="0">
                    <a:pos x="T6" y="T7"/>
                  </a:cxn>
                  <a:cxn ang="0">
                    <a:pos x="T8" y="T9"/>
                  </a:cxn>
                </a:cxnLst>
                <a:rect l="0" t="0" r="r" b="b"/>
                <a:pathLst>
                  <a:path w="147" h="148">
                    <a:moveTo>
                      <a:pt x="78" y="0"/>
                    </a:moveTo>
                    <a:lnTo>
                      <a:pt x="0" y="79"/>
                    </a:lnTo>
                    <a:lnTo>
                      <a:pt x="68" y="148"/>
                    </a:lnTo>
                    <a:lnTo>
                      <a:pt x="147" y="69"/>
                    </a:lnTo>
                    <a:lnTo>
                      <a:pt x="78"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47" name="Freeform 746"/>
              <p:cNvSpPr>
                <a:spLocks/>
              </p:cNvSpPr>
              <p:nvPr/>
            </p:nvSpPr>
            <p:spPr bwMode="auto">
              <a:xfrm>
                <a:off x="2567516" y="4563395"/>
                <a:ext cx="61929" cy="62428"/>
              </a:xfrm>
              <a:custGeom>
                <a:avLst/>
                <a:gdLst>
                  <a:gd name="T0" fmla="*/ 0 w 147"/>
                  <a:gd name="T1" fmla="*/ 79 h 148"/>
                  <a:gd name="T2" fmla="*/ 69 w 147"/>
                  <a:gd name="T3" fmla="*/ 148 h 148"/>
                  <a:gd name="T4" fmla="*/ 147 w 147"/>
                  <a:gd name="T5" fmla="*/ 69 h 148"/>
                  <a:gd name="T6" fmla="*/ 79 w 147"/>
                  <a:gd name="T7" fmla="*/ 0 h 148"/>
                  <a:gd name="T8" fmla="*/ 0 w 147"/>
                  <a:gd name="T9" fmla="*/ 79 h 148"/>
                </a:gdLst>
                <a:ahLst/>
                <a:cxnLst>
                  <a:cxn ang="0">
                    <a:pos x="T0" y="T1"/>
                  </a:cxn>
                  <a:cxn ang="0">
                    <a:pos x="T2" y="T3"/>
                  </a:cxn>
                  <a:cxn ang="0">
                    <a:pos x="T4" y="T5"/>
                  </a:cxn>
                  <a:cxn ang="0">
                    <a:pos x="T6" y="T7"/>
                  </a:cxn>
                  <a:cxn ang="0">
                    <a:pos x="T8" y="T9"/>
                  </a:cxn>
                </a:cxnLst>
                <a:rect l="0" t="0" r="r" b="b"/>
                <a:pathLst>
                  <a:path w="147" h="148">
                    <a:moveTo>
                      <a:pt x="0" y="79"/>
                    </a:moveTo>
                    <a:lnTo>
                      <a:pt x="69" y="148"/>
                    </a:lnTo>
                    <a:lnTo>
                      <a:pt x="147" y="69"/>
                    </a:lnTo>
                    <a:lnTo>
                      <a:pt x="79" y="0"/>
                    </a:lnTo>
                    <a:lnTo>
                      <a:pt x="0" y="79"/>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48" name="Freeform 747"/>
              <p:cNvSpPr>
                <a:spLocks/>
              </p:cNvSpPr>
              <p:nvPr/>
            </p:nvSpPr>
            <p:spPr bwMode="auto">
              <a:xfrm>
                <a:off x="2531390" y="4527962"/>
                <a:ext cx="63649" cy="62428"/>
              </a:xfrm>
              <a:custGeom>
                <a:avLst/>
                <a:gdLst>
                  <a:gd name="T0" fmla="*/ 148 w 148"/>
                  <a:gd name="T1" fmla="*/ 68 h 147"/>
                  <a:gd name="T2" fmla="*/ 78 w 148"/>
                  <a:gd name="T3" fmla="*/ 0 h 147"/>
                  <a:gd name="T4" fmla="*/ 0 w 148"/>
                  <a:gd name="T5" fmla="*/ 78 h 147"/>
                  <a:gd name="T6" fmla="*/ 69 w 148"/>
                  <a:gd name="T7" fmla="*/ 147 h 147"/>
                  <a:gd name="T8" fmla="*/ 148 w 148"/>
                  <a:gd name="T9" fmla="*/ 68 h 147"/>
                </a:gdLst>
                <a:ahLst/>
                <a:cxnLst>
                  <a:cxn ang="0">
                    <a:pos x="T0" y="T1"/>
                  </a:cxn>
                  <a:cxn ang="0">
                    <a:pos x="T2" y="T3"/>
                  </a:cxn>
                  <a:cxn ang="0">
                    <a:pos x="T4" y="T5"/>
                  </a:cxn>
                  <a:cxn ang="0">
                    <a:pos x="T6" y="T7"/>
                  </a:cxn>
                  <a:cxn ang="0">
                    <a:pos x="T8" y="T9"/>
                  </a:cxn>
                </a:cxnLst>
                <a:rect l="0" t="0" r="r" b="b"/>
                <a:pathLst>
                  <a:path w="148" h="147">
                    <a:moveTo>
                      <a:pt x="148" y="68"/>
                    </a:moveTo>
                    <a:lnTo>
                      <a:pt x="78" y="0"/>
                    </a:lnTo>
                    <a:lnTo>
                      <a:pt x="0" y="78"/>
                    </a:lnTo>
                    <a:lnTo>
                      <a:pt x="69" y="147"/>
                    </a:lnTo>
                    <a:lnTo>
                      <a:pt x="148" y="6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49" name="Freeform 748"/>
              <p:cNvSpPr>
                <a:spLocks/>
              </p:cNvSpPr>
              <p:nvPr/>
            </p:nvSpPr>
            <p:spPr bwMode="auto">
              <a:xfrm>
                <a:off x="2495265" y="4492531"/>
                <a:ext cx="63649" cy="62428"/>
              </a:xfrm>
              <a:custGeom>
                <a:avLst/>
                <a:gdLst>
                  <a:gd name="T0" fmla="*/ 0 w 147"/>
                  <a:gd name="T1" fmla="*/ 77 h 146"/>
                  <a:gd name="T2" fmla="*/ 68 w 147"/>
                  <a:gd name="T3" fmla="*/ 146 h 146"/>
                  <a:gd name="T4" fmla="*/ 147 w 147"/>
                  <a:gd name="T5" fmla="*/ 68 h 146"/>
                  <a:gd name="T6" fmla="*/ 78 w 147"/>
                  <a:gd name="T7" fmla="*/ 0 h 146"/>
                  <a:gd name="T8" fmla="*/ 0 w 147"/>
                  <a:gd name="T9" fmla="*/ 77 h 146"/>
                </a:gdLst>
                <a:ahLst/>
                <a:cxnLst>
                  <a:cxn ang="0">
                    <a:pos x="T0" y="T1"/>
                  </a:cxn>
                  <a:cxn ang="0">
                    <a:pos x="T2" y="T3"/>
                  </a:cxn>
                  <a:cxn ang="0">
                    <a:pos x="T4" y="T5"/>
                  </a:cxn>
                  <a:cxn ang="0">
                    <a:pos x="T6" y="T7"/>
                  </a:cxn>
                  <a:cxn ang="0">
                    <a:pos x="T8" y="T9"/>
                  </a:cxn>
                </a:cxnLst>
                <a:rect l="0" t="0" r="r" b="b"/>
                <a:pathLst>
                  <a:path w="147" h="146">
                    <a:moveTo>
                      <a:pt x="0" y="77"/>
                    </a:moveTo>
                    <a:lnTo>
                      <a:pt x="68" y="146"/>
                    </a:lnTo>
                    <a:lnTo>
                      <a:pt x="147" y="68"/>
                    </a:lnTo>
                    <a:lnTo>
                      <a:pt x="78" y="0"/>
                    </a:lnTo>
                    <a:lnTo>
                      <a:pt x="0" y="77"/>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50" name="Freeform 749"/>
              <p:cNvSpPr>
                <a:spLocks/>
              </p:cNvSpPr>
              <p:nvPr/>
            </p:nvSpPr>
            <p:spPr bwMode="auto">
              <a:xfrm>
                <a:off x="2459139" y="4457098"/>
                <a:ext cx="63649" cy="62428"/>
              </a:xfrm>
              <a:custGeom>
                <a:avLst/>
                <a:gdLst>
                  <a:gd name="T0" fmla="*/ 147 w 147"/>
                  <a:gd name="T1" fmla="*/ 68 h 147"/>
                  <a:gd name="T2" fmla="*/ 78 w 147"/>
                  <a:gd name="T3" fmla="*/ 0 h 147"/>
                  <a:gd name="T4" fmla="*/ 0 w 147"/>
                  <a:gd name="T5" fmla="*/ 79 h 147"/>
                  <a:gd name="T6" fmla="*/ 68 w 147"/>
                  <a:gd name="T7" fmla="*/ 147 h 147"/>
                  <a:gd name="T8" fmla="*/ 147 w 147"/>
                  <a:gd name="T9" fmla="*/ 68 h 147"/>
                </a:gdLst>
                <a:ahLst/>
                <a:cxnLst>
                  <a:cxn ang="0">
                    <a:pos x="T0" y="T1"/>
                  </a:cxn>
                  <a:cxn ang="0">
                    <a:pos x="T2" y="T3"/>
                  </a:cxn>
                  <a:cxn ang="0">
                    <a:pos x="T4" y="T5"/>
                  </a:cxn>
                  <a:cxn ang="0">
                    <a:pos x="T6" y="T7"/>
                  </a:cxn>
                  <a:cxn ang="0">
                    <a:pos x="T8" y="T9"/>
                  </a:cxn>
                </a:cxnLst>
                <a:rect l="0" t="0" r="r" b="b"/>
                <a:pathLst>
                  <a:path w="147" h="147">
                    <a:moveTo>
                      <a:pt x="147" y="68"/>
                    </a:moveTo>
                    <a:lnTo>
                      <a:pt x="78" y="0"/>
                    </a:lnTo>
                    <a:lnTo>
                      <a:pt x="0" y="79"/>
                    </a:lnTo>
                    <a:lnTo>
                      <a:pt x="68" y="147"/>
                    </a:lnTo>
                    <a:lnTo>
                      <a:pt x="147" y="6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51" name="Freeform 750"/>
              <p:cNvSpPr>
                <a:spLocks/>
              </p:cNvSpPr>
              <p:nvPr/>
            </p:nvSpPr>
            <p:spPr bwMode="auto">
              <a:xfrm>
                <a:off x="2615684" y="4516152"/>
                <a:ext cx="63649" cy="62428"/>
              </a:xfrm>
              <a:custGeom>
                <a:avLst/>
                <a:gdLst>
                  <a:gd name="T0" fmla="*/ 0 w 147"/>
                  <a:gd name="T1" fmla="*/ 77 h 146"/>
                  <a:gd name="T2" fmla="*/ 69 w 147"/>
                  <a:gd name="T3" fmla="*/ 146 h 146"/>
                  <a:gd name="T4" fmla="*/ 147 w 147"/>
                  <a:gd name="T5" fmla="*/ 68 h 146"/>
                  <a:gd name="T6" fmla="*/ 79 w 147"/>
                  <a:gd name="T7" fmla="*/ 0 h 146"/>
                  <a:gd name="T8" fmla="*/ 0 w 147"/>
                  <a:gd name="T9" fmla="*/ 77 h 146"/>
                </a:gdLst>
                <a:ahLst/>
                <a:cxnLst>
                  <a:cxn ang="0">
                    <a:pos x="T0" y="T1"/>
                  </a:cxn>
                  <a:cxn ang="0">
                    <a:pos x="T2" y="T3"/>
                  </a:cxn>
                  <a:cxn ang="0">
                    <a:pos x="T4" y="T5"/>
                  </a:cxn>
                  <a:cxn ang="0">
                    <a:pos x="T6" y="T7"/>
                  </a:cxn>
                  <a:cxn ang="0">
                    <a:pos x="T8" y="T9"/>
                  </a:cxn>
                </a:cxnLst>
                <a:rect l="0" t="0" r="r" b="b"/>
                <a:pathLst>
                  <a:path w="147" h="146">
                    <a:moveTo>
                      <a:pt x="0" y="77"/>
                    </a:moveTo>
                    <a:lnTo>
                      <a:pt x="69" y="146"/>
                    </a:lnTo>
                    <a:lnTo>
                      <a:pt x="147" y="68"/>
                    </a:lnTo>
                    <a:lnTo>
                      <a:pt x="79" y="0"/>
                    </a:lnTo>
                    <a:lnTo>
                      <a:pt x="0" y="77"/>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52" name="Freeform 751"/>
              <p:cNvSpPr>
                <a:spLocks/>
              </p:cNvSpPr>
              <p:nvPr/>
            </p:nvSpPr>
            <p:spPr bwMode="auto">
              <a:xfrm>
                <a:off x="2579559" y="4480719"/>
                <a:ext cx="63649" cy="62428"/>
              </a:xfrm>
              <a:custGeom>
                <a:avLst/>
                <a:gdLst>
                  <a:gd name="T0" fmla="*/ 147 w 147"/>
                  <a:gd name="T1" fmla="*/ 68 h 147"/>
                  <a:gd name="T2" fmla="*/ 79 w 147"/>
                  <a:gd name="T3" fmla="*/ 0 h 147"/>
                  <a:gd name="T4" fmla="*/ 0 w 147"/>
                  <a:gd name="T5" fmla="*/ 78 h 147"/>
                  <a:gd name="T6" fmla="*/ 69 w 147"/>
                  <a:gd name="T7" fmla="*/ 147 h 147"/>
                  <a:gd name="T8" fmla="*/ 147 w 147"/>
                  <a:gd name="T9" fmla="*/ 68 h 147"/>
                </a:gdLst>
                <a:ahLst/>
                <a:cxnLst>
                  <a:cxn ang="0">
                    <a:pos x="T0" y="T1"/>
                  </a:cxn>
                  <a:cxn ang="0">
                    <a:pos x="T2" y="T3"/>
                  </a:cxn>
                  <a:cxn ang="0">
                    <a:pos x="T4" y="T5"/>
                  </a:cxn>
                  <a:cxn ang="0">
                    <a:pos x="T6" y="T7"/>
                  </a:cxn>
                  <a:cxn ang="0">
                    <a:pos x="T8" y="T9"/>
                  </a:cxn>
                </a:cxnLst>
                <a:rect l="0" t="0" r="r" b="b"/>
                <a:pathLst>
                  <a:path w="147" h="147">
                    <a:moveTo>
                      <a:pt x="147" y="68"/>
                    </a:moveTo>
                    <a:lnTo>
                      <a:pt x="79" y="0"/>
                    </a:lnTo>
                    <a:lnTo>
                      <a:pt x="0" y="78"/>
                    </a:lnTo>
                    <a:lnTo>
                      <a:pt x="69" y="147"/>
                    </a:lnTo>
                    <a:lnTo>
                      <a:pt x="147" y="6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53" name="Freeform 752"/>
              <p:cNvSpPr>
                <a:spLocks/>
              </p:cNvSpPr>
              <p:nvPr/>
            </p:nvSpPr>
            <p:spPr bwMode="auto">
              <a:xfrm>
                <a:off x="2543433" y="4445288"/>
                <a:ext cx="63649" cy="62428"/>
              </a:xfrm>
              <a:custGeom>
                <a:avLst/>
                <a:gdLst>
                  <a:gd name="T0" fmla="*/ 0 w 148"/>
                  <a:gd name="T1" fmla="*/ 79 h 147"/>
                  <a:gd name="T2" fmla="*/ 69 w 148"/>
                  <a:gd name="T3" fmla="*/ 147 h 147"/>
                  <a:gd name="T4" fmla="*/ 148 w 148"/>
                  <a:gd name="T5" fmla="*/ 68 h 147"/>
                  <a:gd name="T6" fmla="*/ 79 w 148"/>
                  <a:gd name="T7" fmla="*/ 0 h 147"/>
                  <a:gd name="T8" fmla="*/ 0 w 148"/>
                  <a:gd name="T9" fmla="*/ 79 h 147"/>
                </a:gdLst>
                <a:ahLst/>
                <a:cxnLst>
                  <a:cxn ang="0">
                    <a:pos x="T0" y="T1"/>
                  </a:cxn>
                  <a:cxn ang="0">
                    <a:pos x="T2" y="T3"/>
                  </a:cxn>
                  <a:cxn ang="0">
                    <a:pos x="T4" y="T5"/>
                  </a:cxn>
                  <a:cxn ang="0">
                    <a:pos x="T6" y="T7"/>
                  </a:cxn>
                  <a:cxn ang="0">
                    <a:pos x="T8" y="T9"/>
                  </a:cxn>
                </a:cxnLst>
                <a:rect l="0" t="0" r="r" b="b"/>
                <a:pathLst>
                  <a:path w="148" h="147">
                    <a:moveTo>
                      <a:pt x="0" y="79"/>
                    </a:moveTo>
                    <a:lnTo>
                      <a:pt x="69" y="147"/>
                    </a:lnTo>
                    <a:lnTo>
                      <a:pt x="148" y="68"/>
                    </a:lnTo>
                    <a:lnTo>
                      <a:pt x="79" y="0"/>
                    </a:lnTo>
                    <a:lnTo>
                      <a:pt x="0" y="79"/>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54" name="Freeform 753"/>
              <p:cNvSpPr>
                <a:spLocks/>
              </p:cNvSpPr>
              <p:nvPr/>
            </p:nvSpPr>
            <p:spPr bwMode="auto">
              <a:xfrm>
                <a:off x="2507308" y="4409859"/>
                <a:ext cx="63649" cy="62428"/>
              </a:xfrm>
              <a:custGeom>
                <a:avLst/>
                <a:gdLst>
                  <a:gd name="T0" fmla="*/ 148 w 148"/>
                  <a:gd name="T1" fmla="*/ 68 h 147"/>
                  <a:gd name="T2" fmla="*/ 79 w 148"/>
                  <a:gd name="T3" fmla="*/ 0 h 147"/>
                  <a:gd name="T4" fmla="*/ 0 w 148"/>
                  <a:gd name="T5" fmla="*/ 79 h 147"/>
                  <a:gd name="T6" fmla="*/ 70 w 148"/>
                  <a:gd name="T7" fmla="*/ 147 h 147"/>
                  <a:gd name="T8" fmla="*/ 148 w 148"/>
                  <a:gd name="T9" fmla="*/ 68 h 147"/>
                </a:gdLst>
                <a:ahLst/>
                <a:cxnLst>
                  <a:cxn ang="0">
                    <a:pos x="T0" y="T1"/>
                  </a:cxn>
                  <a:cxn ang="0">
                    <a:pos x="T2" y="T3"/>
                  </a:cxn>
                  <a:cxn ang="0">
                    <a:pos x="T4" y="T5"/>
                  </a:cxn>
                  <a:cxn ang="0">
                    <a:pos x="T6" y="T7"/>
                  </a:cxn>
                  <a:cxn ang="0">
                    <a:pos x="T8" y="T9"/>
                  </a:cxn>
                </a:cxnLst>
                <a:rect l="0" t="0" r="r" b="b"/>
                <a:pathLst>
                  <a:path w="148" h="147">
                    <a:moveTo>
                      <a:pt x="148" y="68"/>
                    </a:moveTo>
                    <a:lnTo>
                      <a:pt x="79" y="0"/>
                    </a:lnTo>
                    <a:lnTo>
                      <a:pt x="0" y="79"/>
                    </a:lnTo>
                    <a:lnTo>
                      <a:pt x="70" y="147"/>
                    </a:lnTo>
                    <a:lnTo>
                      <a:pt x="148" y="6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55" name="Freeform 754"/>
              <p:cNvSpPr>
                <a:spLocks/>
              </p:cNvSpPr>
              <p:nvPr/>
            </p:nvSpPr>
            <p:spPr bwMode="auto">
              <a:xfrm>
                <a:off x="2663850" y="4468909"/>
                <a:ext cx="63649" cy="62428"/>
              </a:xfrm>
              <a:custGeom>
                <a:avLst/>
                <a:gdLst>
                  <a:gd name="T0" fmla="*/ 0 w 146"/>
                  <a:gd name="T1" fmla="*/ 78 h 147"/>
                  <a:gd name="T2" fmla="*/ 68 w 146"/>
                  <a:gd name="T3" fmla="*/ 147 h 147"/>
                  <a:gd name="T4" fmla="*/ 146 w 146"/>
                  <a:gd name="T5" fmla="*/ 68 h 147"/>
                  <a:gd name="T6" fmla="*/ 78 w 146"/>
                  <a:gd name="T7" fmla="*/ 0 h 147"/>
                  <a:gd name="T8" fmla="*/ 0 w 146"/>
                  <a:gd name="T9" fmla="*/ 78 h 147"/>
                </a:gdLst>
                <a:ahLst/>
                <a:cxnLst>
                  <a:cxn ang="0">
                    <a:pos x="T0" y="T1"/>
                  </a:cxn>
                  <a:cxn ang="0">
                    <a:pos x="T2" y="T3"/>
                  </a:cxn>
                  <a:cxn ang="0">
                    <a:pos x="T4" y="T5"/>
                  </a:cxn>
                  <a:cxn ang="0">
                    <a:pos x="T6" y="T7"/>
                  </a:cxn>
                  <a:cxn ang="0">
                    <a:pos x="T8" y="T9"/>
                  </a:cxn>
                </a:cxnLst>
                <a:rect l="0" t="0" r="r" b="b"/>
                <a:pathLst>
                  <a:path w="146" h="147">
                    <a:moveTo>
                      <a:pt x="0" y="78"/>
                    </a:moveTo>
                    <a:lnTo>
                      <a:pt x="68" y="147"/>
                    </a:lnTo>
                    <a:lnTo>
                      <a:pt x="146" y="68"/>
                    </a:lnTo>
                    <a:lnTo>
                      <a:pt x="78" y="0"/>
                    </a:lnTo>
                    <a:lnTo>
                      <a:pt x="0" y="7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56" name="Freeform 755"/>
              <p:cNvSpPr>
                <a:spLocks/>
              </p:cNvSpPr>
              <p:nvPr/>
            </p:nvSpPr>
            <p:spPr bwMode="auto">
              <a:xfrm>
                <a:off x="2627726" y="4433476"/>
                <a:ext cx="63649" cy="60739"/>
              </a:xfrm>
              <a:custGeom>
                <a:avLst/>
                <a:gdLst>
                  <a:gd name="T0" fmla="*/ 147 w 147"/>
                  <a:gd name="T1" fmla="*/ 68 h 147"/>
                  <a:gd name="T2" fmla="*/ 79 w 147"/>
                  <a:gd name="T3" fmla="*/ 0 h 147"/>
                  <a:gd name="T4" fmla="*/ 0 w 147"/>
                  <a:gd name="T5" fmla="*/ 79 h 147"/>
                  <a:gd name="T6" fmla="*/ 68 w 147"/>
                  <a:gd name="T7" fmla="*/ 147 h 147"/>
                  <a:gd name="T8" fmla="*/ 147 w 147"/>
                  <a:gd name="T9" fmla="*/ 68 h 147"/>
                </a:gdLst>
                <a:ahLst/>
                <a:cxnLst>
                  <a:cxn ang="0">
                    <a:pos x="T0" y="T1"/>
                  </a:cxn>
                  <a:cxn ang="0">
                    <a:pos x="T2" y="T3"/>
                  </a:cxn>
                  <a:cxn ang="0">
                    <a:pos x="T4" y="T5"/>
                  </a:cxn>
                  <a:cxn ang="0">
                    <a:pos x="T6" y="T7"/>
                  </a:cxn>
                  <a:cxn ang="0">
                    <a:pos x="T8" y="T9"/>
                  </a:cxn>
                </a:cxnLst>
                <a:rect l="0" t="0" r="r" b="b"/>
                <a:pathLst>
                  <a:path w="147" h="147">
                    <a:moveTo>
                      <a:pt x="147" y="68"/>
                    </a:moveTo>
                    <a:lnTo>
                      <a:pt x="79" y="0"/>
                    </a:lnTo>
                    <a:lnTo>
                      <a:pt x="0" y="79"/>
                    </a:lnTo>
                    <a:lnTo>
                      <a:pt x="68" y="147"/>
                    </a:lnTo>
                    <a:lnTo>
                      <a:pt x="147" y="6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57" name="Freeform 756"/>
              <p:cNvSpPr>
                <a:spLocks/>
              </p:cNvSpPr>
              <p:nvPr/>
            </p:nvSpPr>
            <p:spPr bwMode="auto">
              <a:xfrm>
                <a:off x="2591599" y="4398046"/>
                <a:ext cx="63649" cy="60739"/>
              </a:xfrm>
              <a:custGeom>
                <a:avLst/>
                <a:gdLst>
                  <a:gd name="T0" fmla="*/ 0 w 147"/>
                  <a:gd name="T1" fmla="*/ 79 h 147"/>
                  <a:gd name="T2" fmla="*/ 69 w 147"/>
                  <a:gd name="T3" fmla="*/ 147 h 147"/>
                  <a:gd name="T4" fmla="*/ 147 w 147"/>
                  <a:gd name="T5" fmla="*/ 68 h 147"/>
                  <a:gd name="T6" fmla="*/ 79 w 147"/>
                  <a:gd name="T7" fmla="*/ 0 h 147"/>
                  <a:gd name="T8" fmla="*/ 0 w 147"/>
                  <a:gd name="T9" fmla="*/ 79 h 147"/>
                </a:gdLst>
                <a:ahLst/>
                <a:cxnLst>
                  <a:cxn ang="0">
                    <a:pos x="T0" y="T1"/>
                  </a:cxn>
                  <a:cxn ang="0">
                    <a:pos x="T2" y="T3"/>
                  </a:cxn>
                  <a:cxn ang="0">
                    <a:pos x="T4" y="T5"/>
                  </a:cxn>
                  <a:cxn ang="0">
                    <a:pos x="T6" y="T7"/>
                  </a:cxn>
                  <a:cxn ang="0">
                    <a:pos x="T8" y="T9"/>
                  </a:cxn>
                </a:cxnLst>
                <a:rect l="0" t="0" r="r" b="b"/>
                <a:pathLst>
                  <a:path w="147" h="147">
                    <a:moveTo>
                      <a:pt x="0" y="79"/>
                    </a:moveTo>
                    <a:lnTo>
                      <a:pt x="69" y="147"/>
                    </a:lnTo>
                    <a:lnTo>
                      <a:pt x="147" y="68"/>
                    </a:lnTo>
                    <a:lnTo>
                      <a:pt x="79" y="0"/>
                    </a:lnTo>
                    <a:lnTo>
                      <a:pt x="0" y="79"/>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58" name="Freeform 757"/>
              <p:cNvSpPr>
                <a:spLocks/>
              </p:cNvSpPr>
              <p:nvPr/>
            </p:nvSpPr>
            <p:spPr bwMode="auto">
              <a:xfrm>
                <a:off x="2555474" y="4362616"/>
                <a:ext cx="63649" cy="60739"/>
              </a:xfrm>
              <a:custGeom>
                <a:avLst/>
                <a:gdLst>
                  <a:gd name="T0" fmla="*/ 148 w 148"/>
                  <a:gd name="T1" fmla="*/ 69 h 147"/>
                  <a:gd name="T2" fmla="*/ 79 w 148"/>
                  <a:gd name="T3" fmla="*/ 0 h 147"/>
                  <a:gd name="T4" fmla="*/ 0 w 148"/>
                  <a:gd name="T5" fmla="*/ 79 h 147"/>
                  <a:gd name="T6" fmla="*/ 69 w 148"/>
                  <a:gd name="T7" fmla="*/ 147 h 147"/>
                  <a:gd name="T8" fmla="*/ 148 w 148"/>
                  <a:gd name="T9" fmla="*/ 69 h 147"/>
                </a:gdLst>
                <a:ahLst/>
                <a:cxnLst>
                  <a:cxn ang="0">
                    <a:pos x="T0" y="T1"/>
                  </a:cxn>
                  <a:cxn ang="0">
                    <a:pos x="T2" y="T3"/>
                  </a:cxn>
                  <a:cxn ang="0">
                    <a:pos x="T4" y="T5"/>
                  </a:cxn>
                  <a:cxn ang="0">
                    <a:pos x="T6" y="T7"/>
                  </a:cxn>
                  <a:cxn ang="0">
                    <a:pos x="T8" y="T9"/>
                  </a:cxn>
                </a:cxnLst>
                <a:rect l="0" t="0" r="r" b="b"/>
                <a:pathLst>
                  <a:path w="148" h="147">
                    <a:moveTo>
                      <a:pt x="148" y="69"/>
                    </a:moveTo>
                    <a:lnTo>
                      <a:pt x="79" y="0"/>
                    </a:lnTo>
                    <a:lnTo>
                      <a:pt x="0" y="79"/>
                    </a:lnTo>
                    <a:lnTo>
                      <a:pt x="69" y="147"/>
                    </a:lnTo>
                    <a:lnTo>
                      <a:pt x="148" y="69"/>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59" name="Freeform 758"/>
              <p:cNvSpPr>
                <a:spLocks/>
              </p:cNvSpPr>
              <p:nvPr/>
            </p:nvSpPr>
            <p:spPr bwMode="auto">
              <a:xfrm>
                <a:off x="2713737" y="4419980"/>
                <a:ext cx="61929" cy="62428"/>
              </a:xfrm>
              <a:custGeom>
                <a:avLst/>
                <a:gdLst>
                  <a:gd name="T0" fmla="*/ 0 w 147"/>
                  <a:gd name="T1" fmla="*/ 79 h 147"/>
                  <a:gd name="T2" fmla="*/ 68 w 147"/>
                  <a:gd name="T3" fmla="*/ 147 h 147"/>
                  <a:gd name="T4" fmla="*/ 147 w 147"/>
                  <a:gd name="T5" fmla="*/ 68 h 147"/>
                  <a:gd name="T6" fmla="*/ 79 w 147"/>
                  <a:gd name="T7" fmla="*/ 0 h 147"/>
                  <a:gd name="T8" fmla="*/ 0 w 147"/>
                  <a:gd name="T9" fmla="*/ 79 h 147"/>
                </a:gdLst>
                <a:ahLst/>
                <a:cxnLst>
                  <a:cxn ang="0">
                    <a:pos x="T0" y="T1"/>
                  </a:cxn>
                  <a:cxn ang="0">
                    <a:pos x="T2" y="T3"/>
                  </a:cxn>
                  <a:cxn ang="0">
                    <a:pos x="T4" y="T5"/>
                  </a:cxn>
                  <a:cxn ang="0">
                    <a:pos x="T6" y="T7"/>
                  </a:cxn>
                  <a:cxn ang="0">
                    <a:pos x="T8" y="T9"/>
                  </a:cxn>
                </a:cxnLst>
                <a:rect l="0" t="0" r="r" b="b"/>
                <a:pathLst>
                  <a:path w="147" h="147">
                    <a:moveTo>
                      <a:pt x="0" y="79"/>
                    </a:moveTo>
                    <a:lnTo>
                      <a:pt x="68" y="147"/>
                    </a:lnTo>
                    <a:lnTo>
                      <a:pt x="147" y="68"/>
                    </a:lnTo>
                    <a:lnTo>
                      <a:pt x="79" y="0"/>
                    </a:lnTo>
                    <a:lnTo>
                      <a:pt x="0" y="79"/>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60" name="Freeform 759"/>
              <p:cNvSpPr>
                <a:spLocks/>
              </p:cNvSpPr>
              <p:nvPr/>
            </p:nvSpPr>
            <p:spPr bwMode="auto">
              <a:xfrm>
                <a:off x="2677612" y="4384548"/>
                <a:ext cx="61929" cy="62428"/>
              </a:xfrm>
              <a:custGeom>
                <a:avLst/>
                <a:gdLst>
                  <a:gd name="T0" fmla="*/ 147 w 147"/>
                  <a:gd name="T1" fmla="*/ 68 h 146"/>
                  <a:gd name="T2" fmla="*/ 79 w 147"/>
                  <a:gd name="T3" fmla="*/ 0 h 146"/>
                  <a:gd name="T4" fmla="*/ 0 w 147"/>
                  <a:gd name="T5" fmla="*/ 78 h 146"/>
                  <a:gd name="T6" fmla="*/ 68 w 147"/>
                  <a:gd name="T7" fmla="*/ 146 h 146"/>
                  <a:gd name="T8" fmla="*/ 147 w 147"/>
                  <a:gd name="T9" fmla="*/ 68 h 146"/>
                </a:gdLst>
                <a:ahLst/>
                <a:cxnLst>
                  <a:cxn ang="0">
                    <a:pos x="T0" y="T1"/>
                  </a:cxn>
                  <a:cxn ang="0">
                    <a:pos x="T2" y="T3"/>
                  </a:cxn>
                  <a:cxn ang="0">
                    <a:pos x="T4" y="T5"/>
                  </a:cxn>
                  <a:cxn ang="0">
                    <a:pos x="T6" y="T7"/>
                  </a:cxn>
                  <a:cxn ang="0">
                    <a:pos x="T8" y="T9"/>
                  </a:cxn>
                </a:cxnLst>
                <a:rect l="0" t="0" r="r" b="b"/>
                <a:pathLst>
                  <a:path w="147" h="146">
                    <a:moveTo>
                      <a:pt x="147" y="68"/>
                    </a:moveTo>
                    <a:lnTo>
                      <a:pt x="79" y="0"/>
                    </a:lnTo>
                    <a:lnTo>
                      <a:pt x="0" y="78"/>
                    </a:lnTo>
                    <a:lnTo>
                      <a:pt x="68" y="146"/>
                    </a:lnTo>
                    <a:lnTo>
                      <a:pt x="147" y="6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61" name="Freeform 760"/>
              <p:cNvSpPr>
                <a:spLocks/>
              </p:cNvSpPr>
              <p:nvPr/>
            </p:nvSpPr>
            <p:spPr bwMode="auto">
              <a:xfrm>
                <a:off x="2641487" y="4349117"/>
                <a:ext cx="61929" cy="62428"/>
              </a:xfrm>
              <a:custGeom>
                <a:avLst/>
                <a:gdLst>
                  <a:gd name="T0" fmla="*/ 0 w 146"/>
                  <a:gd name="T1" fmla="*/ 79 h 147"/>
                  <a:gd name="T2" fmla="*/ 68 w 146"/>
                  <a:gd name="T3" fmla="*/ 147 h 147"/>
                  <a:gd name="T4" fmla="*/ 146 w 146"/>
                  <a:gd name="T5" fmla="*/ 68 h 147"/>
                  <a:gd name="T6" fmla="*/ 78 w 146"/>
                  <a:gd name="T7" fmla="*/ 0 h 147"/>
                  <a:gd name="T8" fmla="*/ 0 w 146"/>
                  <a:gd name="T9" fmla="*/ 79 h 147"/>
                </a:gdLst>
                <a:ahLst/>
                <a:cxnLst>
                  <a:cxn ang="0">
                    <a:pos x="T0" y="T1"/>
                  </a:cxn>
                  <a:cxn ang="0">
                    <a:pos x="T2" y="T3"/>
                  </a:cxn>
                  <a:cxn ang="0">
                    <a:pos x="T4" y="T5"/>
                  </a:cxn>
                  <a:cxn ang="0">
                    <a:pos x="T6" y="T7"/>
                  </a:cxn>
                  <a:cxn ang="0">
                    <a:pos x="T8" y="T9"/>
                  </a:cxn>
                </a:cxnLst>
                <a:rect l="0" t="0" r="r" b="b"/>
                <a:pathLst>
                  <a:path w="146" h="147">
                    <a:moveTo>
                      <a:pt x="0" y="79"/>
                    </a:moveTo>
                    <a:lnTo>
                      <a:pt x="68" y="147"/>
                    </a:lnTo>
                    <a:lnTo>
                      <a:pt x="146" y="68"/>
                    </a:lnTo>
                    <a:lnTo>
                      <a:pt x="78" y="0"/>
                    </a:lnTo>
                    <a:lnTo>
                      <a:pt x="0" y="79"/>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62" name="Freeform 761"/>
              <p:cNvSpPr>
                <a:spLocks/>
              </p:cNvSpPr>
              <p:nvPr/>
            </p:nvSpPr>
            <p:spPr bwMode="auto">
              <a:xfrm>
                <a:off x="2605361" y="4313685"/>
                <a:ext cx="61929" cy="62428"/>
              </a:xfrm>
              <a:custGeom>
                <a:avLst/>
                <a:gdLst>
                  <a:gd name="T0" fmla="*/ 147 w 147"/>
                  <a:gd name="T1" fmla="*/ 69 h 147"/>
                  <a:gd name="T2" fmla="*/ 79 w 147"/>
                  <a:gd name="T3" fmla="*/ 0 h 147"/>
                  <a:gd name="T4" fmla="*/ 0 w 147"/>
                  <a:gd name="T5" fmla="*/ 79 h 147"/>
                  <a:gd name="T6" fmla="*/ 69 w 147"/>
                  <a:gd name="T7" fmla="*/ 147 h 147"/>
                  <a:gd name="T8" fmla="*/ 147 w 147"/>
                  <a:gd name="T9" fmla="*/ 69 h 147"/>
                </a:gdLst>
                <a:ahLst/>
                <a:cxnLst>
                  <a:cxn ang="0">
                    <a:pos x="T0" y="T1"/>
                  </a:cxn>
                  <a:cxn ang="0">
                    <a:pos x="T2" y="T3"/>
                  </a:cxn>
                  <a:cxn ang="0">
                    <a:pos x="T4" y="T5"/>
                  </a:cxn>
                  <a:cxn ang="0">
                    <a:pos x="T6" y="T7"/>
                  </a:cxn>
                  <a:cxn ang="0">
                    <a:pos x="T8" y="T9"/>
                  </a:cxn>
                </a:cxnLst>
                <a:rect l="0" t="0" r="r" b="b"/>
                <a:pathLst>
                  <a:path w="147" h="147">
                    <a:moveTo>
                      <a:pt x="147" y="69"/>
                    </a:moveTo>
                    <a:lnTo>
                      <a:pt x="79" y="0"/>
                    </a:lnTo>
                    <a:lnTo>
                      <a:pt x="0" y="79"/>
                    </a:lnTo>
                    <a:lnTo>
                      <a:pt x="69" y="147"/>
                    </a:lnTo>
                    <a:lnTo>
                      <a:pt x="147" y="69"/>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63" name="Freeform 762"/>
              <p:cNvSpPr>
                <a:spLocks/>
              </p:cNvSpPr>
              <p:nvPr/>
            </p:nvSpPr>
            <p:spPr bwMode="auto">
              <a:xfrm>
                <a:off x="2761906" y="4372737"/>
                <a:ext cx="63649" cy="62428"/>
              </a:xfrm>
              <a:custGeom>
                <a:avLst/>
                <a:gdLst>
                  <a:gd name="T0" fmla="*/ 0 w 147"/>
                  <a:gd name="T1" fmla="*/ 79 h 147"/>
                  <a:gd name="T2" fmla="*/ 68 w 147"/>
                  <a:gd name="T3" fmla="*/ 147 h 147"/>
                  <a:gd name="T4" fmla="*/ 147 w 147"/>
                  <a:gd name="T5" fmla="*/ 68 h 147"/>
                  <a:gd name="T6" fmla="*/ 78 w 147"/>
                  <a:gd name="T7" fmla="*/ 0 h 147"/>
                  <a:gd name="T8" fmla="*/ 0 w 147"/>
                  <a:gd name="T9" fmla="*/ 79 h 147"/>
                </a:gdLst>
                <a:ahLst/>
                <a:cxnLst>
                  <a:cxn ang="0">
                    <a:pos x="T0" y="T1"/>
                  </a:cxn>
                  <a:cxn ang="0">
                    <a:pos x="T2" y="T3"/>
                  </a:cxn>
                  <a:cxn ang="0">
                    <a:pos x="T4" y="T5"/>
                  </a:cxn>
                  <a:cxn ang="0">
                    <a:pos x="T6" y="T7"/>
                  </a:cxn>
                  <a:cxn ang="0">
                    <a:pos x="T8" y="T9"/>
                  </a:cxn>
                </a:cxnLst>
                <a:rect l="0" t="0" r="r" b="b"/>
                <a:pathLst>
                  <a:path w="147" h="147">
                    <a:moveTo>
                      <a:pt x="0" y="79"/>
                    </a:moveTo>
                    <a:lnTo>
                      <a:pt x="68" y="147"/>
                    </a:lnTo>
                    <a:lnTo>
                      <a:pt x="147" y="68"/>
                    </a:lnTo>
                    <a:lnTo>
                      <a:pt x="78" y="0"/>
                    </a:lnTo>
                    <a:lnTo>
                      <a:pt x="0" y="79"/>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64" name="Freeform 763"/>
              <p:cNvSpPr>
                <a:spLocks/>
              </p:cNvSpPr>
              <p:nvPr/>
            </p:nvSpPr>
            <p:spPr bwMode="auto">
              <a:xfrm>
                <a:off x="2725780" y="4337305"/>
                <a:ext cx="63649" cy="62428"/>
              </a:xfrm>
              <a:custGeom>
                <a:avLst/>
                <a:gdLst>
                  <a:gd name="T0" fmla="*/ 147 w 147"/>
                  <a:gd name="T1" fmla="*/ 68 h 147"/>
                  <a:gd name="T2" fmla="*/ 79 w 147"/>
                  <a:gd name="T3" fmla="*/ 0 h 147"/>
                  <a:gd name="T4" fmla="*/ 0 w 147"/>
                  <a:gd name="T5" fmla="*/ 79 h 147"/>
                  <a:gd name="T6" fmla="*/ 68 w 147"/>
                  <a:gd name="T7" fmla="*/ 147 h 147"/>
                  <a:gd name="T8" fmla="*/ 147 w 147"/>
                  <a:gd name="T9" fmla="*/ 68 h 147"/>
                </a:gdLst>
                <a:ahLst/>
                <a:cxnLst>
                  <a:cxn ang="0">
                    <a:pos x="T0" y="T1"/>
                  </a:cxn>
                  <a:cxn ang="0">
                    <a:pos x="T2" y="T3"/>
                  </a:cxn>
                  <a:cxn ang="0">
                    <a:pos x="T4" y="T5"/>
                  </a:cxn>
                  <a:cxn ang="0">
                    <a:pos x="T6" y="T7"/>
                  </a:cxn>
                  <a:cxn ang="0">
                    <a:pos x="T8" y="T9"/>
                  </a:cxn>
                </a:cxnLst>
                <a:rect l="0" t="0" r="r" b="b"/>
                <a:pathLst>
                  <a:path w="147" h="147">
                    <a:moveTo>
                      <a:pt x="147" y="68"/>
                    </a:moveTo>
                    <a:lnTo>
                      <a:pt x="79" y="0"/>
                    </a:lnTo>
                    <a:lnTo>
                      <a:pt x="0" y="79"/>
                    </a:lnTo>
                    <a:lnTo>
                      <a:pt x="68" y="147"/>
                    </a:lnTo>
                    <a:lnTo>
                      <a:pt x="147" y="6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65" name="Freeform 764"/>
              <p:cNvSpPr>
                <a:spLocks/>
              </p:cNvSpPr>
              <p:nvPr/>
            </p:nvSpPr>
            <p:spPr bwMode="auto">
              <a:xfrm>
                <a:off x="2689655" y="4301874"/>
                <a:ext cx="63649" cy="62428"/>
              </a:xfrm>
              <a:custGeom>
                <a:avLst/>
                <a:gdLst>
                  <a:gd name="T0" fmla="*/ 147 w 147"/>
                  <a:gd name="T1" fmla="*/ 69 h 147"/>
                  <a:gd name="T2" fmla="*/ 79 w 147"/>
                  <a:gd name="T3" fmla="*/ 0 h 147"/>
                  <a:gd name="T4" fmla="*/ 0 w 147"/>
                  <a:gd name="T5" fmla="*/ 79 h 147"/>
                  <a:gd name="T6" fmla="*/ 68 w 147"/>
                  <a:gd name="T7" fmla="*/ 147 h 147"/>
                  <a:gd name="T8" fmla="*/ 147 w 147"/>
                  <a:gd name="T9" fmla="*/ 69 h 147"/>
                </a:gdLst>
                <a:ahLst/>
                <a:cxnLst>
                  <a:cxn ang="0">
                    <a:pos x="T0" y="T1"/>
                  </a:cxn>
                  <a:cxn ang="0">
                    <a:pos x="T2" y="T3"/>
                  </a:cxn>
                  <a:cxn ang="0">
                    <a:pos x="T4" y="T5"/>
                  </a:cxn>
                  <a:cxn ang="0">
                    <a:pos x="T6" y="T7"/>
                  </a:cxn>
                  <a:cxn ang="0">
                    <a:pos x="T8" y="T9"/>
                  </a:cxn>
                </a:cxnLst>
                <a:rect l="0" t="0" r="r" b="b"/>
                <a:pathLst>
                  <a:path w="147" h="147">
                    <a:moveTo>
                      <a:pt x="147" y="69"/>
                    </a:moveTo>
                    <a:lnTo>
                      <a:pt x="79" y="0"/>
                    </a:lnTo>
                    <a:lnTo>
                      <a:pt x="0" y="79"/>
                    </a:lnTo>
                    <a:lnTo>
                      <a:pt x="68" y="147"/>
                    </a:lnTo>
                    <a:lnTo>
                      <a:pt x="147" y="69"/>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66" name="Freeform 765"/>
              <p:cNvSpPr>
                <a:spLocks/>
              </p:cNvSpPr>
              <p:nvPr/>
            </p:nvSpPr>
            <p:spPr bwMode="auto">
              <a:xfrm>
                <a:off x="2653529" y="4266442"/>
                <a:ext cx="63649" cy="62428"/>
              </a:xfrm>
              <a:custGeom>
                <a:avLst/>
                <a:gdLst>
                  <a:gd name="T0" fmla="*/ 147 w 147"/>
                  <a:gd name="T1" fmla="*/ 69 h 147"/>
                  <a:gd name="T2" fmla="*/ 79 w 147"/>
                  <a:gd name="T3" fmla="*/ 0 h 147"/>
                  <a:gd name="T4" fmla="*/ 0 w 147"/>
                  <a:gd name="T5" fmla="*/ 79 h 147"/>
                  <a:gd name="T6" fmla="*/ 68 w 147"/>
                  <a:gd name="T7" fmla="*/ 147 h 147"/>
                  <a:gd name="T8" fmla="*/ 147 w 147"/>
                  <a:gd name="T9" fmla="*/ 69 h 147"/>
                </a:gdLst>
                <a:ahLst/>
                <a:cxnLst>
                  <a:cxn ang="0">
                    <a:pos x="T0" y="T1"/>
                  </a:cxn>
                  <a:cxn ang="0">
                    <a:pos x="T2" y="T3"/>
                  </a:cxn>
                  <a:cxn ang="0">
                    <a:pos x="T4" y="T5"/>
                  </a:cxn>
                  <a:cxn ang="0">
                    <a:pos x="T6" y="T7"/>
                  </a:cxn>
                  <a:cxn ang="0">
                    <a:pos x="T8" y="T9"/>
                  </a:cxn>
                </a:cxnLst>
                <a:rect l="0" t="0" r="r" b="b"/>
                <a:pathLst>
                  <a:path w="147" h="147">
                    <a:moveTo>
                      <a:pt x="147" y="69"/>
                    </a:moveTo>
                    <a:lnTo>
                      <a:pt x="79" y="0"/>
                    </a:lnTo>
                    <a:lnTo>
                      <a:pt x="0" y="79"/>
                    </a:lnTo>
                    <a:lnTo>
                      <a:pt x="68" y="147"/>
                    </a:lnTo>
                    <a:lnTo>
                      <a:pt x="147" y="69"/>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67" name="Freeform 766"/>
              <p:cNvSpPr>
                <a:spLocks/>
              </p:cNvSpPr>
              <p:nvPr/>
            </p:nvSpPr>
            <p:spPr bwMode="auto">
              <a:xfrm>
                <a:off x="2810072" y="4325495"/>
                <a:ext cx="63649" cy="60739"/>
              </a:xfrm>
              <a:custGeom>
                <a:avLst/>
                <a:gdLst>
                  <a:gd name="T0" fmla="*/ 78 w 147"/>
                  <a:gd name="T1" fmla="*/ 0 h 147"/>
                  <a:gd name="T2" fmla="*/ 0 w 147"/>
                  <a:gd name="T3" fmla="*/ 79 h 147"/>
                  <a:gd name="T4" fmla="*/ 68 w 147"/>
                  <a:gd name="T5" fmla="*/ 147 h 147"/>
                  <a:gd name="T6" fmla="*/ 147 w 147"/>
                  <a:gd name="T7" fmla="*/ 68 h 147"/>
                  <a:gd name="T8" fmla="*/ 78 w 147"/>
                  <a:gd name="T9" fmla="*/ 0 h 147"/>
                </a:gdLst>
                <a:ahLst/>
                <a:cxnLst>
                  <a:cxn ang="0">
                    <a:pos x="T0" y="T1"/>
                  </a:cxn>
                  <a:cxn ang="0">
                    <a:pos x="T2" y="T3"/>
                  </a:cxn>
                  <a:cxn ang="0">
                    <a:pos x="T4" y="T5"/>
                  </a:cxn>
                  <a:cxn ang="0">
                    <a:pos x="T6" y="T7"/>
                  </a:cxn>
                  <a:cxn ang="0">
                    <a:pos x="T8" y="T9"/>
                  </a:cxn>
                </a:cxnLst>
                <a:rect l="0" t="0" r="r" b="b"/>
                <a:pathLst>
                  <a:path w="147" h="147">
                    <a:moveTo>
                      <a:pt x="78" y="0"/>
                    </a:moveTo>
                    <a:lnTo>
                      <a:pt x="0" y="79"/>
                    </a:lnTo>
                    <a:lnTo>
                      <a:pt x="68" y="147"/>
                    </a:lnTo>
                    <a:lnTo>
                      <a:pt x="147" y="68"/>
                    </a:lnTo>
                    <a:lnTo>
                      <a:pt x="78"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68" name="Freeform 767"/>
              <p:cNvSpPr>
                <a:spLocks/>
              </p:cNvSpPr>
              <p:nvPr/>
            </p:nvSpPr>
            <p:spPr bwMode="auto">
              <a:xfrm>
                <a:off x="2787514" y="4290065"/>
                <a:ext cx="63649" cy="60739"/>
              </a:xfrm>
              <a:custGeom>
                <a:avLst/>
                <a:gdLst>
                  <a:gd name="T0" fmla="*/ 68 w 146"/>
                  <a:gd name="T1" fmla="*/ 147 h 147"/>
                  <a:gd name="T2" fmla="*/ 146 w 146"/>
                  <a:gd name="T3" fmla="*/ 69 h 147"/>
                  <a:gd name="T4" fmla="*/ 77 w 146"/>
                  <a:gd name="T5" fmla="*/ 0 h 147"/>
                  <a:gd name="T6" fmla="*/ 0 w 146"/>
                  <a:gd name="T7" fmla="*/ 79 h 147"/>
                  <a:gd name="T8" fmla="*/ 68 w 146"/>
                  <a:gd name="T9" fmla="*/ 147 h 147"/>
                </a:gdLst>
                <a:ahLst/>
                <a:cxnLst>
                  <a:cxn ang="0">
                    <a:pos x="T0" y="T1"/>
                  </a:cxn>
                  <a:cxn ang="0">
                    <a:pos x="T2" y="T3"/>
                  </a:cxn>
                  <a:cxn ang="0">
                    <a:pos x="T4" y="T5"/>
                  </a:cxn>
                  <a:cxn ang="0">
                    <a:pos x="T6" y="T7"/>
                  </a:cxn>
                  <a:cxn ang="0">
                    <a:pos x="T8" y="T9"/>
                  </a:cxn>
                </a:cxnLst>
                <a:rect l="0" t="0" r="r" b="b"/>
                <a:pathLst>
                  <a:path w="146" h="147">
                    <a:moveTo>
                      <a:pt x="68" y="147"/>
                    </a:moveTo>
                    <a:lnTo>
                      <a:pt x="146" y="69"/>
                    </a:lnTo>
                    <a:lnTo>
                      <a:pt x="77" y="0"/>
                    </a:lnTo>
                    <a:lnTo>
                      <a:pt x="0" y="79"/>
                    </a:lnTo>
                    <a:lnTo>
                      <a:pt x="68" y="147"/>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69" name="Freeform 768"/>
              <p:cNvSpPr>
                <a:spLocks/>
              </p:cNvSpPr>
              <p:nvPr/>
            </p:nvSpPr>
            <p:spPr bwMode="auto">
              <a:xfrm>
                <a:off x="2737821" y="4254634"/>
                <a:ext cx="63649" cy="60739"/>
              </a:xfrm>
              <a:custGeom>
                <a:avLst/>
                <a:gdLst>
                  <a:gd name="T0" fmla="*/ 68 w 147"/>
                  <a:gd name="T1" fmla="*/ 146 h 146"/>
                  <a:gd name="T2" fmla="*/ 147 w 147"/>
                  <a:gd name="T3" fmla="*/ 69 h 146"/>
                  <a:gd name="T4" fmla="*/ 79 w 147"/>
                  <a:gd name="T5" fmla="*/ 0 h 146"/>
                  <a:gd name="T6" fmla="*/ 0 w 147"/>
                  <a:gd name="T7" fmla="*/ 78 h 146"/>
                  <a:gd name="T8" fmla="*/ 68 w 147"/>
                  <a:gd name="T9" fmla="*/ 146 h 146"/>
                </a:gdLst>
                <a:ahLst/>
                <a:cxnLst>
                  <a:cxn ang="0">
                    <a:pos x="T0" y="T1"/>
                  </a:cxn>
                  <a:cxn ang="0">
                    <a:pos x="T2" y="T3"/>
                  </a:cxn>
                  <a:cxn ang="0">
                    <a:pos x="T4" y="T5"/>
                  </a:cxn>
                  <a:cxn ang="0">
                    <a:pos x="T6" y="T7"/>
                  </a:cxn>
                  <a:cxn ang="0">
                    <a:pos x="T8" y="T9"/>
                  </a:cxn>
                </a:cxnLst>
                <a:rect l="0" t="0" r="r" b="b"/>
                <a:pathLst>
                  <a:path w="147" h="146">
                    <a:moveTo>
                      <a:pt x="68" y="146"/>
                    </a:moveTo>
                    <a:lnTo>
                      <a:pt x="147" y="69"/>
                    </a:lnTo>
                    <a:lnTo>
                      <a:pt x="79" y="0"/>
                    </a:lnTo>
                    <a:lnTo>
                      <a:pt x="0" y="78"/>
                    </a:lnTo>
                    <a:lnTo>
                      <a:pt x="68" y="14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70" name="Freeform 769"/>
              <p:cNvSpPr>
                <a:spLocks/>
              </p:cNvSpPr>
              <p:nvPr/>
            </p:nvSpPr>
            <p:spPr bwMode="auto">
              <a:xfrm>
                <a:off x="2701696" y="4219200"/>
                <a:ext cx="63649" cy="62428"/>
              </a:xfrm>
              <a:custGeom>
                <a:avLst/>
                <a:gdLst>
                  <a:gd name="T0" fmla="*/ 147 w 147"/>
                  <a:gd name="T1" fmla="*/ 69 h 148"/>
                  <a:gd name="T2" fmla="*/ 79 w 147"/>
                  <a:gd name="T3" fmla="*/ 0 h 148"/>
                  <a:gd name="T4" fmla="*/ 0 w 147"/>
                  <a:gd name="T5" fmla="*/ 79 h 148"/>
                  <a:gd name="T6" fmla="*/ 68 w 147"/>
                  <a:gd name="T7" fmla="*/ 148 h 148"/>
                  <a:gd name="T8" fmla="*/ 147 w 147"/>
                  <a:gd name="T9" fmla="*/ 69 h 148"/>
                </a:gdLst>
                <a:ahLst/>
                <a:cxnLst>
                  <a:cxn ang="0">
                    <a:pos x="T0" y="T1"/>
                  </a:cxn>
                  <a:cxn ang="0">
                    <a:pos x="T2" y="T3"/>
                  </a:cxn>
                  <a:cxn ang="0">
                    <a:pos x="T4" y="T5"/>
                  </a:cxn>
                  <a:cxn ang="0">
                    <a:pos x="T6" y="T7"/>
                  </a:cxn>
                  <a:cxn ang="0">
                    <a:pos x="T8" y="T9"/>
                  </a:cxn>
                </a:cxnLst>
                <a:rect l="0" t="0" r="r" b="b"/>
                <a:pathLst>
                  <a:path w="147" h="148">
                    <a:moveTo>
                      <a:pt x="147" y="69"/>
                    </a:moveTo>
                    <a:lnTo>
                      <a:pt x="79" y="0"/>
                    </a:lnTo>
                    <a:lnTo>
                      <a:pt x="0" y="79"/>
                    </a:lnTo>
                    <a:lnTo>
                      <a:pt x="68" y="148"/>
                    </a:lnTo>
                    <a:lnTo>
                      <a:pt x="147" y="69"/>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71" name="Freeform 770"/>
              <p:cNvSpPr>
                <a:spLocks/>
              </p:cNvSpPr>
              <p:nvPr/>
            </p:nvSpPr>
            <p:spPr bwMode="auto">
              <a:xfrm>
                <a:off x="2921696" y="4229324"/>
                <a:ext cx="63649" cy="62428"/>
              </a:xfrm>
              <a:custGeom>
                <a:avLst/>
                <a:gdLst>
                  <a:gd name="T0" fmla="*/ 0 w 146"/>
                  <a:gd name="T1" fmla="*/ 79 h 147"/>
                  <a:gd name="T2" fmla="*/ 68 w 146"/>
                  <a:gd name="T3" fmla="*/ 147 h 147"/>
                  <a:gd name="T4" fmla="*/ 146 w 146"/>
                  <a:gd name="T5" fmla="*/ 68 h 147"/>
                  <a:gd name="T6" fmla="*/ 78 w 146"/>
                  <a:gd name="T7" fmla="*/ 0 h 147"/>
                  <a:gd name="T8" fmla="*/ 0 w 146"/>
                  <a:gd name="T9" fmla="*/ 79 h 147"/>
                </a:gdLst>
                <a:ahLst/>
                <a:cxnLst>
                  <a:cxn ang="0">
                    <a:pos x="T0" y="T1"/>
                  </a:cxn>
                  <a:cxn ang="0">
                    <a:pos x="T2" y="T3"/>
                  </a:cxn>
                  <a:cxn ang="0">
                    <a:pos x="T4" y="T5"/>
                  </a:cxn>
                  <a:cxn ang="0">
                    <a:pos x="T6" y="T7"/>
                  </a:cxn>
                  <a:cxn ang="0">
                    <a:pos x="T8" y="T9"/>
                  </a:cxn>
                </a:cxnLst>
                <a:rect l="0" t="0" r="r" b="b"/>
                <a:pathLst>
                  <a:path w="146" h="147">
                    <a:moveTo>
                      <a:pt x="0" y="79"/>
                    </a:moveTo>
                    <a:lnTo>
                      <a:pt x="68" y="147"/>
                    </a:lnTo>
                    <a:lnTo>
                      <a:pt x="146" y="68"/>
                    </a:lnTo>
                    <a:lnTo>
                      <a:pt x="78" y="0"/>
                    </a:lnTo>
                    <a:lnTo>
                      <a:pt x="0" y="79"/>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72" name="Freeform 771"/>
              <p:cNvSpPr>
                <a:spLocks/>
              </p:cNvSpPr>
              <p:nvPr/>
            </p:nvSpPr>
            <p:spPr bwMode="auto">
              <a:xfrm>
                <a:off x="2885568" y="4193893"/>
                <a:ext cx="63649" cy="62428"/>
              </a:xfrm>
              <a:custGeom>
                <a:avLst/>
                <a:gdLst>
                  <a:gd name="T0" fmla="*/ 79 w 147"/>
                  <a:gd name="T1" fmla="*/ 0 h 147"/>
                  <a:gd name="T2" fmla="*/ 0 w 147"/>
                  <a:gd name="T3" fmla="*/ 79 h 147"/>
                  <a:gd name="T4" fmla="*/ 68 w 147"/>
                  <a:gd name="T5" fmla="*/ 147 h 147"/>
                  <a:gd name="T6" fmla="*/ 147 w 147"/>
                  <a:gd name="T7" fmla="*/ 68 h 147"/>
                  <a:gd name="T8" fmla="*/ 79 w 147"/>
                  <a:gd name="T9" fmla="*/ 0 h 147"/>
                </a:gdLst>
                <a:ahLst/>
                <a:cxnLst>
                  <a:cxn ang="0">
                    <a:pos x="T0" y="T1"/>
                  </a:cxn>
                  <a:cxn ang="0">
                    <a:pos x="T2" y="T3"/>
                  </a:cxn>
                  <a:cxn ang="0">
                    <a:pos x="T4" y="T5"/>
                  </a:cxn>
                  <a:cxn ang="0">
                    <a:pos x="T6" y="T7"/>
                  </a:cxn>
                  <a:cxn ang="0">
                    <a:pos x="T8" y="T9"/>
                  </a:cxn>
                </a:cxnLst>
                <a:rect l="0" t="0" r="r" b="b"/>
                <a:pathLst>
                  <a:path w="147" h="147">
                    <a:moveTo>
                      <a:pt x="79" y="0"/>
                    </a:moveTo>
                    <a:lnTo>
                      <a:pt x="0" y="79"/>
                    </a:lnTo>
                    <a:lnTo>
                      <a:pt x="68" y="147"/>
                    </a:lnTo>
                    <a:lnTo>
                      <a:pt x="147" y="68"/>
                    </a:lnTo>
                    <a:lnTo>
                      <a:pt x="79"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73" name="Freeform 772"/>
              <p:cNvSpPr>
                <a:spLocks/>
              </p:cNvSpPr>
              <p:nvPr/>
            </p:nvSpPr>
            <p:spPr bwMode="auto">
              <a:xfrm>
                <a:off x="2849442" y="4158459"/>
                <a:ext cx="63649" cy="62428"/>
              </a:xfrm>
              <a:custGeom>
                <a:avLst/>
                <a:gdLst>
                  <a:gd name="T0" fmla="*/ 79 w 147"/>
                  <a:gd name="T1" fmla="*/ 0 h 147"/>
                  <a:gd name="T2" fmla="*/ 0 w 147"/>
                  <a:gd name="T3" fmla="*/ 79 h 147"/>
                  <a:gd name="T4" fmla="*/ 69 w 147"/>
                  <a:gd name="T5" fmla="*/ 147 h 147"/>
                  <a:gd name="T6" fmla="*/ 147 w 147"/>
                  <a:gd name="T7" fmla="*/ 68 h 147"/>
                  <a:gd name="T8" fmla="*/ 79 w 147"/>
                  <a:gd name="T9" fmla="*/ 0 h 147"/>
                </a:gdLst>
                <a:ahLst/>
                <a:cxnLst>
                  <a:cxn ang="0">
                    <a:pos x="T0" y="T1"/>
                  </a:cxn>
                  <a:cxn ang="0">
                    <a:pos x="T2" y="T3"/>
                  </a:cxn>
                  <a:cxn ang="0">
                    <a:pos x="T4" y="T5"/>
                  </a:cxn>
                  <a:cxn ang="0">
                    <a:pos x="T6" y="T7"/>
                  </a:cxn>
                  <a:cxn ang="0">
                    <a:pos x="T8" y="T9"/>
                  </a:cxn>
                </a:cxnLst>
                <a:rect l="0" t="0" r="r" b="b"/>
                <a:pathLst>
                  <a:path w="147" h="147">
                    <a:moveTo>
                      <a:pt x="79" y="0"/>
                    </a:moveTo>
                    <a:lnTo>
                      <a:pt x="0" y="79"/>
                    </a:lnTo>
                    <a:lnTo>
                      <a:pt x="69" y="147"/>
                    </a:lnTo>
                    <a:lnTo>
                      <a:pt x="147" y="68"/>
                    </a:lnTo>
                    <a:lnTo>
                      <a:pt x="79"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74" name="Freeform 773"/>
              <p:cNvSpPr>
                <a:spLocks/>
              </p:cNvSpPr>
              <p:nvPr/>
            </p:nvSpPr>
            <p:spPr bwMode="auto">
              <a:xfrm>
                <a:off x="2813317" y="4123030"/>
                <a:ext cx="63649" cy="62428"/>
              </a:xfrm>
              <a:custGeom>
                <a:avLst/>
                <a:gdLst>
                  <a:gd name="T0" fmla="*/ 79 w 147"/>
                  <a:gd name="T1" fmla="*/ 0 h 147"/>
                  <a:gd name="T2" fmla="*/ 0 w 147"/>
                  <a:gd name="T3" fmla="*/ 79 h 147"/>
                  <a:gd name="T4" fmla="*/ 69 w 147"/>
                  <a:gd name="T5" fmla="*/ 147 h 147"/>
                  <a:gd name="T6" fmla="*/ 147 w 147"/>
                  <a:gd name="T7" fmla="*/ 70 h 147"/>
                  <a:gd name="T8" fmla="*/ 79 w 147"/>
                  <a:gd name="T9" fmla="*/ 0 h 147"/>
                </a:gdLst>
                <a:ahLst/>
                <a:cxnLst>
                  <a:cxn ang="0">
                    <a:pos x="T0" y="T1"/>
                  </a:cxn>
                  <a:cxn ang="0">
                    <a:pos x="T2" y="T3"/>
                  </a:cxn>
                  <a:cxn ang="0">
                    <a:pos x="T4" y="T5"/>
                  </a:cxn>
                  <a:cxn ang="0">
                    <a:pos x="T6" y="T7"/>
                  </a:cxn>
                  <a:cxn ang="0">
                    <a:pos x="T8" y="T9"/>
                  </a:cxn>
                </a:cxnLst>
                <a:rect l="0" t="0" r="r" b="b"/>
                <a:pathLst>
                  <a:path w="147" h="147">
                    <a:moveTo>
                      <a:pt x="79" y="0"/>
                    </a:moveTo>
                    <a:lnTo>
                      <a:pt x="0" y="79"/>
                    </a:lnTo>
                    <a:lnTo>
                      <a:pt x="69" y="147"/>
                    </a:lnTo>
                    <a:lnTo>
                      <a:pt x="147" y="70"/>
                    </a:lnTo>
                    <a:lnTo>
                      <a:pt x="79"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75" name="Freeform 774"/>
              <p:cNvSpPr>
                <a:spLocks/>
              </p:cNvSpPr>
              <p:nvPr/>
            </p:nvSpPr>
            <p:spPr bwMode="auto">
              <a:xfrm>
                <a:off x="2971582" y="4182081"/>
                <a:ext cx="61929" cy="60739"/>
              </a:xfrm>
              <a:custGeom>
                <a:avLst/>
                <a:gdLst>
                  <a:gd name="T0" fmla="*/ 0 w 147"/>
                  <a:gd name="T1" fmla="*/ 79 h 147"/>
                  <a:gd name="T2" fmla="*/ 68 w 147"/>
                  <a:gd name="T3" fmla="*/ 147 h 147"/>
                  <a:gd name="T4" fmla="*/ 147 w 147"/>
                  <a:gd name="T5" fmla="*/ 68 h 147"/>
                  <a:gd name="T6" fmla="*/ 78 w 147"/>
                  <a:gd name="T7" fmla="*/ 0 h 147"/>
                  <a:gd name="T8" fmla="*/ 0 w 147"/>
                  <a:gd name="T9" fmla="*/ 79 h 147"/>
                </a:gdLst>
                <a:ahLst/>
                <a:cxnLst>
                  <a:cxn ang="0">
                    <a:pos x="T0" y="T1"/>
                  </a:cxn>
                  <a:cxn ang="0">
                    <a:pos x="T2" y="T3"/>
                  </a:cxn>
                  <a:cxn ang="0">
                    <a:pos x="T4" y="T5"/>
                  </a:cxn>
                  <a:cxn ang="0">
                    <a:pos x="T6" y="T7"/>
                  </a:cxn>
                  <a:cxn ang="0">
                    <a:pos x="T8" y="T9"/>
                  </a:cxn>
                </a:cxnLst>
                <a:rect l="0" t="0" r="r" b="b"/>
                <a:pathLst>
                  <a:path w="147" h="147">
                    <a:moveTo>
                      <a:pt x="0" y="79"/>
                    </a:moveTo>
                    <a:lnTo>
                      <a:pt x="68" y="147"/>
                    </a:lnTo>
                    <a:lnTo>
                      <a:pt x="147" y="68"/>
                    </a:lnTo>
                    <a:lnTo>
                      <a:pt x="78" y="0"/>
                    </a:lnTo>
                    <a:lnTo>
                      <a:pt x="0" y="79"/>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76" name="Freeform 775"/>
              <p:cNvSpPr>
                <a:spLocks/>
              </p:cNvSpPr>
              <p:nvPr/>
            </p:nvSpPr>
            <p:spPr bwMode="auto">
              <a:xfrm>
                <a:off x="2933736" y="4146650"/>
                <a:ext cx="63649" cy="60739"/>
              </a:xfrm>
              <a:custGeom>
                <a:avLst/>
                <a:gdLst>
                  <a:gd name="T0" fmla="*/ 147 w 147"/>
                  <a:gd name="T1" fmla="*/ 68 h 146"/>
                  <a:gd name="T2" fmla="*/ 79 w 147"/>
                  <a:gd name="T3" fmla="*/ 0 h 146"/>
                  <a:gd name="T4" fmla="*/ 0 w 147"/>
                  <a:gd name="T5" fmla="*/ 78 h 146"/>
                  <a:gd name="T6" fmla="*/ 68 w 147"/>
                  <a:gd name="T7" fmla="*/ 146 h 146"/>
                  <a:gd name="T8" fmla="*/ 147 w 147"/>
                  <a:gd name="T9" fmla="*/ 68 h 146"/>
                </a:gdLst>
                <a:ahLst/>
                <a:cxnLst>
                  <a:cxn ang="0">
                    <a:pos x="T0" y="T1"/>
                  </a:cxn>
                  <a:cxn ang="0">
                    <a:pos x="T2" y="T3"/>
                  </a:cxn>
                  <a:cxn ang="0">
                    <a:pos x="T4" y="T5"/>
                  </a:cxn>
                  <a:cxn ang="0">
                    <a:pos x="T6" y="T7"/>
                  </a:cxn>
                  <a:cxn ang="0">
                    <a:pos x="T8" y="T9"/>
                  </a:cxn>
                </a:cxnLst>
                <a:rect l="0" t="0" r="r" b="b"/>
                <a:pathLst>
                  <a:path w="147" h="146">
                    <a:moveTo>
                      <a:pt x="147" y="68"/>
                    </a:moveTo>
                    <a:lnTo>
                      <a:pt x="79" y="0"/>
                    </a:lnTo>
                    <a:lnTo>
                      <a:pt x="0" y="78"/>
                    </a:lnTo>
                    <a:lnTo>
                      <a:pt x="68" y="146"/>
                    </a:lnTo>
                    <a:lnTo>
                      <a:pt x="147" y="6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77" name="Freeform 776"/>
              <p:cNvSpPr>
                <a:spLocks/>
              </p:cNvSpPr>
              <p:nvPr/>
            </p:nvSpPr>
            <p:spPr bwMode="auto">
              <a:xfrm>
                <a:off x="2897611" y="4111218"/>
                <a:ext cx="63649" cy="60739"/>
              </a:xfrm>
              <a:custGeom>
                <a:avLst/>
                <a:gdLst>
                  <a:gd name="T0" fmla="*/ 0 w 146"/>
                  <a:gd name="T1" fmla="*/ 79 h 147"/>
                  <a:gd name="T2" fmla="*/ 68 w 146"/>
                  <a:gd name="T3" fmla="*/ 147 h 147"/>
                  <a:gd name="T4" fmla="*/ 146 w 146"/>
                  <a:gd name="T5" fmla="*/ 69 h 147"/>
                  <a:gd name="T6" fmla="*/ 78 w 146"/>
                  <a:gd name="T7" fmla="*/ 0 h 147"/>
                  <a:gd name="T8" fmla="*/ 0 w 146"/>
                  <a:gd name="T9" fmla="*/ 79 h 147"/>
                </a:gdLst>
                <a:ahLst/>
                <a:cxnLst>
                  <a:cxn ang="0">
                    <a:pos x="T0" y="T1"/>
                  </a:cxn>
                  <a:cxn ang="0">
                    <a:pos x="T2" y="T3"/>
                  </a:cxn>
                  <a:cxn ang="0">
                    <a:pos x="T4" y="T5"/>
                  </a:cxn>
                  <a:cxn ang="0">
                    <a:pos x="T6" y="T7"/>
                  </a:cxn>
                  <a:cxn ang="0">
                    <a:pos x="T8" y="T9"/>
                  </a:cxn>
                </a:cxnLst>
                <a:rect l="0" t="0" r="r" b="b"/>
                <a:pathLst>
                  <a:path w="146" h="147">
                    <a:moveTo>
                      <a:pt x="0" y="79"/>
                    </a:moveTo>
                    <a:lnTo>
                      <a:pt x="68" y="147"/>
                    </a:lnTo>
                    <a:lnTo>
                      <a:pt x="146" y="69"/>
                    </a:lnTo>
                    <a:lnTo>
                      <a:pt x="78" y="0"/>
                    </a:lnTo>
                    <a:lnTo>
                      <a:pt x="0" y="79"/>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78" name="Freeform 777"/>
              <p:cNvSpPr>
                <a:spLocks/>
              </p:cNvSpPr>
              <p:nvPr/>
            </p:nvSpPr>
            <p:spPr bwMode="auto">
              <a:xfrm>
                <a:off x="2861485" y="4075787"/>
                <a:ext cx="63649" cy="60739"/>
              </a:xfrm>
              <a:custGeom>
                <a:avLst/>
                <a:gdLst>
                  <a:gd name="T0" fmla="*/ 147 w 147"/>
                  <a:gd name="T1" fmla="*/ 69 h 147"/>
                  <a:gd name="T2" fmla="*/ 79 w 147"/>
                  <a:gd name="T3" fmla="*/ 0 h 147"/>
                  <a:gd name="T4" fmla="*/ 0 w 147"/>
                  <a:gd name="T5" fmla="*/ 79 h 147"/>
                  <a:gd name="T6" fmla="*/ 69 w 147"/>
                  <a:gd name="T7" fmla="*/ 147 h 147"/>
                  <a:gd name="T8" fmla="*/ 147 w 147"/>
                  <a:gd name="T9" fmla="*/ 69 h 147"/>
                </a:gdLst>
                <a:ahLst/>
                <a:cxnLst>
                  <a:cxn ang="0">
                    <a:pos x="T0" y="T1"/>
                  </a:cxn>
                  <a:cxn ang="0">
                    <a:pos x="T2" y="T3"/>
                  </a:cxn>
                  <a:cxn ang="0">
                    <a:pos x="T4" y="T5"/>
                  </a:cxn>
                  <a:cxn ang="0">
                    <a:pos x="T6" y="T7"/>
                  </a:cxn>
                  <a:cxn ang="0">
                    <a:pos x="T8" y="T9"/>
                  </a:cxn>
                </a:cxnLst>
                <a:rect l="0" t="0" r="r" b="b"/>
                <a:pathLst>
                  <a:path w="147" h="147">
                    <a:moveTo>
                      <a:pt x="147" y="69"/>
                    </a:moveTo>
                    <a:lnTo>
                      <a:pt x="79" y="0"/>
                    </a:lnTo>
                    <a:lnTo>
                      <a:pt x="0" y="79"/>
                    </a:lnTo>
                    <a:lnTo>
                      <a:pt x="69" y="147"/>
                    </a:lnTo>
                    <a:lnTo>
                      <a:pt x="147" y="69"/>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79" name="Freeform 778"/>
              <p:cNvSpPr>
                <a:spLocks/>
              </p:cNvSpPr>
              <p:nvPr/>
            </p:nvSpPr>
            <p:spPr bwMode="auto">
              <a:xfrm>
                <a:off x="3019749" y="4133152"/>
                <a:ext cx="63649" cy="62428"/>
              </a:xfrm>
              <a:custGeom>
                <a:avLst/>
                <a:gdLst>
                  <a:gd name="T0" fmla="*/ 0 w 147"/>
                  <a:gd name="T1" fmla="*/ 79 h 147"/>
                  <a:gd name="T2" fmla="*/ 68 w 147"/>
                  <a:gd name="T3" fmla="*/ 147 h 147"/>
                  <a:gd name="T4" fmla="*/ 147 w 147"/>
                  <a:gd name="T5" fmla="*/ 68 h 147"/>
                  <a:gd name="T6" fmla="*/ 78 w 147"/>
                  <a:gd name="T7" fmla="*/ 0 h 147"/>
                  <a:gd name="T8" fmla="*/ 0 w 147"/>
                  <a:gd name="T9" fmla="*/ 79 h 147"/>
                </a:gdLst>
                <a:ahLst/>
                <a:cxnLst>
                  <a:cxn ang="0">
                    <a:pos x="T0" y="T1"/>
                  </a:cxn>
                  <a:cxn ang="0">
                    <a:pos x="T2" y="T3"/>
                  </a:cxn>
                  <a:cxn ang="0">
                    <a:pos x="T4" y="T5"/>
                  </a:cxn>
                  <a:cxn ang="0">
                    <a:pos x="T6" y="T7"/>
                  </a:cxn>
                  <a:cxn ang="0">
                    <a:pos x="T8" y="T9"/>
                  </a:cxn>
                </a:cxnLst>
                <a:rect l="0" t="0" r="r" b="b"/>
                <a:pathLst>
                  <a:path w="147" h="147">
                    <a:moveTo>
                      <a:pt x="0" y="79"/>
                    </a:moveTo>
                    <a:lnTo>
                      <a:pt x="68" y="147"/>
                    </a:lnTo>
                    <a:lnTo>
                      <a:pt x="147" y="68"/>
                    </a:lnTo>
                    <a:lnTo>
                      <a:pt x="78" y="0"/>
                    </a:lnTo>
                    <a:lnTo>
                      <a:pt x="0" y="79"/>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80" name="Freeform 779"/>
              <p:cNvSpPr>
                <a:spLocks/>
              </p:cNvSpPr>
              <p:nvPr/>
            </p:nvSpPr>
            <p:spPr bwMode="auto">
              <a:xfrm>
                <a:off x="2983624" y="4097721"/>
                <a:ext cx="63649" cy="62428"/>
              </a:xfrm>
              <a:custGeom>
                <a:avLst/>
                <a:gdLst>
                  <a:gd name="T0" fmla="*/ 147 w 147"/>
                  <a:gd name="T1" fmla="*/ 69 h 147"/>
                  <a:gd name="T2" fmla="*/ 78 w 147"/>
                  <a:gd name="T3" fmla="*/ 0 h 147"/>
                  <a:gd name="T4" fmla="*/ 0 w 147"/>
                  <a:gd name="T5" fmla="*/ 79 h 147"/>
                  <a:gd name="T6" fmla="*/ 68 w 147"/>
                  <a:gd name="T7" fmla="*/ 147 h 147"/>
                  <a:gd name="T8" fmla="*/ 147 w 147"/>
                  <a:gd name="T9" fmla="*/ 69 h 147"/>
                </a:gdLst>
                <a:ahLst/>
                <a:cxnLst>
                  <a:cxn ang="0">
                    <a:pos x="T0" y="T1"/>
                  </a:cxn>
                  <a:cxn ang="0">
                    <a:pos x="T2" y="T3"/>
                  </a:cxn>
                  <a:cxn ang="0">
                    <a:pos x="T4" y="T5"/>
                  </a:cxn>
                  <a:cxn ang="0">
                    <a:pos x="T6" y="T7"/>
                  </a:cxn>
                  <a:cxn ang="0">
                    <a:pos x="T8" y="T9"/>
                  </a:cxn>
                </a:cxnLst>
                <a:rect l="0" t="0" r="r" b="b"/>
                <a:pathLst>
                  <a:path w="147" h="147">
                    <a:moveTo>
                      <a:pt x="147" y="69"/>
                    </a:moveTo>
                    <a:lnTo>
                      <a:pt x="78" y="0"/>
                    </a:lnTo>
                    <a:lnTo>
                      <a:pt x="0" y="79"/>
                    </a:lnTo>
                    <a:lnTo>
                      <a:pt x="68" y="147"/>
                    </a:lnTo>
                    <a:lnTo>
                      <a:pt x="147" y="69"/>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81" name="Freeform 780"/>
              <p:cNvSpPr>
                <a:spLocks/>
              </p:cNvSpPr>
              <p:nvPr/>
            </p:nvSpPr>
            <p:spPr bwMode="auto">
              <a:xfrm>
                <a:off x="2947499" y="4062288"/>
                <a:ext cx="61929" cy="62428"/>
              </a:xfrm>
              <a:custGeom>
                <a:avLst/>
                <a:gdLst>
                  <a:gd name="T0" fmla="*/ 0 w 147"/>
                  <a:gd name="T1" fmla="*/ 79 h 147"/>
                  <a:gd name="T2" fmla="*/ 68 w 147"/>
                  <a:gd name="T3" fmla="*/ 147 h 147"/>
                  <a:gd name="T4" fmla="*/ 147 w 147"/>
                  <a:gd name="T5" fmla="*/ 69 h 147"/>
                  <a:gd name="T6" fmla="*/ 79 w 147"/>
                  <a:gd name="T7" fmla="*/ 0 h 147"/>
                  <a:gd name="T8" fmla="*/ 0 w 147"/>
                  <a:gd name="T9" fmla="*/ 79 h 147"/>
                </a:gdLst>
                <a:ahLst/>
                <a:cxnLst>
                  <a:cxn ang="0">
                    <a:pos x="T0" y="T1"/>
                  </a:cxn>
                  <a:cxn ang="0">
                    <a:pos x="T2" y="T3"/>
                  </a:cxn>
                  <a:cxn ang="0">
                    <a:pos x="T4" y="T5"/>
                  </a:cxn>
                  <a:cxn ang="0">
                    <a:pos x="T6" y="T7"/>
                  </a:cxn>
                  <a:cxn ang="0">
                    <a:pos x="T8" y="T9"/>
                  </a:cxn>
                </a:cxnLst>
                <a:rect l="0" t="0" r="r" b="b"/>
                <a:pathLst>
                  <a:path w="147" h="147">
                    <a:moveTo>
                      <a:pt x="0" y="79"/>
                    </a:moveTo>
                    <a:lnTo>
                      <a:pt x="68" y="147"/>
                    </a:lnTo>
                    <a:lnTo>
                      <a:pt x="147" y="69"/>
                    </a:lnTo>
                    <a:lnTo>
                      <a:pt x="79" y="0"/>
                    </a:lnTo>
                    <a:lnTo>
                      <a:pt x="0" y="79"/>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82" name="Freeform 781"/>
              <p:cNvSpPr>
                <a:spLocks/>
              </p:cNvSpPr>
              <p:nvPr/>
            </p:nvSpPr>
            <p:spPr bwMode="auto">
              <a:xfrm>
                <a:off x="2911374" y="4026857"/>
                <a:ext cx="61929" cy="62428"/>
              </a:xfrm>
              <a:custGeom>
                <a:avLst/>
                <a:gdLst>
                  <a:gd name="T0" fmla="*/ 147 w 147"/>
                  <a:gd name="T1" fmla="*/ 69 h 148"/>
                  <a:gd name="T2" fmla="*/ 79 w 147"/>
                  <a:gd name="T3" fmla="*/ 0 h 148"/>
                  <a:gd name="T4" fmla="*/ 0 w 147"/>
                  <a:gd name="T5" fmla="*/ 79 h 148"/>
                  <a:gd name="T6" fmla="*/ 68 w 147"/>
                  <a:gd name="T7" fmla="*/ 148 h 148"/>
                  <a:gd name="T8" fmla="*/ 147 w 147"/>
                  <a:gd name="T9" fmla="*/ 69 h 148"/>
                </a:gdLst>
                <a:ahLst/>
                <a:cxnLst>
                  <a:cxn ang="0">
                    <a:pos x="T0" y="T1"/>
                  </a:cxn>
                  <a:cxn ang="0">
                    <a:pos x="T2" y="T3"/>
                  </a:cxn>
                  <a:cxn ang="0">
                    <a:pos x="T4" y="T5"/>
                  </a:cxn>
                  <a:cxn ang="0">
                    <a:pos x="T6" y="T7"/>
                  </a:cxn>
                  <a:cxn ang="0">
                    <a:pos x="T8" y="T9"/>
                  </a:cxn>
                </a:cxnLst>
                <a:rect l="0" t="0" r="r" b="b"/>
                <a:pathLst>
                  <a:path w="147" h="148">
                    <a:moveTo>
                      <a:pt x="147" y="69"/>
                    </a:moveTo>
                    <a:lnTo>
                      <a:pt x="79" y="0"/>
                    </a:lnTo>
                    <a:lnTo>
                      <a:pt x="0" y="79"/>
                    </a:lnTo>
                    <a:lnTo>
                      <a:pt x="68" y="148"/>
                    </a:lnTo>
                    <a:lnTo>
                      <a:pt x="147" y="69"/>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83" name="Freeform 782"/>
              <p:cNvSpPr>
                <a:spLocks/>
              </p:cNvSpPr>
              <p:nvPr/>
            </p:nvSpPr>
            <p:spPr bwMode="auto">
              <a:xfrm>
                <a:off x="3067915" y="4085910"/>
                <a:ext cx="63649" cy="62428"/>
              </a:xfrm>
              <a:custGeom>
                <a:avLst/>
                <a:gdLst>
                  <a:gd name="T0" fmla="*/ 0 w 148"/>
                  <a:gd name="T1" fmla="*/ 79 h 147"/>
                  <a:gd name="T2" fmla="*/ 69 w 148"/>
                  <a:gd name="T3" fmla="*/ 147 h 147"/>
                  <a:gd name="T4" fmla="*/ 148 w 148"/>
                  <a:gd name="T5" fmla="*/ 69 h 147"/>
                  <a:gd name="T6" fmla="*/ 79 w 148"/>
                  <a:gd name="T7" fmla="*/ 0 h 147"/>
                  <a:gd name="T8" fmla="*/ 0 w 148"/>
                  <a:gd name="T9" fmla="*/ 79 h 147"/>
                </a:gdLst>
                <a:ahLst/>
                <a:cxnLst>
                  <a:cxn ang="0">
                    <a:pos x="T0" y="T1"/>
                  </a:cxn>
                  <a:cxn ang="0">
                    <a:pos x="T2" y="T3"/>
                  </a:cxn>
                  <a:cxn ang="0">
                    <a:pos x="T4" y="T5"/>
                  </a:cxn>
                  <a:cxn ang="0">
                    <a:pos x="T6" y="T7"/>
                  </a:cxn>
                  <a:cxn ang="0">
                    <a:pos x="T8" y="T9"/>
                  </a:cxn>
                </a:cxnLst>
                <a:rect l="0" t="0" r="r" b="b"/>
                <a:pathLst>
                  <a:path w="148" h="147">
                    <a:moveTo>
                      <a:pt x="0" y="79"/>
                    </a:moveTo>
                    <a:lnTo>
                      <a:pt x="69" y="147"/>
                    </a:lnTo>
                    <a:lnTo>
                      <a:pt x="148" y="69"/>
                    </a:lnTo>
                    <a:lnTo>
                      <a:pt x="79" y="0"/>
                    </a:lnTo>
                    <a:lnTo>
                      <a:pt x="0" y="79"/>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84" name="Freeform 783"/>
              <p:cNvSpPr>
                <a:spLocks/>
              </p:cNvSpPr>
              <p:nvPr/>
            </p:nvSpPr>
            <p:spPr bwMode="auto">
              <a:xfrm>
                <a:off x="3031790" y="4050479"/>
                <a:ext cx="63649" cy="62428"/>
              </a:xfrm>
              <a:custGeom>
                <a:avLst/>
                <a:gdLst>
                  <a:gd name="T0" fmla="*/ 146 w 146"/>
                  <a:gd name="T1" fmla="*/ 69 h 147"/>
                  <a:gd name="T2" fmla="*/ 77 w 146"/>
                  <a:gd name="T3" fmla="*/ 0 h 147"/>
                  <a:gd name="T4" fmla="*/ 0 w 146"/>
                  <a:gd name="T5" fmla="*/ 79 h 147"/>
                  <a:gd name="T6" fmla="*/ 68 w 146"/>
                  <a:gd name="T7" fmla="*/ 147 h 147"/>
                  <a:gd name="T8" fmla="*/ 146 w 146"/>
                  <a:gd name="T9" fmla="*/ 69 h 147"/>
                </a:gdLst>
                <a:ahLst/>
                <a:cxnLst>
                  <a:cxn ang="0">
                    <a:pos x="T0" y="T1"/>
                  </a:cxn>
                  <a:cxn ang="0">
                    <a:pos x="T2" y="T3"/>
                  </a:cxn>
                  <a:cxn ang="0">
                    <a:pos x="T4" y="T5"/>
                  </a:cxn>
                  <a:cxn ang="0">
                    <a:pos x="T6" y="T7"/>
                  </a:cxn>
                  <a:cxn ang="0">
                    <a:pos x="T8" y="T9"/>
                  </a:cxn>
                </a:cxnLst>
                <a:rect l="0" t="0" r="r" b="b"/>
                <a:pathLst>
                  <a:path w="146" h="147">
                    <a:moveTo>
                      <a:pt x="146" y="69"/>
                    </a:moveTo>
                    <a:lnTo>
                      <a:pt x="77" y="0"/>
                    </a:lnTo>
                    <a:lnTo>
                      <a:pt x="0" y="79"/>
                    </a:lnTo>
                    <a:lnTo>
                      <a:pt x="68" y="147"/>
                    </a:lnTo>
                    <a:lnTo>
                      <a:pt x="146" y="69"/>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85" name="Freeform 784"/>
              <p:cNvSpPr>
                <a:spLocks/>
              </p:cNvSpPr>
              <p:nvPr/>
            </p:nvSpPr>
            <p:spPr bwMode="auto">
              <a:xfrm>
                <a:off x="2995664" y="4015048"/>
                <a:ext cx="63649" cy="62428"/>
              </a:xfrm>
              <a:custGeom>
                <a:avLst/>
                <a:gdLst>
                  <a:gd name="T0" fmla="*/ 0 w 147"/>
                  <a:gd name="T1" fmla="*/ 78 h 147"/>
                  <a:gd name="T2" fmla="*/ 68 w 147"/>
                  <a:gd name="T3" fmla="*/ 147 h 147"/>
                  <a:gd name="T4" fmla="*/ 147 w 147"/>
                  <a:gd name="T5" fmla="*/ 69 h 147"/>
                  <a:gd name="T6" fmla="*/ 78 w 147"/>
                  <a:gd name="T7" fmla="*/ 0 h 147"/>
                  <a:gd name="T8" fmla="*/ 0 w 147"/>
                  <a:gd name="T9" fmla="*/ 78 h 147"/>
                </a:gdLst>
                <a:ahLst/>
                <a:cxnLst>
                  <a:cxn ang="0">
                    <a:pos x="T0" y="T1"/>
                  </a:cxn>
                  <a:cxn ang="0">
                    <a:pos x="T2" y="T3"/>
                  </a:cxn>
                  <a:cxn ang="0">
                    <a:pos x="T4" y="T5"/>
                  </a:cxn>
                  <a:cxn ang="0">
                    <a:pos x="T6" y="T7"/>
                  </a:cxn>
                  <a:cxn ang="0">
                    <a:pos x="T8" y="T9"/>
                  </a:cxn>
                </a:cxnLst>
                <a:rect l="0" t="0" r="r" b="b"/>
                <a:pathLst>
                  <a:path w="147" h="147">
                    <a:moveTo>
                      <a:pt x="0" y="78"/>
                    </a:moveTo>
                    <a:lnTo>
                      <a:pt x="68" y="147"/>
                    </a:lnTo>
                    <a:lnTo>
                      <a:pt x="147" y="69"/>
                    </a:lnTo>
                    <a:lnTo>
                      <a:pt x="78" y="0"/>
                    </a:lnTo>
                    <a:lnTo>
                      <a:pt x="0" y="7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86" name="Freeform 785"/>
              <p:cNvSpPr>
                <a:spLocks/>
              </p:cNvSpPr>
              <p:nvPr/>
            </p:nvSpPr>
            <p:spPr bwMode="auto">
              <a:xfrm>
                <a:off x="2959540" y="3979616"/>
                <a:ext cx="63649" cy="62428"/>
              </a:xfrm>
              <a:custGeom>
                <a:avLst/>
                <a:gdLst>
                  <a:gd name="T0" fmla="*/ 147 w 147"/>
                  <a:gd name="T1" fmla="*/ 68 h 147"/>
                  <a:gd name="T2" fmla="*/ 79 w 147"/>
                  <a:gd name="T3" fmla="*/ 0 h 147"/>
                  <a:gd name="T4" fmla="*/ 0 w 147"/>
                  <a:gd name="T5" fmla="*/ 78 h 147"/>
                  <a:gd name="T6" fmla="*/ 68 w 147"/>
                  <a:gd name="T7" fmla="*/ 147 h 147"/>
                  <a:gd name="T8" fmla="*/ 147 w 147"/>
                  <a:gd name="T9" fmla="*/ 68 h 147"/>
                </a:gdLst>
                <a:ahLst/>
                <a:cxnLst>
                  <a:cxn ang="0">
                    <a:pos x="T0" y="T1"/>
                  </a:cxn>
                  <a:cxn ang="0">
                    <a:pos x="T2" y="T3"/>
                  </a:cxn>
                  <a:cxn ang="0">
                    <a:pos x="T4" y="T5"/>
                  </a:cxn>
                  <a:cxn ang="0">
                    <a:pos x="T6" y="T7"/>
                  </a:cxn>
                  <a:cxn ang="0">
                    <a:pos x="T8" y="T9"/>
                  </a:cxn>
                </a:cxnLst>
                <a:rect l="0" t="0" r="r" b="b"/>
                <a:pathLst>
                  <a:path w="147" h="147">
                    <a:moveTo>
                      <a:pt x="147" y="68"/>
                    </a:moveTo>
                    <a:lnTo>
                      <a:pt x="79" y="0"/>
                    </a:lnTo>
                    <a:lnTo>
                      <a:pt x="0" y="78"/>
                    </a:lnTo>
                    <a:lnTo>
                      <a:pt x="68" y="147"/>
                    </a:lnTo>
                    <a:lnTo>
                      <a:pt x="147" y="6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sp>
          <p:nvSpPr>
            <p:cNvPr id="492" name="Freeform 491"/>
            <p:cNvSpPr>
              <a:spLocks/>
            </p:cNvSpPr>
            <p:nvPr/>
          </p:nvSpPr>
          <p:spPr bwMode="auto">
            <a:xfrm>
              <a:off x="5285606" y="567427"/>
              <a:ext cx="693264" cy="912787"/>
            </a:xfrm>
            <a:custGeom>
              <a:avLst/>
              <a:gdLst>
                <a:gd name="T0" fmla="*/ 1578 w 1610"/>
                <a:gd name="T1" fmla="*/ 294 h 2164"/>
                <a:gd name="T2" fmla="*/ 1578 w 1610"/>
                <a:gd name="T3" fmla="*/ 294 h 2164"/>
                <a:gd name="T4" fmla="*/ 1587 w 1610"/>
                <a:gd name="T5" fmla="*/ 277 h 2164"/>
                <a:gd name="T6" fmla="*/ 1596 w 1610"/>
                <a:gd name="T7" fmla="*/ 261 h 2164"/>
                <a:gd name="T8" fmla="*/ 1601 w 1610"/>
                <a:gd name="T9" fmla="*/ 244 h 2164"/>
                <a:gd name="T10" fmla="*/ 1606 w 1610"/>
                <a:gd name="T11" fmla="*/ 226 h 2164"/>
                <a:gd name="T12" fmla="*/ 1609 w 1610"/>
                <a:gd name="T13" fmla="*/ 208 h 2164"/>
                <a:gd name="T14" fmla="*/ 1610 w 1610"/>
                <a:gd name="T15" fmla="*/ 190 h 2164"/>
                <a:gd name="T16" fmla="*/ 1609 w 1610"/>
                <a:gd name="T17" fmla="*/ 173 h 2164"/>
                <a:gd name="T18" fmla="*/ 1607 w 1610"/>
                <a:gd name="T19" fmla="*/ 154 h 2164"/>
                <a:gd name="T20" fmla="*/ 1602 w 1610"/>
                <a:gd name="T21" fmla="*/ 137 h 2164"/>
                <a:gd name="T22" fmla="*/ 1596 w 1610"/>
                <a:gd name="T23" fmla="*/ 120 h 2164"/>
                <a:gd name="T24" fmla="*/ 1588 w 1610"/>
                <a:gd name="T25" fmla="*/ 104 h 2164"/>
                <a:gd name="T26" fmla="*/ 1580 w 1610"/>
                <a:gd name="T27" fmla="*/ 88 h 2164"/>
                <a:gd name="T28" fmla="*/ 1569 w 1610"/>
                <a:gd name="T29" fmla="*/ 73 h 2164"/>
                <a:gd name="T30" fmla="*/ 1557 w 1610"/>
                <a:gd name="T31" fmla="*/ 60 h 2164"/>
                <a:gd name="T32" fmla="*/ 1543 w 1610"/>
                <a:gd name="T33" fmla="*/ 47 h 2164"/>
                <a:gd name="T34" fmla="*/ 1528 w 1610"/>
                <a:gd name="T35" fmla="*/ 36 h 2164"/>
                <a:gd name="T36" fmla="*/ 1521 w 1610"/>
                <a:gd name="T37" fmla="*/ 31 h 2164"/>
                <a:gd name="T38" fmla="*/ 1521 w 1610"/>
                <a:gd name="T39" fmla="*/ 31 h 2164"/>
                <a:gd name="T40" fmla="*/ 1505 w 1610"/>
                <a:gd name="T41" fmla="*/ 22 h 2164"/>
                <a:gd name="T42" fmla="*/ 1488 w 1610"/>
                <a:gd name="T43" fmla="*/ 14 h 2164"/>
                <a:gd name="T44" fmla="*/ 1471 w 1610"/>
                <a:gd name="T45" fmla="*/ 7 h 2164"/>
                <a:gd name="T46" fmla="*/ 1453 w 1610"/>
                <a:gd name="T47" fmla="*/ 3 h 2164"/>
                <a:gd name="T48" fmla="*/ 1435 w 1610"/>
                <a:gd name="T49" fmla="*/ 0 h 2164"/>
                <a:gd name="T50" fmla="*/ 1418 w 1610"/>
                <a:gd name="T51" fmla="*/ 0 h 2164"/>
                <a:gd name="T52" fmla="*/ 1399 w 1610"/>
                <a:gd name="T53" fmla="*/ 0 h 2164"/>
                <a:gd name="T54" fmla="*/ 1382 w 1610"/>
                <a:gd name="T55" fmla="*/ 3 h 2164"/>
                <a:gd name="T56" fmla="*/ 1365 w 1610"/>
                <a:gd name="T57" fmla="*/ 7 h 2164"/>
                <a:gd name="T58" fmla="*/ 1348 w 1610"/>
                <a:gd name="T59" fmla="*/ 13 h 2164"/>
                <a:gd name="T60" fmla="*/ 1331 w 1610"/>
                <a:gd name="T61" fmla="*/ 20 h 2164"/>
                <a:gd name="T62" fmla="*/ 1316 w 1610"/>
                <a:gd name="T63" fmla="*/ 29 h 2164"/>
                <a:gd name="T64" fmla="*/ 1301 w 1610"/>
                <a:gd name="T65" fmla="*/ 40 h 2164"/>
                <a:gd name="T66" fmla="*/ 1287 w 1610"/>
                <a:gd name="T67" fmla="*/ 53 h 2164"/>
                <a:gd name="T68" fmla="*/ 1274 w 1610"/>
                <a:gd name="T69" fmla="*/ 66 h 2164"/>
                <a:gd name="T70" fmla="*/ 1263 w 1610"/>
                <a:gd name="T71" fmla="*/ 81 h 2164"/>
                <a:gd name="T72" fmla="*/ 0 w 1610"/>
                <a:gd name="T73" fmla="*/ 1951 h 2164"/>
                <a:gd name="T74" fmla="*/ 314 w 1610"/>
                <a:gd name="T75" fmla="*/ 2164 h 2164"/>
                <a:gd name="T76" fmla="*/ 1578 w 1610"/>
                <a:gd name="T77" fmla="*/ 294 h 2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0" h="2164">
                  <a:moveTo>
                    <a:pt x="1578" y="294"/>
                  </a:moveTo>
                  <a:lnTo>
                    <a:pt x="1578" y="294"/>
                  </a:lnTo>
                  <a:lnTo>
                    <a:pt x="1587" y="277"/>
                  </a:lnTo>
                  <a:lnTo>
                    <a:pt x="1596" y="261"/>
                  </a:lnTo>
                  <a:lnTo>
                    <a:pt x="1601" y="244"/>
                  </a:lnTo>
                  <a:lnTo>
                    <a:pt x="1606" y="226"/>
                  </a:lnTo>
                  <a:lnTo>
                    <a:pt x="1609" y="208"/>
                  </a:lnTo>
                  <a:lnTo>
                    <a:pt x="1610" y="190"/>
                  </a:lnTo>
                  <a:lnTo>
                    <a:pt x="1609" y="173"/>
                  </a:lnTo>
                  <a:lnTo>
                    <a:pt x="1607" y="154"/>
                  </a:lnTo>
                  <a:lnTo>
                    <a:pt x="1602" y="137"/>
                  </a:lnTo>
                  <a:lnTo>
                    <a:pt x="1596" y="120"/>
                  </a:lnTo>
                  <a:lnTo>
                    <a:pt x="1588" y="104"/>
                  </a:lnTo>
                  <a:lnTo>
                    <a:pt x="1580" y="88"/>
                  </a:lnTo>
                  <a:lnTo>
                    <a:pt x="1569" y="73"/>
                  </a:lnTo>
                  <a:lnTo>
                    <a:pt x="1557" y="60"/>
                  </a:lnTo>
                  <a:lnTo>
                    <a:pt x="1543" y="47"/>
                  </a:lnTo>
                  <a:lnTo>
                    <a:pt x="1528" y="36"/>
                  </a:lnTo>
                  <a:lnTo>
                    <a:pt x="1521" y="31"/>
                  </a:lnTo>
                  <a:lnTo>
                    <a:pt x="1521" y="31"/>
                  </a:lnTo>
                  <a:lnTo>
                    <a:pt x="1505" y="22"/>
                  </a:lnTo>
                  <a:lnTo>
                    <a:pt x="1488" y="14"/>
                  </a:lnTo>
                  <a:lnTo>
                    <a:pt x="1471" y="7"/>
                  </a:lnTo>
                  <a:lnTo>
                    <a:pt x="1453" y="3"/>
                  </a:lnTo>
                  <a:lnTo>
                    <a:pt x="1435" y="0"/>
                  </a:lnTo>
                  <a:lnTo>
                    <a:pt x="1418" y="0"/>
                  </a:lnTo>
                  <a:lnTo>
                    <a:pt x="1399" y="0"/>
                  </a:lnTo>
                  <a:lnTo>
                    <a:pt x="1382" y="3"/>
                  </a:lnTo>
                  <a:lnTo>
                    <a:pt x="1365" y="7"/>
                  </a:lnTo>
                  <a:lnTo>
                    <a:pt x="1348" y="13"/>
                  </a:lnTo>
                  <a:lnTo>
                    <a:pt x="1331" y="20"/>
                  </a:lnTo>
                  <a:lnTo>
                    <a:pt x="1316" y="29"/>
                  </a:lnTo>
                  <a:lnTo>
                    <a:pt x="1301" y="40"/>
                  </a:lnTo>
                  <a:lnTo>
                    <a:pt x="1287" y="53"/>
                  </a:lnTo>
                  <a:lnTo>
                    <a:pt x="1274" y="66"/>
                  </a:lnTo>
                  <a:lnTo>
                    <a:pt x="1263" y="81"/>
                  </a:lnTo>
                  <a:lnTo>
                    <a:pt x="0" y="1951"/>
                  </a:lnTo>
                  <a:lnTo>
                    <a:pt x="314" y="2164"/>
                  </a:lnTo>
                  <a:lnTo>
                    <a:pt x="1578" y="294"/>
                  </a:lnTo>
                  <a:close/>
                </a:path>
              </a:pathLst>
            </a:custGeom>
            <a:solidFill>
              <a:srgbClr val="E5E8E8">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93" name="Freeform 492"/>
            <p:cNvSpPr>
              <a:spLocks/>
            </p:cNvSpPr>
            <p:nvPr/>
          </p:nvSpPr>
          <p:spPr bwMode="auto">
            <a:xfrm>
              <a:off x="5295928" y="850878"/>
              <a:ext cx="387057" cy="553409"/>
            </a:xfrm>
            <a:custGeom>
              <a:avLst/>
              <a:gdLst>
                <a:gd name="T0" fmla="*/ 0 w 901"/>
                <a:gd name="T1" fmla="*/ 1296 h 1313"/>
                <a:gd name="T2" fmla="*/ 25 w 901"/>
                <a:gd name="T3" fmla="*/ 1313 h 1313"/>
                <a:gd name="T4" fmla="*/ 901 w 901"/>
                <a:gd name="T5" fmla="*/ 17 h 1313"/>
                <a:gd name="T6" fmla="*/ 875 w 901"/>
                <a:gd name="T7" fmla="*/ 0 h 1313"/>
                <a:gd name="T8" fmla="*/ 0 w 901"/>
                <a:gd name="T9" fmla="*/ 1296 h 1313"/>
              </a:gdLst>
              <a:ahLst/>
              <a:cxnLst>
                <a:cxn ang="0">
                  <a:pos x="T0" y="T1"/>
                </a:cxn>
                <a:cxn ang="0">
                  <a:pos x="T2" y="T3"/>
                </a:cxn>
                <a:cxn ang="0">
                  <a:pos x="T4" y="T5"/>
                </a:cxn>
                <a:cxn ang="0">
                  <a:pos x="T6" y="T7"/>
                </a:cxn>
                <a:cxn ang="0">
                  <a:pos x="T8" y="T9"/>
                </a:cxn>
              </a:cxnLst>
              <a:rect l="0" t="0" r="r" b="b"/>
              <a:pathLst>
                <a:path w="901" h="1313">
                  <a:moveTo>
                    <a:pt x="0" y="1296"/>
                  </a:moveTo>
                  <a:lnTo>
                    <a:pt x="25" y="1313"/>
                  </a:lnTo>
                  <a:lnTo>
                    <a:pt x="901" y="17"/>
                  </a:lnTo>
                  <a:lnTo>
                    <a:pt x="875" y="0"/>
                  </a:lnTo>
                  <a:lnTo>
                    <a:pt x="0" y="1296"/>
                  </a:lnTo>
                  <a:close/>
                </a:path>
              </a:pathLst>
            </a:custGeom>
            <a:solidFill>
              <a:sysClr val="window" lastClr="FFFFFF">
                <a:lumMod val="8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94" name="Freeform 493"/>
            <p:cNvSpPr>
              <a:spLocks/>
            </p:cNvSpPr>
            <p:nvPr/>
          </p:nvSpPr>
          <p:spPr bwMode="auto">
            <a:xfrm>
              <a:off x="5313131" y="906557"/>
              <a:ext cx="357813" cy="509541"/>
            </a:xfrm>
            <a:custGeom>
              <a:avLst/>
              <a:gdLst>
                <a:gd name="T0" fmla="*/ 0 w 832"/>
                <a:gd name="T1" fmla="*/ 1194 h 1211"/>
                <a:gd name="T2" fmla="*/ 26 w 832"/>
                <a:gd name="T3" fmla="*/ 1211 h 1211"/>
                <a:gd name="T4" fmla="*/ 832 w 832"/>
                <a:gd name="T5" fmla="*/ 18 h 1211"/>
                <a:gd name="T6" fmla="*/ 807 w 832"/>
                <a:gd name="T7" fmla="*/ 0 h 1211"/>
                <a:gd name="T8" fmla="*/ 0 w 832"/>
                <a:gd name="T9" fmla="*/ 1194 h 1211"/>
              </a:gdLst>
              <a:ahLst/>
              <a:cxnLst>
                <a:cxn ang="0">
                  <a:pos x="T0" y="T1"/>
                </a:cxn>
                <a:cxn ang="0">
                  <a:pos x="T2" y="T3"/>
                </a:cxn>
                <a:cxn ang="0">
                  <a:pos x="T4" y="T5"/>
                </a:cxn>
                <a:cxn ang="0">
                  <a:pos x="T6" y="T7"/>
                </a:cxn>
                <a:cxn ang="0">
                  <a:pos x="T8" y="T9"/>
                </a:cxn>
              </a:cxnLst>
              <a:rect l="0" t="0" r="r" b="b"/>
              <a:pathLst>
                <a:path w="832" h="1211">
                  <a:moveTo>
                    <a:pt x="0" y="1194"/>
                  </a:moveTo>
                  <a:lnTo>
                    <a:pt x="26" y="1211"/>
                  </a:lnTo>
                  <a:lnTo>
                    <a:pt x="832" y="18"/>
                  </a:lnTo>
                  <a:lnTo>
                    <a:pt x="807" y="0"/>
                  </a:lnTo>
                  <a:lnTo>
                    <a:pt x="0" y="1194"/>
                  </a:lnTo>
                  <a:close/>
                </a:path>
              </a:pathLst>
            </a:custGeom>
            <a:solidFill>
              <a:sysClr val="window" lastClr="FFFFFF">
                <a:lumMod val="8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95" name="Freeform 494"/>
            <p:cNvSpPr>
              <a:spLocks/>
            </p:cNvSpPr>
            <p:nvPr/>
          </p:nvSpPr>
          <p:spPr bwMode="auto">
            <a:xfrm>
              <a:off x="5330332" y="896434"/>
              <a:ext cx="371575" cy="531473"/>
            </a:xfrm>
            <a:custGeom>
              <a:avLst/>
              <a:gdLst>
                <a:gd name="T0" fmla="*/ 0 w 866"/>
                <a:gd name="T1" fmla="*/ 1243 h 1260"/>
                <a:gd name="T2" fmla="*/ 25 w 866"/>
                <a:gd name="T3" fmla="*/ 1260 h 1260"/>
                <a:gd name="T4" fmla="*/ 866 w 866"/>
                <a:gd name="T5" fmla="*/ 17 h 1260"/>
                <a:gd name="T6" fmla="*/ 841 w 866"/>
                <a:gd name="T7" fmla="*/ 0 h 1260"/>
                <a:gd name="T8" fmla="*/ 0 w 866"/>
                <a:gd name="T9" fmla="*/ 1243 h 1260"/>
              </a:gdLst>
              <a:ahLst/>
              <a:cxnLst>
                <a:cxn ang="0">
                  <a:pos x="T0" y="T1"/>
                </a:cxn>
                <a:cxn ang="0">
                  <a:pos x="T2" y="T3"/>
                </a:cxn>
                <a:cxn ang="0">
                  <a:pos x="T4" y="T5"/>
                </a:cxn>
                <a:cxn ang="0">
                  <a:pos x="T6" y="T7"/>
                </a:cxn>
                <a:cxn ang="0">
                  <a:pos x="T8" y="T9"/>
                </a:cxn>
              </a:cxnLst>
              <a:rect l="0" t="0" r="r" b="b"/>
              <a:pathLst>
                <a:path w="866" h="1260">
                  <a:moveTo>
                    <a:pt x="0" y="1243"/>
                  </a:moveTo>
                  <a:lnTo>
                    <a:pt x="25" y="1260"/>
                  </a:lnTo>
                  <a:lnTo>
                    <a:pt x="866" y="17"/>
                  </a:lnTo>
                  <a:lnTo>
                    <a:pt x="841" y="0"/>
                  </a:lnTo>
                  <a:lnTo>
                    <a:pt x="0" y="1243"/>
                  </a:lnTo>
                  <a:close/>
                </a:path>
              </a:pathLst>
            </a:custGeom>
            <a:solidFill>
              <a:sysClr val="window" lastClr="FFFFFF">
                <a:lumMod val="8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96" name="Freeform 495"/>
            <p:cNvSpPr>
              <a:spLocks/>
            </p:cNvSpPr>
            <p:nvPr/>
          </p:nvSpPr>
          <p:spPr bwMode="auto">
            <a:xfrm>
              <a:off x="5347536" y="877875"/>
              <a:ext cx="392218" cy="561846"/>
            </a:xfrm>
            <a:custGeom>
              <a:avLst/>
              <a:gdLst>
                <a:gd name="T0" fmla="*/ 0 w 913"/>
                <a:gd name="T1" fmla="*/ 1315 h 1331"/>
                <a:gd name="T2" fmla="*/ 25 w 913"/>
                <a:gd name="T3" fmla="*/ 1331 h 1331"/>
                <a:gd name="T4" fmla="*/ 913 w 913"/>
                <a:gd name="T5" fmla="*/ 18 h 1331"/>
                <a:gd name="T6" fmla="*/ 887 w 913"/>
                <a:gd name="T7" fmla="*/ 0 h 1331"/>
                <a:gd name="T8" fmla="*/ 0 w 913"/>
                <a:gd name="T9" fmla="*/ 1315 h 1331"/>
              </a:gdLst>
              <a:ahLst/>
              <a:cxnLst>
                <a:cxn ang="0">
                  <a:pos x="T0" y="T1"/>
                </a:cxn>
                <a:cxn ang="0">
                  <a:pos x="T2" y="T3"/>
                </a:cxn>
                <a:cxn ang="0">
                  <a:pos x="T4" y="T5"/>
                </a:cxn>
                <a:cxn ang="0">
                  <a:pos x="T6" y="T7"/>
                </a:cxn>
                <a:cxn ang="0">
                  <a:pos x="T8" y="T9"/>
                </a:cxn>
              </a:cxnLst>
              <a:rect l="0" t="0" r="r" b="b"/>
              <a:pathLst>
                <a:path w="913" h="1331">
                  <a:moveTo>
                    <a:pt x="0" y="1315"/>
                  </a:moveTo>
                  <a:lnTo>
                    <a:pt x="25" y="1331"/>
                  </a:lnTo>
                  <a:lnTo>
                    <a:pt x="913" y="18"/>
                  </a:lnTo>
                  <a:lnTo>
                    <a:pt x="887" y="0"/>
                  </a:lnTo>
                  <a:lnTo>
                    <a:pt x="0" y="1315"/>
                  </a:lnTo>
                  <a:close/>
                </a:path>
              </a:pathLst>
            </a:custGeom>
            <a:solidFill>
              <a:sysClr val="window" lastClr="FFFFFF">
                <a:lumMod val="8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97" name="Freeform 496"/>
            <p:cNvSpPr>
              <a:spLocks/>
            </p:cNvSpPr>
            <p:nvPr/>
          </p:nvSpPr>
          <p:spPr bwMode="auto">
            <a:xfrm>
              <a:off x="5364738" y="909931"/>
              <a:ext cx="378456" cy="541597"/>
            </a:xfrm>
            <a:custGeom>
              <a:avLst/>
              <a:gdLst>
                <a:gd name="T0" fmla="*/ 0 w 882"/>
                <a:gd name="T1" fmla="*/ 1267 h 1284"/>
                <a:gd name="T2" fmla="*/ 26 w 882"/>
                <a:gd name="T3" fmla="*/ 1284 h 1284"/>
                <a:gd name="T4" fmla="*/ 882 w 882"/>
                <a:gd name="T5" fmla="*/ 17 h 1284"/>
                <a:gd name="T6" fmla="*/ 857 w 882"/>
                <a:gd name="T7" fmla="*/ 0 h 1284"/>
                <a:gd name="T8" fmla="*/ 0 w 882"/>
                <a:gd name="T9" fmla="*/ 1267 h 1284"/>
              </a:gdLst>
              <a:ahLst/>
              <a:cxnLst>
                <a:cxn ang="0">
                  <a:pos x="T0" y="T1"/>
                </a:cxn>
                <a:cxn ang="0">
                  <a:pos x="T2" y="T3"/>
                </a:cxn>
                <a:cxn ang="0">
                  <a:pos x="T4" y="T5"/>
                </a:cxn>
                <a:cxn ang="0">
                  <a:pos x="T6" y="T7"/>
                </a:cxn>
                <a:cxn ang="0">
                  <a:pos x="T8" y="T9"/>
                </a:cxn>
              </a:cxnLst>
              <a:rect l="0" t="0" r="r" b="b"/>
              <a:pathLst>
                <a:path w="882" h="1284">
                  <a:moveTo>
                    <a:pt x="0" y="1267"/>
                  </a:moveTo>
                  <a:lnTo>
                    <a:pt x="26" y="1284"/>
                  </a:lnTo>
                  <a:lnTo>
                    <a:pt x="882" y="17"/>
                  </a:lnTo>
                  <a:lnTo>
                    <a:pt x="857" y="0"/>
                  </a:lnTo>
                  <a:lnTo>
                    <a:pt x="0" y="1267"/>
                  </a:lnTo>
                  <a:close/>
                </a:path>
              </a:pathLst>
            </a:custGeom>
            <a:solidFill>
              <a:sysClr val="window" lastClr="FFFFFF">
                <a:lumMod val="8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98" name="Freeform 497"/>
            <p:cNvSpPr>
              <a:spLocks/>
            </p:cNvSpPr>
            <p:nvPr/>
          </p:nvSpPr>
          <p:spPr bwMode="auto">
            <a:xfrm>
              <a:off x="5381939" y="938614"/>
              <a:ext cx="368135" cy="524726"/>
            </a:xfrm>
            <a:custGeom>
              <a:avLst/>
              <a:gdLst>
                <a:gd name="T0" fmla="*/ 0 w 854"/>
                <a:gd name="T1" fmla="*/ 1225 h 1242"/>
                <a:gd name="T2" fmla="*/ 25 w 854"/>
                <a:gd name="T3" fmla="*/ 1242 h 1242"/>
                <a:gd name="T4" fmla="*/ 854 w 854"/>
                <a:gd name="T5" fmla="*/ 16 h 1242"/>
                <a:gd name="T6" fmla="*/ 829 w 854"/>
                <a:gd name="T7" fmla="*/ 0 h 1242"/>
                <a:gd name="T8" fmla="*/ 0 w 854"/>
                <a:gd name="T9" fmla="*/ 1225 h 1242"/>
              </a:gdLst>
              <a:ahLst/>
              <a:cxnLst>
                <a:cxn ang="0">
                  <a:pos x="T0" y="T1"/>
                </a:cxn>
                <a:cxn ang="0">
                  <a:pos x="T2" y="T3"/>
                </a:cxn>
                <a:cxn ang="0">
                  <a:pos x="T4" y="T5"/>
                </a:cxn>
                <a:cxn ang="0">
                  <a:pos x="T6" y="T7"/>
                </a:cxn>
                <a:cxn ang="0">
                  <a:pos x="T8" y="T9"/>
                </a:cxn>
              </a:cxnLst>
              <a:rect l="0" t="0" r="r" b="b"/>
              <a:pathLst>
                <a:path w="854" h="1242">
                  <a:moveTo>
                    <a:pt x="0" y="1225"/>
                  </a:moveTo>
                  <a:lnTo>
                    <a:pt x="25" y="1242"/>
                  </a:lnTo>
                  <a:lnTo>
                    <a:pt x="854" y="16"/>
                  </a:lnTo>
                  <a:lnTo>
                    <a:pt x="829" y="0"/>
                  </a:lnTo>
                  <a:lnTo>
                    <a:pt x="0" y="1225"/>
                  </a:lnTo>
                  <a:close/>
                </a:path>
              </a:pathLst>
            </a:custGeom>
            <a:solidFill>
              <a:sysClr val="window" lastClr="FFFFFF">
                <a:lumMod val="8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499" name="Freeform 498"/>
            <p:cNvSpPr>
              <a:spLocks/>
            </p:cNvSpPr>
            <p:nvPr/>
          </p:nvSpPr>
          <p:spPr bwMode="auto">
            <a:xfrm>
              <a:off x="5399145" y="926804"/>
              <a:ext cx="383618" cy="548348"/>
            </a:xfrm>
            <a:custGeom>
              <a:avLst/>
              <a:gdLst>
                <a:gd name="T0" fmla="*/ 867 w 893"/>
                <a:gd name="T1" fmla="*/ 0 h 1299"/>
                <a:gd name="T2" fmla="*/ 0 w 893"/>
                <a:gd name="T3" fmla="*/ 1282 h 1299"/>
                <a:gd name="T4" fmla="*/ 26 w 893"/>
                <a:gd name="T5" fmla="*/ 1299 h 1299"/>
                <a:gd name="T6" fmla="*/ 893 w 893"/>
                <a:gd name="T7" fmla="*/ 17 h 1299"/>
                <a:gd name="T8" fmla="*/ 867 w 893"/>
                <a:gd name="T9" fmla="*/ 0 h 1299"/>
              </a:gdLst>
              <a:ahLst/>
              <a:cxnLst>
                <a:cxn ang="0">
                  <a:pos x="T0" y="T1"/>
                </a:cxn>
                <a:cxn ang="0">
                  <a:pos x="T2" y="T3"/>
                </a:cxn>
                <a:cxn ang="0">
                  <a:pos x="T4" y="T5"/>
                </a:cxn>
                <a:cxn ang="0">
                  <a:pos x="T6" y="T7"/>
                </a:cxn>
                <a:cxn ang="0">
                  <a:pos x="T8" y="T9"/>
                </a:cxn>
              </a:cxnLst>
              <a:rect l="0" t="0" r="r" b="b"/>
              <a:pathLst>
                <a:path w="893" h="1299">
                  <a:moveTo>
                    <a:pt x="867" y="0"/>
                  </a:moveTo>
                  <a:lnTo>
                    <a:pt x="0" y="1282"/>
                  </a:lnTo>
                  <a:lnTo>
                    <a:pt x="26" y="1299"/>
                  </a:lnTo>
                  <a:lnTo>
                    <a:pt x="893" y="17"/>
                  </a:lnTo>
                  <a:lnTo>
                    <a:pt x="867" y="0"/>
                  </a:lnTo>
                  <a:close/>
                </a:path>
              </a:pathLst>
            </a:custGeom>
            <a:solidFill>
              <a:sysClr val="window" lastClr="FFFFFF">
                <a:lumMod val="8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00" name="Freeform 499"/>
            <p:cNvSpPr>
              <a:spLocks/>
            </p:cNvSpPr>
            <p:nvPr/>
          </p:nvSpPr>
          <p:spPr bwMode="auto">
            <a:xfrm>
              <a:off x="5837808" y="592735"/>
              <a:ext cx="115258" cy="113044"/>
            </a:xfrm>
            <a:custGeom>
              <a:avLst/>
              <a:gdLst>
                <a:gd name="T0" fmla="*/ 244 w 267"/>
                <a:gd name="T1" fmla="*/ 208 h 267"/>
                <a:gd name="T2" fmla="*/ 227 w 267"/>
                <a:gd name="T3" fmla="*/ 228 h 267"/>
                <a:gd name="T4" fmla="*/ 206 w 267"/>
                <a:gd name="T5" fmla="*/ 245 h 267"/>
                <a:gd name="T6" fmla="*/ 183 w 267"/>
                <a:gd name="T7" fmla="*/ 257 h 267"/>
                <a:gd name="T8" fmla="*/ 159 w 267"/>
                <a:gd name="T9" fmla="*/ 264 h 267"/>
                <a:gd name="T10" fmla="*/ 133 w 267"/>
                <a:gd name="T11" fmla="*/ 267 h 267"/>
                <a:gd name="T12" fmla="*/ 108 w 267"/>
                <a:gd name="T13" fmla="*/ 264 h 267"/>
                <a:gd name="T14" fmla="*/ 82 w 267"/>
                <a:gd name="T15" fmla="*/ 256 h 267"/>
                <a:gd name="T16" fmla="*/ 58 w 267"/>
                <a:gd name="T17" fmla="*/ 243 h 267"/>
                <a:gd name="T18" fmla="*/ 47 w 267"/>
                <a:gd name="T19" fmla="*/ 236 h 267"/>
                <a:gd name="T20" fmla="*/ 29 w 267"/>
                <a:gd name="T21" fmla="*/ 216 h 267"/>
                <a:gd name="T22" fmla="*/ 15 w 267"/>
                <a:gd name="T23" fmla="*/ 195 h 267"/>
                <a:gd name="T24" fmla="*/ 5 w 267"/>
                <a:gd name="T25" fmla="*/ 171 h 267"/>
                <a:gd name="T26" fmla="*/ 1 w 267"/>
                <a:gd name="T27" fmla="*/ 146 h 267"/>
                <a:gd name="T28" fmla="*/ 1 w 267"/>
                <a:gd name="T29" fmla="*/ 120 h 267"/>
                <a:gd name="T30" fmla="*/ 5 w 267"/>
                <a:gd name="T31" fmla="*/ 94 h 267"/>
                <a:gd name="T32" fmla="*/ 16 w 267"/>
                <a:gd name="T33" fmla="*/ 70 h 267"/>
                <a:gd name="T34" fmla="*/ 23 w 267"/>
                <a:gd name="T35" fmla="*/ 59 h 267"/>
                <a:gd name="T36" fmla="*/ 40 w 267"/>
                <a:gd name="T37" fmla="*/ 38 h 267"/>
                <a:gd name="T38" fmla="*/ 60 w 267"/>
                <a:gd name="T39" fmla="*/ 22 h 267"/>
                <a:gd name="T40" fmla="*/ 83 w 267"/>
                <a:gd name="T41" fmla="*/ 10 h 267"/>
                <a:gd name="T42" fmla="*/ 108 w 267"/>
                <a:gd name="T43" fmla="*/ 2 h 267"/>
                <a:gd name="T44" fmla="*/ 134 w 267"/>
                <a:gd name="T45" fmla="*/ 0 h 267"/>
                <a:gd name="T46" fmla="*/ 159 w 267"/>
                <a:gd name="T47" fmla="*/ 2 h 267"/>
                <a:gd name="T48" fmla="*/ 185 w 267"/>
                <a:gd name="T49" fmla="*/ 10 h 267"/>
                <a:gd name="T50" fmla="*/ 208 w 267"/>
                <a:gd name="T51" fmla="*/ 23 h 267"/>
                <a:gd name="T52" fmla="*/ 219 w 267"/>
                <a:gd name="T53" fmla="*/ 30 h 267"/>
                <a:gd name="T54" fmla="*/ 237 w 267"/>
                <a:gd name="T55" fmla="*/ 50 h 267"/>
                <a:gd name="T56" fmla="*/ 252 w 267"/>
                <a:gd name="T57" fmla="*/ 72 h 267"/>
                <a:gd name="T58" fmla="*/ 261 w 267"/>
                <a:gd name="T59" fmla="*/ 95 h 267"/>
                <a:gd name="T60" fmla="*/ 266 w 267"/>
                <a:gd name="T61" fmla="*/ 120 h 267"/>
                <a:gd name="T62" fmla="*/ 266 w 267"/>
                <a:gd name="T63" fmla="*/ 146 h 267"/>
                <a:gd name="T64" fmla="*/ 261 w 267"/>
                <a:gd name="T65" fmla="*/ 172 h 267"/>
                <a:gd name="T66" fmla="*/ 250 w 267"/>
                <a:gd name="T67" fmla="*/ 196 h 267"/>
                <a:gd name="T68" fmla="*/ 244 w 267"/>
                <a:gd name="T69" fmla="*/ 208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7" h="267">
                  <a:moveTo>
                    <a:pt x="244" y="208"/>
                  </a:moveTo>
                  <a:lnTo>
                    <a:pt x="244" y="208"/>
                  </a:lnTo>
                  <a:lnTo>
                    <a:pt x="235" y="218"/>
                  </a:lnTo>
                  <a:lnTo>
                    <a:pt x="227" y="228"/>
                  </a:lnTo>
                  <a:lnTo>
                    <a:pt x="217" y="238"/>
                  </a:lnTo>
                  <a:lnTo>
                    <a:pt x="206" y="245"/>
                  </a:lnTo>
                  <a:lnTo>
                    <a:pt x="194" y="252"/>
                  </a:lnTo>
                  <a:lnTo>
                    <a:pt x="183" y="257"/>
                  </a:lnTo>
                  <a:lnTo>
                    <a:pt x="171" y="262"/>
                  </a:lnTo>
                  <a:lnTo>
                    <a:pt x="159" y="264"/>
                  </a:lnTo>
                  <a:lnTo>
                    <a:pt x="146" y="266"/>
                  </a:lnTo>
                  <a:lnTo>
                    <a:pt x="133" y="267"/>
                  </a:lnTo>
                  <a:lnTo>
                    <a:pt x="120" y="266"/>
                  </a:lnTo>
                  <a:lnTo>
                    <a:pt x="108" y="264"/>
                  </a:lnTo>
                  <a:lnTo>
                    <a:pt x="95" y="261"/>
                  </a:lnTo>
                  <a:lnTo>
                    <a:pt x="82" y="256"/>
                  </a:lnTo>
                  <a:lnTo>
                    <a:pt x="70" y="251"/>
                  </a:lnTo>
                  <a:lnTo>
                    <a:pt x="58" y="243"/>
                  </a:lnTo>
                  <a:lnTo>
                    <a:pt x="58" y="243"/>
                  </a:lnTo>
                  <a:lnTo>
                    <a:pt x="47" y="236"/>
                  </a:lnTo>
                  <a:lnTo>
                    <a:pt x="38" y="226"/>
                  </a:lnTo>
                  <a:lnTo>
                    <a:pt x="29" y="216"/>
                  </a:lnTo>
                  <a:lnTo>
                    <a:pt x="21" y="205"/>
                  </a:lnTo>
                  <a:lnTo>
                    <a:pt x="15" y="195"/>
                  </a:lnTo>
                  <a:lnTo>
                    <a:pt x="10" y="183"/>
                  </a:lnTo>
                  <a:lnTo>
                    <a:pt x="5" y="171"/>
                  </a:lnTo>
                  <a:lnTo>
                    <a:pt x="2" y="159"/>
                  </a:lnTo>
                  <a:lnTo>
                    <a:pt x="1" y="146"/>
                  </a:lnTo>
                  <a:lnTo>
                    <a:pt x="0" y="133"/>
                  </a:lnTo>
                  <a:lnTo>
                    <a:pt x="1" y="120"/>
                  </a:lnTo>
                  <a:lnTo>
                    <a:pt x="2" y="107"/>
                  </a:lnTo>
                  <a:lnTo>
                    <a:pt x="5" y="94"/>
                  </a:lnTo>
                  <a:lnTo>
                    <a:pt x="10" y="82"/>
                  </a:lnTo>
                  <a:lnTo>
                    <a:pt x="16" y="70"/>
                  </a:lnTo>
                  <a:lnTo>
                    <a:pt x="23" y="59"/>
                  </a:lnTo>
                  <a:lnTo>
                    <a:pt x="23" y="59"/>
                  </a:lnTo>
                  <a:lnTo>
                    <a:pt x="31" y="48"/>
                  </a:lnTo>
                  <a:lnTo>
                    <a:pt x="40" y="38"/>
                  </a:lnTo>
                  <a:lnTo>
                    <a:pt x="50" y="29"/>
                  </a:lnTo>
                  <a:lnTo>
                    <a:pt x="60" y="22"/>
                  </a:lnTo>
                  <a:lnTo>
                    <a:pt x="71" y="15"/>
                  </a:lnTo>
                  <a:lnTo>
                    <a:pt x="83" y="10"/>
                  </a:lnTo>
                  <a:lnTo>
                    <a:pt x="95" y="6"/>
                  </a:lnTo>
                  <a:lnTo>
                    <a:pt x="108" y="2"/>
                  </a:lnTo>
                  <a:lnTo>
                    <a:pt x="121" y="0"/>
                  </a:lnTo>
                  <a:lnTo>
                    <a:pt x="134" y="0"/>
                  </a:lnTo>
                  <a:lnTo>
                    <a:pt x="146" y="0"/>
                  </a:lnTo>
                  <a:lnTo>
                    <a:pt x="159" y="2"/>
                  </a:lnTo>
                  <a:lnTo>
                    <a:pt x="172" y="6"/>
                  </a:lnTo>
                  <a:lnTo>
                    <a:pt x="185" y="10"/>
                  </a:lnTo>
                  <a:lnTo>
                    <a:pt x="196" y="15"/>
                  </a:lnTo>
                  <a:lnTo>
                    <a:pt x="208" y="23"/>
                  </a:lnTo>
                  <a:lnTo>
                    <a:pt x="208" y="23"/>
                  </a:lnTo>
                  <a:lnTo>
                    <a:pt x="219" y="30"/>
                  </a:lnTo>
                  <a:lnTo>
                    <a:pt x="229" y="40"/>
                  </a:lnTo>
                  <a:lnTo>
                    <a:pt x="237" y="50"/>
                  </a:lnTo>
                  <a:lnTo>
                    <a:pt x="245" y="61"/>
                  </a:lnTo>
                  <a:lnTo>
                    <a:pt x="252" y="72"/>
                  </a:lnTo>
                  <a:lnTo>
                    <a:pt x="257" y="83"/>
                  </a:lnTo>
                  <a:lnTo>
                    <a:pt x="261" y="95"/>
                  </a:lnTo>
                  <a:lnTo>
                    <a:pt x="264" y="108"/>
                  </a:lnTo>
                  <a:lnTo>
                    <a:pt x="266" y="120"/>
                  </a:lnTo>
                  <a:lnTo>
                    <a:pt x="267" y="133"/>
                  </a:lnTo>
                  <a:lnTo>
                    <a:pt x="266" y="146"/>
                  </a:lnTo>
                  <a:lnTo>
                    <a:pt x="264" y="159"/>
                  </a:lnTo>
                  <a:lnTo>
                    <a:pt x="261" y="172"/>
                  </a:lnTo>
                  <a:lnTo>
                    <a:pt x="257" y="184"/>
                  </a:lnTo>
                  <a:lnTo>
                    <a:pt x="250" y="196"/>
                  </a:lnTo>
                  <a:lnTo>
                    <a:pt x="244" y="208"/>
                  </a:lnTo>
                  <a:lnTo>
                    <a:pt x="244" y="208"/>
                  </a:lnTo>
                  <a:close/>
                </a:path>
              </a:pathLst>
            </a:custGeom>
            <a:solidFill>
              <a:sysClr val="window" lastClr="FFFFFF">
                <a:lumMod val="8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01" name="Freeform 500"/>
            <p:cNvSpPr>
              <a:spLocks/>
            </p:cNvSpPr>
            <p:nvPr/>
          </p:nvSpPr>
          <p:spPr bwMode="auto">
            <a:xfrm>
              <a:off x="5861891" y="616355"/>
              <a:ext cx="67089" cy="64114"/>
            </a:xfrm>
            <a:custGeom>
              <a:avLst/>
              <a:gdLst>
                <a:gd name="T0" fmla="*/ 143 w 157"/>
                <a:gd name="T1" fmla="*/ 122 h 156"/>
                <a:gd name="T2" fmla="*/ 133 w 157"/>
                <a:gd name="T3" fmla="*/ 134 h 156"/>
                <a:gd name="T4" fmla="*/ 121 w 157"/>
                <a:gd name="T5" fmla="*/ 144 h 156"/>
                <a:gd name="T6" fmla="*/ 107 w 157"/>
                <a:gd name="T7" fmla="*/ 150 h 156"/>
                <a:gd name="T8" fmla="*/ 93 w 157"/>
                <a:gd name="T9" fmla="*/ 155 h 156"/>
                <a:gd name="T10" fmla="*/ 78 w 157"/>
                <a:gd name="T11" fmla="*/ 156 h 156"/>
                <a:gd name="T12" fmla="*/ 64 w 157"/>
                <a:gd name="T13" fmla="*/ 155 h 156"/>
                <a:gd name="T14" fmla="*/ 49 w 157"/>
                <a:gd name="T15" fmla="*/ 150 h 156"/>
                <a:gd name="T16" fmla="*/ 35 w 157"/>
                <a:gd name="T17" fmla="*/ 143 h 156"/>
                <a:gd name="T18" fmla="*/ 28 w 157"/>
                <a:gd name="T19" fmla="*/ 137 h 156"/>
                <a:gd name="T20" fmla="*/ 17 w 157"/>
                <a:gd name="T21" fmla="*/ 127 h 156"/>
                <a:gd name="T22" fmla="*/ 9 w 157"/>
                <a:gd name="T23" fmla="*/ 114 h 156"/>
                <a:gd name="T24" fmla="*/ 3 w 157"/>
                <a:gd name="T25" fmla="*/ 101 h 156"/>
                <a:gd name="T26" fmla="*/ 1 w 157"/>
                <a:gd name="T27" fmla="*/ 86 h 156"/>
                <a:gd name="T28" fmla="*/ 1 w 157"/>
                <a:gd name="T29" fmla="*/ 71 h 156"/>
                <a:gd name="T30" fmla="*/ 3 w 157"/>
                <a:gd name="T31" fmla="*/ 55 h 156"/>
                <a:gd name="T32" fmla="*/ 10 w 157"/>
                <a:gd name="T33" fmla="*/ 41 h 156"/>
                <a:gd name="T34" fmla="*/ 14 w 157"/>
                <a:gd name="T35" fmla="*/ 35 h 156"/>
                <a:gd name="T36" fmla="*/ 24 w 157"/>
                <a:gd name="T37" fmla="*/ 22 h 156"/>
                <a:gd name="T38" fmla="*/ 36 w 157"/>
                <a:gd name="T39" fmla="*/ 13 h 156"/>
                <a:gd name="T40" fmla="*/ 49 w 157"/>
                <a:gd name="T41" fmla="*/ 6 h 156"/>
                <a:gd name="T42" fmla="*/ 64 w 157"/>
                <a:gd name="T43" fmla="*/ 1 h 156"/>
                <a:gd name="T44" fmla="*/ 79 w 157"/>
                <a:gd name="T45" fmla="*/ 0 h 156"/>
                <a:gd name="T46" fmla="*/ 93 w 157"/>
                <a:gd name="T47" fmla="*/ 1 h 156"/>
                <a:gd name="T48" fmla="*/ 108 w 157"/>
                <a:gd name="T49" fmla="*/ 6 h 156"/>
                <a:gd name="T50" fmla="*/ 122 w 157"/>
                <a:gd name="T51" fmla="*/ 13 h 156"/>
                <a:gd name="T52" fmla="*/ 128 w 157"/>
                <a:gd name="T53" fmla="*/ 19 h 156"/>
                <a:gd name="T54" fmla="*/ 139 w 157"/>
                <a:gd name="T55" fmla="*/ 29 h 156"/>
                <a:gd name="T56" fmla="*/ 147 w 157"/>
                <a:gd name="T57" fmla="*/ 42 h 156"/>
                <a:gd name="T58" fmla="*/ 153 w 157"/>
                <a:gd name="T59" fmla="*/ 56 h 156"/>
                <a:gd name="T60" fmla="*/ 155 w 157"/>
                <a:gd name="T61" fmla="*/ 71 h 156"/>
                <a:gd name="T62" fmla="*/ 155 w 157"/>
                <a:gd name="T63" fmla="*/ 86 h 156"/>
                <a:gd name="T64" fmla="*/ 153 w 157"/>
                <a:gd name="T65" fmla="*/ 101 h 156"/>
                <a:gd name="T66" fmla="*/ 147 w 157"/>
                <a:gd name="T67" fmla="*/ 115 h 156"/>
                <a:gd name="T68" fmla="*/ 143 w 157"/>
                <a:gd name="T69" fmla="*/ 12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7" h="156">
                  <a:moveTo>
                    <a:pt x="143" y="122"/>
                  </a:moveTo>
                  <a:lnTo>
                    <a:pt x="143" y="122"/>
                  </a:lnTo>
                  <a:lnTo>
                    <a:pt x="138" y="128"/>
                  </a:lnTo>
                  <a:lnTo>
                    <a:pt x="133" y="134"/>
                  </a:lnTo>
                  <a:lnTo>
                    <a:pt x="127" y="139"/>
                  </a:lnTo>
                  <a:lnTo>
                    <a:pt x="121" y="144"/>
                  </a:lnTo>
                  <a:lnTo>
                    <a:pt x="114" y="147"/>
                  </a:lnTo>
                  <a:lnTo>
                    <a:pt x="107" y="150"/>
                  </a:lnTo>
                  <a:lnTo>
                    <a:pt x="100" y="153"/>
                  </a:lnTo>
                  <a:lnTo>
                    <a:pt x="93" y="155"/>
                  </a:lnTo>
                  <a:lnTo>
                    <a:pt x="85" y="156"/>
                  </a:lnTo>
                  <a:lnTo>
                    <a:pt x="78" y="156"/>
                  </a:lnTo>
                  <a:lnTo>
                    <a:pt x="70" y="156"/>
                  </a:lnTo>
                  <a:lnTo>
                    <a:pt x="64" y="155"/>
                  </a:lnTo>
                  <a:lnTo>
                    <a:pt x="56" y="153"/>
                  </a:lnTo>
                  <a:lnTo>
                    <a:pt x="49" y="150"/>
                  </a:lnTo>
                  <a:lnTo>
                    <a:pt x="41" y="147"/>
                  </a:lnTo>
                  <a:lnTo>
                    <a:pt x="35" y="143"/>
                  </a:lnTo>
                  <a:lnTo>
                    <a:pt x="35" y="143"/>
                  </a:lnTo>
                  <a:lnTo>
                    <a:pt x="28" y="137"/>
                  </a:lnTo>
                  <a:lnTo>
                    <a:pt x="23" y="133"/>
                  </a:lnTo>
                  <a:lnTo>
                    <a:pt x="17" y="127"/>
                  </a:lnTo>
                  <a:lnTo>
                    <a:pt x="13" y="120"/>
                  </a:lnTo>
                  <a:lnTo>
                    <a:pt x="9" y="114"/>
                  </a:lnTo>
                  <a:lnTo>
                    <a:pt x="6" y="107"/>
                  </a:lnTo>
                  <a:lnTo>
                    <a:pt x="3" y="101"/>
                  </a:lnTo>
                  <a:lnTo>
                    <a:pt x="2" y="93"/>
                  </a:lnTo>
                  <a:lnTo>
                    <a:pt x="1" y="86"/>
                  </a:lnTo>
                  <a:lnTo>
                    <a:pt x="0" y="78"/>
                  </a:lnTo>
                  <a:lnTo>
                    <a:pt x="1" y="71"/>
                  </a:lnTo>
                  <a:lnTo>
                    <a:pt x="2" y="63"/>
                  </a:lnTo>
                  <a:lnTo>
                    <a:pt x="3" y="55"/>
                  </a:lnTo>
                  <a:lnTo>
                    <a:pt x="6" y="49"/>
                  </a:lnTo>
                  <a:lnTo>
                    <a:pt x="10" y="41"/>
                  </a:lnTo>
                  <a:lnTo>
                    <a:pt x="14" y="35"/>
                  </a:lnTo>
                  <a:lnTo>
                    <a:pt x="14" y="35"/>
                  </a:lnTo>
                  <a:lnTo>
                    <a:pt x="18" y="28"/>
                  </a:lnTo>
                  <a:lnTo>
                    <a:pt x="24" y="22"/>
                  </a:lnTo>
                  <a:lnTo>
                    <a:pt x="29" y="18"/>
                  </a:lnTo>
                  <a:lnTo>
                    <a:pt x="36" y="13"/>
                  </a:lnTo>
                  <a:lnTo>
                    <a:pt x="42" y="9"/>
                  </a:lnTo>
                  <a:lnTo>
                    <a:pt x="49" y="6"/>
                  </a:lnTo>
                  <a:lnTo>
                    <a:pt x="56" y="4"/>
                  </a:lnTo>
                  <a:lnTo>
                    <a:pt x="64" y="1"/>
                  </a:lnTo>
                  <a:lnTo>
                    <a:pt x="71" y="0"/>
                  </a:lnTo>
                  <a:lnTo>
                    <a:pt x="79" y="0"/>
                  </a:lnTo>
                  <a:lnTo>
                    <a:pt x="85" y="0"/>
                  </a:lnTo>
                  <a:lnTo>
                    <a:pt x="93" y="1"/>
                  </a:lnTo>
                  <a:lnTo>
                    <a:pt x="100" y="4"/>
                  </a:lnTo>
                  <a:lnTo>
                    <a:pt x="108" y="6"/>
                  </a:lnTo>
                  <a:lnTo>
                    <a:pt x="116" y="10"/>
                  </a:lnTo>
                  <a:lnTo>
                    <a:pt x="122" y="13"/>
                  </a:lnTo>
                  <a:lnTo>
                    <a:pt x="122" y="13"/>
                  </a:lnTo>
                  <a:lnTo>
                    <a:pt x="128" y="19"/>
                  </a:lnTo>
                  <a:lnTo>
                    <a:pt x="134" y="24"/>
                  </a:lnTo>
                  <a:lnTo>
                    <a:pt x="139" y="29"/>
                  </a:lnTo>
                  <a:lnTo>
                    <a:pt x="144" y="36"/>
                  </a:lnTo>
                  <a:lnTo>
                    <a:pt x="147" y="42"/>
                  </a:lnTo>
                  <a:lnTo>
                    <a:pt x="150" y="49"/>
                  </a:lnTo>
                  <a:lnTo>
                    <a:pt x="153" y="56"/>
                  </a:lnTo>
                  <a:lnTo>
                    <a:pt x="154" y="63"/>
                  </a:lnTo>
                  <a:lnTo>
                    <a:pt x="155" y="71"/>
                  </a:lnTo>
                  <a:lnTo>
                    <a:pt x="157" y="78"/>
                  </a:lnTo>
                  <a:lnTo>
                    <a:pt x="155" y="86"/>
                  </a:lnTo>
                  <a:lnTo>
                    <a:pt x="154" y="93"/>
                  </a:lnTo>
                  <a:lnTo>
                    <a:pt x="153" y="101"/>
                  </a:lnTo>
                  <a:lnTo>
                    <a:pt x="150" y="108"/>
                  </a:lnTo>
                  <a:lnTo>
                    <a:pt x="147" y="115"/>
                  </a:lnTo>
                  <a:lnTo>
                    <a:pt x="143" y="122"/>
                  </a:lnTo>
                  <a:lnTo>
                    <a:pt x="143" y="122"/>
                  </a:lnTo>
                  <a:close/>
                </a:path>
              </a:pathLst>
            </a:custGeom>
            <a:solidFill>
              <a:srgbClr val="E5E8E8">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nvGrpSpPr>
            <p:cNvPr id="502" name="Group 501"/>
            <p:cNvGrpSpPr/>
            <p:nvPr/>
          </p:nvGrpSpPr>
          <p:grpSpPr>
            <a:xfrm>
              <a:off x="2829476" y="788370"/>
              <a:ext cx="736268" cy="745750"/>
              <a:chOff x="3102845" y="962412"/>
              <a:chExt cx="649763" cy="658131"/>
            </a:xfrm>
          </p:grpSpPr>
          <p:sp>
            <p:nvSpPr>
              <p:cNvPr id="739" name="Freeform 738"/>
              <p:cNvSpPr>
                <a:spLocks/>
              </p:cNvSpPr>
              <p:nvPr/>
            </p:nvSpPr>
            <p:spPr bwMode="auto">
              <a:xfrm>
                <a:off x="3102845" y="962412"/>
                <a:ext cx="420525" cy="421383"/>
              </a:xfrm>
              <a:custGeom>
                <a:avLst/>
                <a:gdLst>
                  <a:gd name="T0" fmla="*/ 442 w 1108"/>
                  <a:gd name="T1" fmla="*/ 0 h 1131"/>
                  <a:gd name="T2" fmla="*/ 0 w 1108"/>
                  <a:gd name="T3" fmla="*/ 409 h 1131"/>
                  <a:gd name="T4" fmla="*/ 665 w 1108"/>
                  <a:gd name="T5" fmla="*/ 1131 h 1131"/>
                  <a:gd name="T6" fmla="*/ 1108 w 1108"/>
                  <a:gd name="T7" fmla="*/ 721 h 1131"/>
                  <a:gd name="T8" fmla="*/ 442 w 1108"/>
                  <a:gd name="T9" fmla="*/ 0 h 1131"/>
                </a:gdLst>
                <a:ahLst/>
                <a:cxnLst>
                  <a:cxn ang="0">
                    <a:pos x="T0" y="T1"/>
                  </a:cxn>
                  <a:cxn ang="0">
                    <a:pos x="T2" y="T3"/>
                  </a:cxn>
                  <a:cxn ang="0">
                    <a:pos x="T4" y="T5"/>
                  </a:cxn>
                  <a:cxn ang="0">
                    <a:pos x="T6" y="T7"/>
                  </a:cxn>
                  <a:cxn ang="0">
                    <a:pos x="T8" y="T9"/>
                  </a:cxn>
                </a:cxnLst>
                <a:rect l="0" t="0" r="r" b="b"/>
                <a:pathLst>
                  <a:path w="1108" h="1131">
                    <a:moveTo>
                      <a:pt x="442" y="0"/>
                    </a:moveTo>
                    <a:lnTo>
                      <a:pt x="0" y="409"/>
                    </a:lnTo>
                    <a:lnTo>
                      <a:pt x="665" y="1131"/>
                    </a:lnTo>
                    <a:lnTo>
                      <a:pt x="1108" y="721"/>
                    </a:lnTo>
                    <a:lnTo>
                      <a:pt x="442" y="0"/>
                    </a:lnTo>
                    <a:close/>
                  </a:path>
                </a:pathLst>
              </a:custGeom>
              <a:solidFill>
                <a:srgbClr val="E5E8E8">
                  <a:lumMod val="9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40" name="Freeform 739"/>
              <p:cNvSpPr>
                <a:spLocks/>
              </p:cNvSpPr>
              <p:nvPr/>
            </p:nvSpPr>
            <p:spPr bwMode="auto">
              <a:xfrm>
                <a:off x="3137761" y="1004103"/>
                <a:ext cx="614847" cy="616440"/>
              </a:xfrm>
              <a:custGeom>
                <a:avLst/>
                <a:gdLst>
                  <a:gd name="T0" fmla="*/ 609 w 1619"/>
                  <a:gd name="T1" fmla="*/ 0 h 1657"/>
                  <a:gd name="T2" fmla="*/ 0 w 1619"/>
                  <a:gd name="T3" fmla="*/ 561 h 1657"/>
                  <a:gd name="T4" fmla="*/ 1010 w 1619"/>
                  <a:gd name="T5" fmla="*/ 1657 h 1657"/>
                  <a:gd name="T6" fmla="*/ 1619 w 1619"/>
                  <a:gd name="T7" fmla="*/ 1095 h 1657"/>
                  <a:gd name="T8" fmla="*/ 609 w 1619"/>
                  <a:gd name="T9" fmla="*/ 0 h 1657"/>
                </a:gdLst>
                <a:ahLst/>
                <a:cxnLst>
                  <a:cxn ang="0">
                    <a:pos x="T0" y="T1"/>
                  </a:cxn>
                  <a:cxn ang="0">
                    <a:pos x="T2" y="T3"/>
                  </a:cxn>
                  <a:cxn ang="0">
                    <a:pos x="T4" y="T5"/>
                  </a:cxn>
                  <a:cxn ang="0">
                    <a:pos x="T6" y="T7"/>
                  </a:cxn>
                  <a:cxn ang="0">
                    <a:pos x="T8" y="T9"/>
                  </a:cxn>
                </a:cxnLst>
                <a:rect l="0" t="0" r="r" b="b"/>
                <a:pathLst>
                  <a:path w="1619" h="1657">
                    <a:moveTo>
                      <a:pt x="609" y="0"/>
                    </a:moveTo>
                    <a:lnTo>
                      <a:pt x="0" y="561"/>
                    </a:lnTo>
                    <a:lnTo>
                      <a:pt x="1010" y="1657"/>
                    </a:lnTo>
                    <a:lnTo>
                      <a:pt x="1619" y="1095"/>
                    </a:lnTo>
                    <a:lnTo>
                      <a:pt x="609" y="0"/>
                    </a:lnTo>
                    <a:close/>
                  </a:path>
                </a:pathLst>
              </a:custGeom>
              <a:solidFill>
                <a:srgbClr val="E5E8E8">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41" name="Freeform 740"/>
              <p:cNvSpPr>
                <a:spLocks/>
              </p:cNvSpPr>
              <p:nvPr/>
            </p:nvSpPr>
            <p:spPr bwMode="auto">
              <a:xfrm>
                <a:off x="3184824" y="1051752"/>
                <a:ext cx="212540" cy="195058"/>
              </a:xfrm>
              <a:custGeom>
                <a:avLst/>
                <a:gdLst>
                  <a:gd name="T0" fmla="*/ 0 w 559"/>
                  <a:gd name="T1" fmla="*/ 466 h 524"/>
                  <a:gd name="T2" fmla="*/ 54 w 559"/>
                  <a:gd name="T3" fmla="*/ 524 h 524"/>
                  <a:gd name="T4" fmla="*/ 559 w 559"/>
                  <a:gd name="T5" fmla="*/ 57 h 524"/>
                  <a:gd name="T6" fmla="*/ 506 w 559"/>
                  <a:gd name="T7" fmla="*/ 0 h 524"/>
                  <a:gd name="T8" fmla="*/ 0 w 559"/>
                  <a:gd name="T9" fmla="*/ 466 h 524"/>
                </a:gdLst>
                <a:ahLst/>
                <a:cxnLst>
                  <a:cxn ang="0">
                    <a:pos x="T0" y="T1"/>
                  </a:cxn>
                  <a:cxn ang="0">
                    <a:pos x="T2" y="T3"/>
                  </a:cxn>
                  <a:cxn ang="0">
                    <a:pos x="T4" y="T5"/>
                  </a:cxn>
                  <a:cxn ang="0">
                    <a:pos x="T6" y="T7"/>
                  </a:cxn>
                  <a:cxn ang="0">
                    <a:pos x="T8" y="T9"/>
                  </a:cxn>
                </a:cxnLst>
                <a:rect l="0" t="0" r="r" b="b"/>
                <a:pathLst>
                  <a:path w="559" h="524">
                    <a:moveTo>
                      <a:pt x="0" y="466"/>
                    </a:moveTo>
                    <a:lnTo>
                      <a:pt x="54" y="524"/>
                    </a:lnTo>
                    <a:lnTo>
                      <a:pt x="559" y="57"/>
                    </a:lnTo>
                    <a:lnTo>
                      <a:pt x="506" y="0"/>
                    </a:lnTo>
                    <a:lnTo>
                      <a:pt x="0" y="466"/>
                    </a:lnTo>
                    <a:close/>
                  </a:path>
                </a:pathLst>
              </a:custGeom>
              <a:solidFill>
                <a:srgbClr val="E5E8E8">
                  <a:lumMod val="9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42" name="Freeform 741"/>
              <p:cNvSpPr>
                <a:spLocks/>
              </p:cNvSpPr>
              <p:nvPr/>
            </p:nvSpPr>
            <p:spPr bwMode="auto">
              <a:xfrm>
                <a:off x="3225814" y="1094932"/>
                <a:ext cx="204949" cy="187612"/>
              </a:xfrm>
              <a:custGeom>
                <a:avLst/>
                <a:gdLst>
                  <a:gd name="T0" fmla="*/ 34 w 541"/>
                  <a:gd name="T1" fmla="*/ 506 h 506"/>
                  <a:gd name="T2" fmla="*/ 541 w 541"/>
                  <a:gd name="T3" fmla="*/ 39 h 506"/>
                  <a:gd name="T4" fmla="*/ 505 w 541"/>
                  <a:gd name="T5" fmla="*/ 0 h 506"/>
                  <a:gd name="T6" fmla="*/ 0 w 541"/>
                  <a:gd name="T7" fmla="*/ 467 h 506"/>
                  <a:gd name="T8" fmla="*/ 34 w 541"/>
                  <a:gd name="T9" fmla="*/ 506 h 506"/>
                </a:gdLst>
                <a:ahLst/>
                <a:cxnLst>
                  <a:cxn ang="0">
                    <a:pos x="T0" y="T1"/>
                  </a:cxn>
                  <a:cxn ang="0">
                    <a:pos x="T2" y="T3"/>
                  </a:cxn>
                  <a:cxn ang="0">
                    <a:pos x="T4" y="T5"/>
                  </a:cxn>
                  <a:cxn ang="0">
                    <a:pos x="T6" y="T7"/>
                  </a:cxn>
                  <a:cxn ang="0">
                    <a:pos x="T8" y="T9"/>
                  </a:cxn>
                </a:cxnLst>
                <a:rect l="0" t="0" r="r" b="b"/>
                <a:pathLst>
                  <a:path w="541" h="506">
                    <a:moveTo>
                      <a:pt x="34" y="506"/>
                    </a:moveTo>
                    <a:lnTo>
                      <a:pt x="541" y="39"/>
                    </a:lnTo>
                    <a:lnTo>
                      <a:pt x="505" y="0"/>
                    </a:lnTo>
                    <a:lnTo>
                      <a:pt x="0" y="467"/>
                    </a:lnTo>
                    <a:lnTo>
                      <a:pt x="34" y="506"/>
                    </a:lnTo>
                    <a:close/>
                  </a:path>
                </a:pathLst>
              </a:custGeom>
              <a:solidFill>
                <a:srgbClr val="E5E8E8">
                  <a:lumMod val="9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sp>
          <p:nvSpPr>
            <p:cNvPr id="503" name="Rectangle 502"/>
            <p:cNvSpPr>
              <a:spLocks noChangeArrowheads="1"/>
            </p:cNvSpPr>
            <p:nvPr/>
          </p:nvSpPr>
          <p:spPr bwMode="auto">
            <a:xfrm>
              <a:off x="4320536" y="4119884"/>
              <a:ext cx="381896" cy="963403"/>
            </a:xfrm>
            <a:prstGeom prst="rect">
              <a:avLst/>
            </a:prstGeom>
            <a:solidFill>
              <a:srgbClr val="E5E8E8">
                <a:lumMod val="5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04" name="Freeform 503"/>
            <p:cNvSpPr>
              <a:spLocks/>
            </p:cNvSpPr>
            <p:nvPr/>
          </p:nvSpPr>
          <p:spPr bwMode="auto">
            <a:xfrm>
              <a:off x="4349780" y="4921312"/>
              <a:ext cx="323409" cy="123168"/>
            </a:xfrm>
            <a:custGeom>
              <a:avLst/>
              <a:gdLst>
                <a:gd name="T0" fmla="*/ 748 w 748"/>
                <a:gd name="T1" fmla="*/ 292 h 292"/>
                <a:gd name="T2" fmla="*/ 681 w 748"/>
                <a:gd name="T3" fmla="*/ 0 h 292"/>
                <a:gd name="T4" fmla="*/ 680 w 748"/>
                <a:gd name="T5" fmla="*/ 8 h 292"/>
                <a:gd name="T6" fmla="*/ 677 w 748"/>
                <a:gd name="T7" fmla="*/ 26 h 292"/>
                <a:gd name="T8" fmla="*/ 671 w 748"/>
                <a:gd name="T9" fmla="*/ 41 h 292"/>
                <a:gd name="T10" fmla="*/ 661 w 748"/>
                <a:gd name="T11" fmla="*/ 55 h 292"/>
                <a:gd name="T12" fmla="*/ 649 w 748"/>
                <a:gd name="T13" fmla="*/ 65 h 292"/>
                <a:gd name="T14" fmla="*/ 635 w 748"/>
                <a:gd name="T15" fmla="*/ 75 h 292"/>
                <a:gd name="T16" fmla="*/ 620 w 748"/>
                <a:gd name="T17" fmla="*/ 82 h 292"/>
                <a:gd name="T18" fmla="*/ 602 w 748"/>
                <a:gd name="T19" fmla="*/ 85 h 292"/>
                <a:gd name="T20" fmla="*/ 594 w 748"/>
                <a:gd name="T21" fmla="*/ 85 h 292"/>
                <a:gd name="T22" fmla="*/ 577 w 748"/>
                <a:gd name="T23" fmla="*/ 84 h 292"/>
                <a:gd name="T24" fmla="*/ 560 w 748"/>
                <a:gd name="T25" fmla="*/ 78 h 292"/>
                <a:gd name="T26" fmla="*/ 546 w 748"/>
                <a:gd name="T27" fmla="*/ 71 h 292"/>
                <a:gd name="T28" fmla="*/ 533 w 748"/>
                <a:gd name="T29" fmla="*/ 60 h 292"/>
                <a:gd name="T30" fmla="*/ 523 w 748"/>
                <a:gd name="T31" fmla="*/ 47 h 292"/>
                <a:gd name="T32" fmla="*/ 514 w 748"/>
                <a:gd name="T33" fmla="*/ 33 h 292"/>
                <a:gd name="T34" fmla="*/ 509 w 748"/>
                <a:gd name="T35" fmla="*/ 17 h 292"/>
                <a:gd name="T36" fmla="*/ 507 w 748"/>
                <a:gd name="T37" fmla="*/ 0 h 292"/>
                <a:gd name="T38" fmla="*/ 461 w 748"/>
                <a:gd name="T39" fmla="*/ 0 h 292"/>
                <a:gd name="T40" fmla="*/ 459 w 748"/>
                <a:gd name="T41" fmla="*/ 17 h 292"/>
                <a:gd name="T42" fmla="*/ 453 w 748"/>
                <a:gd name="T43" fmla="*/ 33 h 292"/>
                <a:gd name="T44" fmla="*/ 446 w 748"/>
                <a:gd name="T45" fmla="*/ 47 h 292"/>
                <a:gd name="T46" fmla="*/ 435 w 748"/>
                <a:gd name="T47" fmla="*/ 60 h 292"/>
                <a:gd name="T48" fmla="*/ 422 w 748"/>
                <a:gd name="T49" fmla="*/ 71 h 292"/>
                <a:gd name="T50" fmla="*/ 407 w 748"/>
                <a:gd name="T51" fmla="*/ 78 h 292"/>
                <a:gd name="T52" fmla="*/ 391 w 748"/>
                <a:gd name="T53" fmla="*/ 84 h 292"/>
                <a:gd name="T54" fmla="*/ 374 w 748"/>
                <a:gd name="T55" fmla="*/ 85 h 292"/>
                <a:gd name="T56" fmla="*/ 365 w 748"/>
                <a:gd name="T57" fmla="*/ 85 h 292"/>
                <a:gd name="T58" fmla="*/ 349 w 748"/>
                <a:gd name="T59" fmla="*/ 82 h 292"/>
                <a:gd name="T60" fmla="*/ 332 w 748"/>
                <a:gd name="T61" fmla="*/ 75 h 292"/>
                <a:gd name="T62" fmla="*/ 320 w 748"/>
                <a:gd name="T63" fmla="*/ 65 h 292"/>
                <a:gd name="T64" fmla="*/ 308 w 748"/>
                <a:gd name="T65" fmla="*/ 55 h 292"/>
                <a:gd name="T66" fmla="*/ 298 w 748"/>
                <a:gd name="T67" fmla="*/ 41 h 292"/>
                <a:gd name="T68" fmla="*/ 291 w 748"/>
                <a:gd name="T69" fmla="*/ 26 h 292"/>
                <a:gd name="T70" fmla="*/ 287 w 748"/>
                <a:gd name="T71" fmla="*/ 8 h 292"/>
                <a:gd name="T72" fmla="*/ 241 w 748"/>
                <a:gd name="T73" fmla="*/ 0 h 292"/>
                <a:gd name="T74" fmla="*/ 241 w 748"/>
                <a:gd name="T75" fmla="*/ 8 h 292"/>
                <a:gd name="T76" fmla="*/ 236 w 748"/>
                <a:gd name="T77" fmla="*/ 26 h 292"/>
                <a:gd name="T78" fmla="*/ 230 w 748"/>
                <a:gd name="T79" fmla="*/ 41 h 292"/>
                <a:gd name="T80" fmla="*/ 220 w 748"/>
                <a:gd name="T81" fmla="*/ 55 h 292"/>
                <a:gd name="T82" fmla="*/ 208 w 748"/>
                <a:gd name="T83" fmla="*/ 65 h 292"/>
                <a:gd name="T84" fmla="*/ 195 w 748"/>
                <a:gd name="T85" fmla="*/ 75 h 292"/>
                <a:gd name="T86" fmla="*/ 179 w 748"/>
                <a:gd name="T87" fmla="*/ 82 h 292"/>
                <a:gd name="T88" fmla="*/ 163 w 748"/>
                <a:gd name="T89" fmla="*/ 85 h 292"/>
                <a:gd name="T90" fmla="*/ 154 w 748"/>
                <a:gd name="T91" fmla="*/ 85 h 292"/>
                <a:gd name="T92" fmla="*/ 136 w 748"/>
                <a:gd name="T93" fmla="*/ 84 h 292"/>
                <a:gd name="T94" fmla="*/ 120 w 748"/>
                <a:gd name="T95" fmla="*/ 78 h 292"/>
                <a:gd name="T96" fmla="*/ 106 w 748"/>
                <a:gd name="T97" fmla="*/ 71 h 292"/>
                <a:gd name="T98" fmla="*/ 93 w 748"/>
                <a:gd name="T99" fmla="*/ 60 h 292"/>
                <a:gd name="T100" fmla="*/ 82 w 748"/>
                <a:gd name="T101" fmla="*/ 47 h 292"/>
                <a:gd name="T102" fmla="*/ 74 w 748"/>
                <a:gd name="T103" fmla="*/ 33 h 292"/>
                <a:gd name="T104" fmla="*/ 69 w 748"/>
                <a:gd name="T105" fmla="*/ 17 h 292"/>
                <a:gd name="T106" fmla="*/ 67 w 748"/>
                <a:gd name="T107" fmla="*/ 0 h 292"/>
                <a:gd name="T108" fmla="*/ 0 w 748"/>
                <a:gd name="T109" fmla="*/ 29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48" h="292">
                  <a:moveTo>
                    <a:pt x="0" y="292"/>
                  </a:moveTo>
                  <a:lnTo>
                    <a:pt x="748" y="292"/>
                  </a:lnTo>
                  <a:lnTo>
                    <a:pt x="748" y="0"/>
                  </a:lnTo>
                  <a:lnTo>
                    <a:pt x="681" y="0"/>
                  </a:lnTo>
                  <a:lnTo>
                    <a:pt x="681" y="0"/>
                  </a:lnTo>
                  <a:lnTo>
                    <a:pt x="680" y="8"/>
                  </a:lnTo>
                  <a:lnTo>
                    <a:pt x="679" y="17"/>
                  </a:lnTo>
                  <a:lnTo>
                    <a:pt x="677" y="26"/>
                  </a:lnTo>
                  <a:lnTo>
                    <a:pt x="674" y="33"/>
                  </a:lnTo>
                  <a:lnTo>
                    <a:pt x="671" y="41"/>
                  </a:lnTo>
                  <a:lnTo>
                    <a:pt x="666" y="47"/>
                  </a:lnTo>
                  <a:lnTo>
                    <a:pt x="661" y="55"/>
                  </a:lnTo>
                  <a:lnTo>
                    <a:pt x="655" y="60"/>
                  </a:lnTo>
                  <a:lnTo>
                    <a:pt x="649" y="65"/>
                  </a:lnTo>
                  <a:lnTo>
                    <a:pt x="642" y="71"/>
                  </a:lnTo>
                  <a:lnTo>
                    <a:pt x="635" y="75"/>
                  </a:lnTo>
                  <a:lnTo>
                    <a:pt x="627" y="78"/>
                  </a:lnTo>
                  <a:lnTo>
                    <a:pt x="620" y="82"/>
                  </a:lnTo>
                  <a:lnTo>
                    <a:pt x="611" y="84"/>
                  </a:lnTo>
                  <a:lnTo>
                    <a:pt x="602" y="85"/>
                  </a:lnTo>
                  <a:lnTo>
                    <a:pt x="594" y="85"/>
                  </a:lnTo>
                  <a:lnTo>
                    <a:pt x="594" y="85"/>
                  </a:lnTo>
                  <a:lnTo>
                    <a:pt x="585" y="85"/>
                  </a:lnTo>
                  <a:lnTo>
                    <a:pt x="577" y="84"/>
                  </a:lnTo>
                  <a:lnTo>
                    <a:pt x="568" y="82"/>
                  </a:lnTo>
                  <a:lnTo>
                    <a:pt x="560" y="78"/>
                  </a:lnTo>
                  <a:lnTo>
                    <a:pt x="553" y="75"/>
                  </a:lnTo>
                  <a:lnTo>
                    <a:pt x="546" y="71"/>
                  </a:lnTo>
                  <a:lnTo>
                    <a:pt x="539" y="65"/>
                  </a:lnTo>
                  <a:lnTo>
                    <a:pt x="533" y="60"/>
                  </a:lnTo>
                  <a:lnTo>
                    <a:pt x="527" y="55"/>
                  </a:lnTo>
                  <a:lnTo>
                    <a:pt x="523" y="47"/>
                  </a:lnTo>
                  <a:lnTo>
                    <a:pt x="518" y="41"/>
                  </a:lnTo>
                  <a:lnTo>
                    <a:pt x="514" y="33"/>
                  </a:lnTo>
                  <a:lnTo>
                    <a:pt x="512" y="26"/>
                  </a:lnTo>
                  <a:lnTo>
                    <a:pt x="509" y="17"/>
                  </a:lnTo>
                  <a:lnTo>
                    <a:pt x="507" y="8"/>
                  </a:lnTo>
                  <a:lnTo>
                    <a:pt x="507" y="0"/>
                  </a:lnTo>
                  <a:lnTo>
                    <a:pt x="461" y="0"/>
                  </a:lnTo>
                  <a:lnTo>
                    <a:pt x="461" y="0"/>
                  </a:lnTo>
                  <a:lnTo>
                    <a:pt x="460" y="8"/>
                  </a:lnTo>
                  <a:lnTo>
                    <a:pt x="459" y="17"/>
                  </a:lnTo>
                  <a:lnTo>
                    <a:pt x="457" y="26"/>
                  </a:lnTo>
                  <a:lnTo>
                    <a:pt x="453" y="33"/>
                  </a:lnTo>
                  <a:lnTo>
                    <a:pt x="450" y="41"/>
                  </a:lnTo>
                  <a:lnTo>
                    <a:pt x="446" y="47"/>
                  </a:lnTo>
                  <a:lnTo>
                    <a:pt x="440" y="55"/>
                  </a:lnTo>
                  <a:lnTo>
                    <a:pt x="435" y="60"/>
                  </a:lnTo>
                  <a:lnTo>
                    <a:pt x="429" y="65"/>
                  </a:lnTo>
                  <a:lnTo>
                    <a:pt x="422" y="71"/>
                  </a:lnTo>
                  <a:lnTo>
                    <a:pt x="415" y="75"/>
                  </a:lnTo>
                  <a:lnTo>
                    <a:pt x="407" y="78"/>
                  </a:lnTo>
                  <a:lnTo>
                    <a:pt x="399" y="82"/>
                  </a:lnTo>
                  <a:lnTo>
                    <a:pt x="391" y="84"/>
                  </a:lnTo>
                  <a:lnTo>
                    <a:pt x="383" y="85"/>
                  </a:lnTo>
                  <a:lnTo>
                    <a:pt x="374" y="85"/>
                  </a:lnTo>
                  <a:lnTo>
                    <a:pt x="374" y="85"/>
                  </a:lnTo>
                  <a:lnTo>
                    <a:pt x="365" y="85"/>
                  </a:lnTo>
                  <a:lnTo>
                    <a:pt x="356" y="84"/>
                  </a:lnTo>
                  <a:lnTo>
                    <a:pt x="349" y="82"/>
                  </a:lnTo>
                  <a:lnTo>
                    <a:pt x="340" y="78"/>
                  </a:lnTo>
                  <a:lnTo>
                    <a:pt x="332" y="75"/>
                  </a:lnTo>
                  <a:lnTo>
                    <a:pt x="326" y="71"/>
                  </a:lnTo>
                  <a:lnTo>
                    <a:pt x="320" y="65"/>
                  </a:lnTo>
                  <a:lnTo>
                    <a:pt x="313" y="60"/>
                  </a:lnTo>
                  <a:lnTo>
                    <a:pt x="308" y="55"/>
                  </a:lnTo>
                  <a:lnTo>
                    <a:pt x="302" y="47"/>
                  </a:lnTo>
                  <a:lnTo>
                    <a:pt x="298" y="41"/>
                  </a:lnTo>
                  <a:lnTo>
                    <a:pt x="295" y="33"/>
                  </a:lnTo>
                  <a:lnTo>
                    <a:pt x="291" y="26"/>
                  </a:lnTo>
                  <a:lnTo>
                    <a:pt x="289" y="17"/>
                  </a:lnTo>
                  <a:lnTo>
                    <a:pt x="287" y="8"/>
                  </a:lnTo>
                  <a:lnTo>
                    <a:pt x="287" y="0"/>
                  </a:lnTo>
                  <a:lnTo>
                    <a:pt x="241" y="0"/>
                  </a:lnTo>
                  <a:lnTo>
                    <a:pt x="241" y="0"/>
                  </a:lnTo>
                  <a:lnTo>
                    <a:pt x="241" y="8"/>
                  </a:lnTo>
                  <a:lnTo>
                    <a:pt x="239" y="17"/>
                  </a:lnTo>
                  <a:lnTo>
                    <a:pt x="236" y="26"/>
                  </a:lnTo>
                  <a:lnTo>
                    <a:pt x="233" y="33"/>
                  </a:lnTo>
                  <a:lnTo>
                    <a:pt x="230" y="41"/>
                  </a:lnTo>
                  <a:lnTo>
                    <a:pt x="226" y="47"/>
                  </a:lnTo>
                  <a:lnTo>
                    <a:pt x="220" y="55"/>
                  </a:lnTo>
                  <a:lnTo>
                    <a:pt x="215" y="60"/>
                  </a:lnTo>
                  <a:lnTo>
                    <a:pt x="208" y="65"/>
                  </a:lnTo>
                  <a:lnTo>
                    <a:pt x="202" y="71"/>
                  </a:lnTo>
                  <a:lnTo>
                    <a:pt x="195" y="75"/>
                  </a:lnTo>
                  <a:lnTo>
                    <a:pt x="188" y="78"/>
                  </a:lnTo>
                  <a:lnTo>
                    <a:pt x="179" y="82"/>
                  </a:lnTo>
                  <a:lnTo>
                    <a:pt x="172" y="84"/>
                  </a:lnTo>
                  <a:lnTo>
                    <a:pt x="163" y="85"/>
                  </a:lnTo>
                  <a:lnTo>
                    <a:pt x="154" y="85"/>
                  </a:lnTo>
                  <a:lnTo>
                    <a:pt x="154" y="85"/>
                  </a:lnTo>
                  <a:lnTo>
                    <a:pt x="145" y="85"/>
                  </a:lnTo>
                  <a:lnTo>
                    <a:pt x="136" y="84"/>
                  </a:lnTo>
                  <a:lnTo>
                    <a:pt x="128" y="82"/>
                  </a:lnTo>
                  <a:lnTo>
                    <a:pt x="120" y="78"/>
                  </a:lnTo>
                  <a:lnTo>
                    <a:pt x="113" y="75"/>
                  </a:lnTo>
                  <a:lnTo>
                    <a:pt x="106" y="71"/>
                  </a:lnTo>
                  <a:lnTo>
                    <a:pt x="99" y="65"/>
                  </a:lnTo>
                  <a:lnTo>
                    <a:pt x="93" y="60"/>
                  </a:lnTo>
                  <a:lnTo>
                    <a:pt x="87" y="55"/>
                  </a:lnTo>
                  <a:lnTo>
                    <a:pt x="82" y="47"/>
                  </a:lnTo>
                  <a:lnTo>
                    <a:pt x="78" y="41"/>
                  </a:lnTo>
                  <a:lnTo>
                    <a:pt x="74" y="33"/>
                  </a:lnTo>
                  <a:lnTo>
                    <a:pt x="71" y="26"/>
                  </a:lnTo>
                  <a:lnTo>
                    <a:pt x="69" y="17"/>
                  </a:lnTo>
                  <a:lnTo>
                    <a:pt x="68" y="8"/>
                  </a:lnTo>
                  <a:lnTo>
                    <a:pt x="67" y="0"/>
                  </a:lnTo>
                  <a:lnTo>
                    <a:pt x="0" y="0"/>
                  </a:lnTo>
                  <a:lnTo>
                    <a:pt x="0" y="292"/>
                  </a:lnTo>
                  <a:close/>
                </a:path>
              </a:pathLst>
            </a:custGeom>
            <a:solidFill>
              <a:sysClr val="window" lastClr="FFFFFF">
                <a:lumMod val="8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05" name="Freeform 504"/>
            <p:cNvSpPr>
              <a:spLocks/>
            </p:cNvSpPr>
            <p:nvPr/>
          </p:nvSpPr>
          <p:spPr bwMode="auto">
            <a:xfrm>
              <a:off x="4349780" y="4745842"/>
              <a:ext cx="323409" cy="123168"/>
            </a:xfrm>
            <a:custGeom>
              <a:avLst/>
              <a:gdLst>
                <a:gd name="T0" fmla="*/ 748 w 748"/>
                <a:gd name="T1" fmla="*/ 293 h 293"/>
                <a:gd name="T2" fmla="*/ 681 w 748"/>
                <a:gd name="T3" fmla="*/ 0 h 293"/>
                <a:gd name="T4" fmla="*/ 680 w 748"/>
                <a:gd name="T5" fmla="*/ 9 h 293"/>
                <a:gd name="T6" fmla="*/ 677 w 748"/>
                <a:gd name="T7" fmla="*/ 26 h 293"/>
                <a:gd name="T8" fmla="*/ 671 w 748"/>
                <a:gd name="T9" fmla="*/ 41 h 293"/>
                <a:gd name="T10" fmla="*/ 661 w 748"/>
                <a:gd name="T11" fmla="*/ 54 h 293"/>
                <a:gd name="T12" fmla="*/ 649 w 748"/>
                <a:gd name="T13" fmla="*/ 66 h 293"/>
                <a:gd name="T14" fmla="*/ 635 w 748"/>
                <a:gd name="T15" fmla="*/ 75 h 293"/>
                <a:gd name="T16" fmla="*/ 620 w 748"/>
                <a:gd name="T17" fmla="*/ 82 h 293"/>
                <a:gd name="T18" fmla="*/ 602 w 748"/>
                <a:gd name="T19" fmla="*/ 85 h 293"/>
                <a:gd name="T20" fmla="*/ 594 w 748"/>
                <a:gd name="T21" fmla="*/ 85 h 293"/>
                <a:gd name="T22" fmla="*/ 577 w 748"/>
                <a:gd name="T23" fmla="*/ 84 h 293"/>
                <a:gd name="T24" fmla="*/ 560 w 748"/>
                <a:gd name="T25" fmla="*/ 79 h 293"/>
                <a:gd name="T26" fmla="*/ 546 w 748"/>
                <a:gd name="T27" fmla="*/ 71 h 293"/>
                <a:gd name="T28" fmla="*/ 533 w 748"/>
                <a:gd name="T29" fmla="*/ 60 h 293"/>
                <a:gd name="T30" fmla="*/ 523 w 748"/>
                <a:gd name="T31" fmla="*/ 47 h 293"/>
                <a:gd name="T32" fmla="*/ 514 w 748"/>
                <a:gd name="T33" fmla="*/ 33 h 293"/>
                <a:gd name="T34" fmla="*/ 509 w 748"/>
                <a:gd name="T35" fmla="*/ 17 h 293"/>
                <a:gd name="T36" fmla="*/ 507 w 748"/>
                <a:gd name="T37" fmla="*/ 0 h 293"/>
                <a:gd name="T38" fmla="*/ 461 w 748"/>
                <a:gd name="T39" fmla="*/ 0 h 293"/>
                <a:gd name="T40" fmla="*/ 459 w 748"/>
                <a:gd name="T41" fmla="*/ 17 h 293"/>
                <a:gd name="T42" fmla="*/ 453 w 748"/>
                <a:gd name="T43" fmla="*/ 33 h 293"/>
                <a:gd name="T44" fmla="*/ 446 w 748"/>
                <a:gd name="T45" fmla="*/ 47 h 293"/>
                <a:gd name="T46" fmla="*/ 435 w 748"/>
                <a:gd name="T47" fmla="*/ 60 h 293"/>
                <a:gd name="T48" fmla="*/ 422 w 748"/>
                <a:gd name="T49" fmla="*/ 71 h 293"/>
                <a:gd name="T50" fmla="*/ 407 w 748"/>
                <a:gd name="T51" fmla="*/ 79 h 293"/>
                <a:gd name="T52" fmla="*/ 391 w 748"/>
                <a:gd name="T53" fmla="*/ 84 h 293"/>
                <a:gd name="T54" fmla="*/ 374 w 748"/>
                <a:gd name="T55" fmla="*/ 85 h 293"/>
                <a:gd name="T56" fmla="*/ 365 w 748"/>
                <a:gd name="T57" fmla="*/ 85 h 293"/>
                <a:gd name="T58" fmla="*/ 349 w 748"/>
                <a:gd name="T59" fmla="*/ 82 h 293"/>
                <a:gd name="T60" fmla="*/ 332 w 748"/>
                <a:gd name="T61" fmla="*/ 75 h 293"/>
                <a:gd name="T62" fmla="*/ 320 w 748"/>
                <a:gd name="T63" fmla="*/ 66 h 293"/>
                <a:gd name="T64" fmla="*/ 308 w 748"/>
                <a:gd name="T65" fmla="*/ 54 h 293"/>
                <a:gd name="T66" fmla="*/ 298 w 748"/>
                <a:gd name="T67" fmla="*/ 41 h 293"/>
                <a:gd name="T68" fmla="*/ 291 w 748"/>
                <a:gd name="T69" fmla="*/ 26 h 293"/>
                <a:gd name="T70" fmla="*/ 287 w 748"/>
                <a:gd name="T71" fmla="*/ 9 h 293"/>
                <a:gd name="T72" fmla="*/ 241 w 748"/>
                <a:gd name="T73" fmla="*/ 0 h 293"/>
                <a:gd name="T74" fmla="*/ 241 w 748"/>
                <a:gd name="T75" fmla="*/ 9 h 293"/>
                <a:gd name="T76" fmla="*/ 236 w 748"/>
                <a:gd name="T77" fmla="*/ 26 h 293"/>
                <a:gd name="T78" fmla="*/ 230 w 748"/>
                <a:gd name="T79" fmla="*/ 41 h 293"/>
                <a:gd name="T80" fmla="*/ 220 w 748"/>
                <a:gd name="T81" fmla="*/ 54 h 293"/>
                <a:gd name="T82" fmla="*/ 208 w 748"/>
                <a:gd name="T83" fmla="*/ 66 h 293"/>
                <a:gd name="T84" fmla="*/ 195 w 748"/>
                <a:gd name="T85" fmla="*/ 75 h 293"/>
                <a:gd name="T86" fmla="*/ 179 w 748"/>
                <a:gd name="T87" fmla="*/ 82 h 293"/>
                <a:gd name="T88" fmla="*/ 163 w 748"/>
                <a:gd name="T89" fmla="*/ 85 h 293"/>
                <a:gd name="T90" fmla="*/ 154 w 748"/>
                <a:gd name="T91" fmla="*/ 85 h 293"/>
                <a:gd name="T92" fmla="*/ 136 w 748"/>
                <a:gd name="T93" fmla="*/ 84 h 293"/>
                <a:gd name="T94" fmla="*/ 120 w 748"/>
                <a:gd name="T95" fmla="*/ 79 h 293"/>
                <a:gd name="T96" fmla="*/ 106 w 748"/>
                <a:gd name="T97" fmla="*/ 71 h 293"/>
                <a:gd name="T98" fmla="*/ 93 w 748"/>
                <a:gd name="T99" fmla="*/ 60 h 293"/>
                <a:gd name="T100" fmla="*/ 82 w 748"/>
                <a:gd name="T101" fmla="*/ 47 h 293"/>
                <a:gd name="T102" fmla="*/ 74 w 748"/>
                <a:gd name="T103" fmla="*/ 33 h 293"/>
                <a:gd name="T104" fmla="*/ 69 w 748"/>
                <a:gd name="T105" fmla="*/ 17 h 293"/>
                <a:gd name="T106" fmla="*/ 67 w 748"/>
                <a:gd name="T107" fmla="*/ 0 h 293"/>
                <a:gd name="T108" fmla="*/ 0 w 748"/>
                <a:gd name="T109" fmla="*/ 29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48" h="293">
                  <a:moveTo>
                    <a:pt x="0" y="293"/>
                  </a:moveTo>
                  <a:lnTo>
                    <a:pt x="748" y="293"/>
                  </a:lnTo>
                  <a:lnTo>
                    <a:pt x="748" y="0"/>
                  </a:lnTo>
                  <a:lnTo>
                    <a:pt x="681" y="0"/>
                  </a:lnTo>
                  <a:lnTo>
                    <a:pt x="681" y="0"/>
                  </a:lnTo>
                  <a:lnTo>
                    <a:pt x="680" y="9"/>
                  </a:lnTo>
                  <a:lnTo>
                    <a:pt x="679" y="17"/>
                  </a:lnTo>
                  <a:lnTo>
                    <a:pt x="677" y="26"/>
                  </a:lnTo>
                  <a:lnTo>
                    <a:pt x="674" y="33"/>
                  </a:lnTo>
                  <a:lnTo>
                    <a:pt x="671" y="41"/>
                  </a:lnTo>
                  <a:lnTo>
                    <a:pt x="666" y="47"/>
                  </a:lnTo>
                  <a:lnTo>
                    <a:pt x="661" y="54"/>
                  </a:lnTo>
                  <a:lnTo>
                    <a:pt x="655" y="60"/>
                  </a:lnTo>
                  <a:lnTo>
                    <a:pt x="649" y="66"/>
                  </a:lnTo>
                  <a:lnTo>
                    <a:pt x="642" y="71"/>
                  </a:lnTo>
                  <a:lnTo>
                    <a:pt x="635" y="75"/>
                  </a:lnTo>
                  <a:lnTo>
                    <a:pt x="627" y="79"/>
                  </a:lnTo>
                  <a:lnTo>
                    <a:pt x="620" y="82"/>
                  </a:lnTo>
                  <a:lnTo>
                    <a:pt x="611" y="84"/>
                  </a:lnTo>
                  <a:lnTo>
                    <a:pt x="602" y="85"/>
                  </a:lnTo>
                  <a:lnTo>
                    <a:pt x="594" y="85"/>
                  </a:lnTo>
                  <a:lnTo>
                    <a:pt x="594" y="85"/>
                  </a:lnTo>
                  <a:lnTo>
                    <a:pt x="585" y="85"/>
                  </a:lnTo>
                  <a:lnTo>
                    <a:pt x="577" y="84"/>
                  </a:lnTo>
                  <a:lnTo>
                    <a:pt x="568" y="82"/>
                  </a:lnTo>
                  <a:lnTo>
                    <a:pt x="560" y="79"/>
                  </a:lnTo>
                  <a:lnTo>
                    <a:pt x="553" y="75"/>
                  </a:lnTo>
                  <a:lnTo>
                    <a:pt x="546" y="71"/>
                  </a:lnTo>
                  <a:lnTo>
                    <a:pt x="539" y="66"/>
                  </a:lnTo>
                  <a:lnTo>
                    <a:pt x="533" y="60"/>
                  </a:lnTo>
                  <a:lnTo>
                    <a:pt x="527" y="54"/>
                  </a:lnTo>
                  <a:lnTo>
                    <a:pt x="523" y="47"/>
                  </a:lnTo>
                  <a:lnTo>
                    <a:pt x="518" y="41"/>
                  </a:lnTo>
                  <a:lnTo>
                    <a:pt x="514" y="33"/>
                  </a:lnTo>
                  <a:lnTo>
                    <a:pt x="512" y="26"/>
                  </a:lnTo>
                  <a:lnTo>
                    <a:pt x="509" y="17"/>
                  </a:lnTo>
                  <a:lnTo>
                    <a:pt x="507" y="9"/>
                  </a:lnTo>
                  <a:lnTo>
                    <a:pt x="507" y="0"/>
                  </a:lnTo>
                  <a:lnTo>
                    <a:pt x="461" y="0"/>
                  </a:lnTo>
                  <a:lnTo>
                    <a:pt x="461" y="0"/>
                  </a:lnTo>
                  <a:lnTo>
                    <a:pt x="460" y="9"/>
                  </a:lnTo>
                  <a:lnTo>
                    <a:pt x="459" y="17"/>
                  </a:lnTo>
                  <a:lnTo>
                    <a:pt x="457" y="26"/>
                  </a:lnTo>
                  <a:lnTo>
                    <a:pt x="453" y="33"/>
                  </a:lnTo>
                  <a:lnTo>
                    <a:pt x="450" y="41"/>
                  </a:lnTo>
                  <a:lnTo>
                    <a:pt x="446" y="47"/>
                  </a:lnTo>
                  <a:lnTo>
                    <a:pt x="440" y="54"/>
                  </a:lnTo>
                  <a:lnTo>
                    <a:pt x="435" y="60"/>
                  </a:lnTo>
                  <a:lnTo>
                    <a:pt x="429" y="66"/>
                  </a:lnTo>
                  <a:lnTo>
                    <a:pt x="422" y="71"/>
                  </a:lnTo>
                  <a:lnTo>
                    <a:pt x="415" y="75"/>
                  </a:lnTo>
                  <a:lnTo>
                    <a:pt x="407" y="79"/>
                  </a:lnTo>
                  <a:lnTo>
                    <a:pt x="399" y="82"/>
                  </a:lnTo>
                  <a:lnTo>
                    <a:pt x="391" y="84"/>
                  </a:lnTo>
                  <a:lnTo>
                    <a:pt x="383" y="85"/>
                  </a:lnTo>
                  <a:lnTo>
                    <a:pt x="374" y="85"/>
                  </a:lnTo>
                  <a:lnTo>
                    <a:pt x="374" y="85"/>
                  </a:lnTo>
                  <a:lnTo>
                    <a:pt x="365" y="85"/>
                  </a:lnTo>
                  <a:lnTo>
                    <a:pt x="356" y="84"/>
                  </a:lnTo>
                  <a:lnTo>
                    <a:pt x="349" y="82"/>
                  </a:lnTo>
                  <a:lnTo>
                    <a:pt x="340" y="79"/>
                  </a:lnTo>
                  <a:lnTo>
                    <a:pt x="332" y="75"/>
                  </a:lnTo>
                  <a:lnTo>
                    <a:pt x="326" y="71"/>
                  </a:lnTo>
                  <a:lnTo>
                    <a:pt x="320" y="66"/>
                  </a:lnTo>
                  <a:lnTo>
                    <a:pt x="313" y="60"/>
                  </a:lnTo>
                  <a:lnTo>
                    <a:pt x="308" y="54"/>
                  </a:lnTo>
                  <a:lnTo>
                    <a:pt x="302" y="47"/>
                  </a:lnTo>
                  <a:lnTo>
                    <a:pt x="298" y="41"/>
                  </a:lnTo>
                  <a:lnTo>
                    <a:pt x="295" y="33"/>
                  </a:lnTo>
                  <a:lnTo>
                    <a:pt x="291" y="26"/>
                  </a:lnTo>
                  <a:lnTo>
                    <a:pt x="289" y="17"/>
                  </a:lnTo>
                  <a:lnTo>
                    <a:pt x="287" y="9"/>
                  </a:lnTo>
                  <a:lnTo>
                    <a:pt x="287" y="0"/>
                  </a:lnTo>
                  <a:lnTo>
                    <a:pt x="241" y="0"/>
                  </a:lnTo>
                  <a:lnTo>
                    <a:pt x="241" y="0"/>
                  </a:lnTo>
                  <a:lnTo>
                    <a:pt x="241" y="9"/>
                  </a:lnTo>
                  <a:lnTo>
                    <a:pt x="239" y="17"/>
                  </a:lnTo>
                  <a:lnTo>
                    <a:pt x="236" y="26"/>
                  </a:lnTo>
                  <a:lnTo>
                    <a:pt x="233" y="33"/>
                  </a:lnTo>
                  <a:lnTo>
                    <a:pt x="230" y="41"/>
                  </a:lnTo>
                  <a:lnTo>
                    <a:pt x="226" y="47"/>
                  </a:lnTo>
                  <a:lnTo>
                    <a:pt x="220" y="54"/>
                  </a:lnTo>
                  <a:lnTo>
                    <a:pt x="215" y="60"/>
                  </a:lnTo>
                  <a:lnTo>
                    <a:pt x="208" y="66"/>
                  </a:lnTo>
                  <a:lnTo>
                    <a:pt x="202" y="71"/>
                  </a:lnTo>
                  <a:lnTo>
                    <a:pt x="195" y="75"/>
                  </a:lnTo>
                  <a:lnTo>
                    <a:pt x="188" y="79"/>
                  </a:lnTo>
                  <a:lnTo>
                    <a:pt x="179" y="82"/>
                  </a:lnTo>
                  <a:lnTo>
                    <a:pt x="172" y="84"/>
                  </a:lnTo>
                  <a:lnTo>
                    <a:pt x="163" y="85"/>
                  </a:lnTo>
                  <a:lnTo>
                    <a:pt x="154" y="85"/>
                  </a:lnTo>
                  <a:lnTo>
                    <a:pt x="154" y="85"/>
                  </a:lnTo>
                  <a:lnTo>
                    <a:pt x="145" y="85"/>
                  </a:lnTo>
                  <a:lnTo>
                    <a:pt x="136" y="84"/>
                  </a:lnTo>
                  <a:lnTo>
                    <a:pt x="128" y="82"/>
                  </a:lnTo>
                  <a:lnTo>
                    <a:pt x="120" y="79"/>
                  </a:lnTo>
                  <a:lnTo>
                    <a:pt x="113" y="75"/>
                  </a:lnTo>
                  <a:lnTo>
                    <a:pt x="106" y="71"/>
                  </a:lnTo>
                  <a:lnTo>
                    <a:pt x="99" y="66"/>
                  </a:lnTo>
                  <a:lnTo>
                    <a:pt x="93" y="60"/>
                  </a:lnTo>
                  <a:lnTo>
                    <a:pt x="87" y="54"/>
                  </a:lnTo>
                  <a:lnTo>
                    <a:pt x="82" y="47"/>
                  </a:lnTo>
                  <a:lnTo>
                    <a:pt x="78" y="41"/>
                  </a:lnTo>
                  <a:lnTo>
                    <a:pt x="74" y="33"/>
                  </a:lnTo>
                  <a:lnTo>
                    <a:pt x="71" y="26"/>
                  </a:lnTo>
                  <a:lnTo>
                    <a:pt x="69" y="17"/>
                  </a:lnTo>
                  <a:lnTo>
                    <a:pt x="68" y="9"/>
                  </a:lnTo>
                  <a:lnTo>
                    <a:pt x="67" y="0"/>
                  </a:lnTo>
                  <a:lnTo>
                    <a:pt x="0" y="0"/>
                  </a:lnTo>
                  <a:lnTo>
                    <a:pt x="0" y="293"/>
                  </a:lnTo>
                  <a:close/>
                </a:path>
              </a:pathLst>
            </a:custGeom>
            <a:solidFill>
              <a:sysClr val="window" lastClr="FFFFFF">
                <a:lumMod val="8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nvGrpSpPr>
            <p:cNvPr id="506" name="Group 505"/>
            <p:cNvGrpSpPr/>
            <p:nvPr/>
          </p:nvGrpSpPr>
          <p:grpSpPr>
            <a:xfrm>
              <a:off x="4324352" y="44381"/>
              <a:ext cx="490294" cy="1299163"/>
              <a:chOff x="4422087" y="163072"/>
              <a:chExt cx="432689" cy="1146520"/>
            </a:xfrm>
          </p:grpSpPr>
          <p:sp>
            <p:nvSpPr>
              <p:cNvPr id="725" name="Freeform 724"/>
              <p:cNvSpPr>
                <a:spLocks/>
              </p:cNvSpPr>
              <p:nvPr/>
            </p:nvSpPr>
            <p:spPr bwMode="auto">
              <a:xfrm>
                <a:off x="4681707" y="429618"/>
                <a:ext cx="154851" cy="131032"/>
              </a:xfrm>
              <a:custGeom>
                <a:avLst/>
                <a:gdLst>
                  <a:gd name="T0" fmla="*/ 88 w 410"/>
                  <a:gd name="T1" fmla="*/ 170 h 351"/>
                  <a:gd name="T2" fmla="*/ 98 w 410"/>
                  <a:gd name="T3" fmla="*/ 162 h 351"/>
                  <a:gd name="T4" fmla="*/ 113 w 410"/>
                  <a:gd name="T5" fmla="*/ 162 h 351"/>
                  <a:gd name="T6" fmla="*/ 124 w 410"/>
                  <a:gd name="T7" fmla="*/ 163 h 351"/>
                  <a:gd name="T8" fmla="*/ 136 w 410"/>
                  <a:gd name="T9" fmla="*/ 163 h 351"/>
                  <a:gd name="T10" fmla="*/ 148 w 410"/>
                  <a:gd name="T11" fmla="*/ 167 h 351"/>
                  <a:gd name="T12" fmla="*/ 159 w 410"/>
                  <a:gd name="T13" fmla="*/ 158 h 351"/>
                  <a:gd name="T14" fmla="*/ 181 w 410"/>
                  <a:gd name="T15" fmla="*/ 157 h 351"/>
                  <a:gd name="T16" fmla="*/ 170 w 410"/>
                  <a:gd name="T17" fmla="*/ 140 h 351"/>
                  <a:gd name="T18" fmla="*/ 162 w 410"/>
                  <a:gd name="T19" fmla="*/ 109 h 351"/>
                  <a:gd name="T20" fmla="*/ 181 w 410"/>
                  <a:gd name="T21" fmla="*/ 81 h 351"/>
                  <a:gd name="T22" fmla="*/ 181 w 410"/>
                  <a:gd name="T23" fmla="*/ 68 h 351"/>
                  <a:gd name="T24" fmla="*/ 145 w 410"/>
                  <a:gd name="T25" fmla="*/ 85 h 351"/>
                  <a:gd name="T26" fmla="*/ 118 w 410"/>
                  <a:gd name="T27" fmla="*/ 85 h 351"/>
                  <a:gd name="T28" fmla="*/ 102 w 410"/>
                  <a:gd name="T29" fmla="*/ 66 h 351"/>
                  <a:gd name="T30" fmla="*/ 111 w 410"/>
                  <a:gd name="T31" fmla="*/ 36 h 351"/>
                  <a:gd name="T32" fmla="*/ 144 w 410"/>
                  <a:gd name="T33" fmla="*/ 31 h 351"/>
                  <a:gd name="T34" fmla="*/ 159 w 410"/>
                  <a:gd name="T35" fmla="*/ 51 h 351"/>
                  <a:gd name="T36" fmla="*/ 197 w 410"/>
                  <a:gd name="T37" fmla="*/ 42 h 351"/>
                  <a:gd name="T38" fmla="*/ 184 w 410"/>
                  <a:gd name="T39" fmla="*/ 26 h 351"/>
                  <a:gd name="T40" fmla="*/ 200 w 410"/>
                  <a:gd name="T41" fmla="*/ 1 h 351"/>
                  <a:gd name="T42" fmla="*/ 226 w 410"/>
                  <a:gd name="T43" fmla="*/ 15 h 351"/>
                  <a:gd name="T44" fmla="*/ 223 w 410"/>
                  <a:gd name="T45" fmla="*/ 35 h 351"/>
                  <a:gd name="T46" fmla="*/ 238 w 410"/>
                  <a:gd name="T47" fmla="*/ 51 h 351"/>
                  <a:gd name="T48" fmla="*/ 253 w 410"/>
                  <a:gd name="T49" fmla="*/ 40 h 351"/>
                  <a:gd name="T50" fmla="*/ 283 w 410"/>
                  <a:gd name="T51" fmla="*/ 29 h 351"/>
                  <a:gd name="T52" fmla="*/ 306 w 410"/>
                  <a:gd name="T53" fmla="*/ 52 h 351"/>
                  <a:gd name="T54" fmla="*/ 300 w 410"/>
                  <a:gd name="T55" fmla="*/ 77 h 351"/>
                  <a:gd name="T56" fmla="*/ 279 w 410"/>
                  <a:gd name="T57" fmla="*/ 89 h 351"/>
                  <a:gd name="T58" fmla="*/ 253 w 410"/>
                  <a:gd name="T59" fmla="*/ 77 h 351"/>
                  <a:gd name="T60" fmla="*/ 217 w 410"/>
                  <a:gd name="T61" fmla="*/ 68 h 351"/>
                  <a:gd name="T62" fmla="*/ 231 w 410"/>
                  <a:gd name="T63" fmla="*/ 82 h 351"/>
                  <a:gd name="T64" fmla="*/ 249 w 410"/>
                  <a:gd name="T65" fmla="*/ 117 h 351"/>
                  <a:gd name="T66" fmla="*/ 237 w 410"/>
                  <a:gd name="T67" fmla="*/ 146 h 351"/>
                  <a:gd name="T68" fmla="*/ 248 w 410"/>
                  <a:gd name="T69" fmla="*/ 157 h 351"/>
                  <a:gd name="T70" fmla="*/ 266 w 410"/>
                  <a:gd name="T71" fmla="*/ 165 h 351"/>
                  <a:gd name="T72" fmla="*/ 308 w 410"/>
                  <a:gd name="T73" fmla="*/ 171 h 351"/>
                  <a:gd name="T74" fmla="*/ 363 w 410"/>
                  <a:gd name="T75" fmla="*/ 193 h 351"/>
                  <a:gd name="T76" fmla="*/ 398 w 410"/>
                  <a:gd name="T77" fmla="*/ 264 h 351"/>
                  <a:gd name="T78" fmla="*/ 407 w 410"/>
                  <a:gd name="T79" fmla="*/ 324 h 351"/>
                  <a:gd name="T80" fmla="*/ 410 w 410"/>
                  <a:gd name="T81" fmla="*/ 351 h 351"/>
                  <a:gd name="T82" fmla="*/ 334 w 410"/>
                  <a:gd name="T83" fmla="*/ 351 h 351"/>
                  <a:gd name="T84" fmla="*/ 331 w 410"/>
                  <a:gd name="T85" fmla="*/ 326 h 351"/>
                  <a:gd name="T86" fmla="*/ 344 w 410"/>
                  <a:gd name="T87" fmla="*/ 297 h 351"/>
                  <a:gd name="T88" fmla="*/ 334 w 410"/>
                  <a:gd name="T89" fmla="*/ 248 h 351"/>
                  <a:gd name="T90" fmla="*/ 297 w 410"/>
                  <a:gd name="T91" fmla="*/ 225 h 351"/>
                  <a:gd name="T92" fmla="*/ 268 w 410"/>
                  <a:gd name="T93" fmla="*/ 227 h 351"/>
                  <a:gd name="T94" fmla="*/ 254 w 410"/>
                  <a:gd name="T95" fmla="*/ 242 h 351"/>
                  <a:gd name="T96" fmla="*/ 165 w 410"/>
                  <a:gd name="T97" fmla="*/ 242 h 351"/>
                  <a:gd name="T98" fmla="*/ 149 w 410"/>
                  <a:gd name="T99" fmla="*/ 228 h 351"/>
                  <a:gd name="T100" fmla="*/ 141 w 410"/>
                  <a:gd name="T101" fmla="*/ 237 h 351"/>
                  <a:gd name="T102" fmla="*/ 127 w 410"/>
                  <a:gd name="T103" fmla="*/ 237 h 351"/>
                  <a:gd name="T104" fmla="*/ 111 w 410"/>
                  <a:gd name="T105" fmla="*/ 237 h 351"/>
                  <a:gd name="T106" fmla="*/ 97 w 410"/>
                  <a:gd name="T107" fmla="*/ 237 h 351"/>
                  <a:gd name="T108" fmla="*/ 88 w 410"/>
                  <a:gd name="T109" fmla="*/ 228 h 351"/>
                  <a:gd name="T110" fmla="*/ 0 w 410"/>
                  <a:gd name="T111" fmla="*/ 168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0" h="351">
                    <a:moveTo>
                      <a:pt x="81" y="168"/>
                    </a:moveTo>
                    <a:lnTo>
                      <a:pt x="81" y="168"/>
                    </a:lnTo>
                    <a:lnTo>
                      <a:pt x="84" y="170"/>
                    </a:lnTo>
                    <a:lnTo>
                      <a:pt x="88" y="171"/>
                    </a:lnTo>
                    <a:lnTo>
                      <a:pt x="88" y="171"/>
                    </a:lnTo>
                    <a:lnTo>
                      <a:pt x="88" y="170"/>
                    </a:lnTo>
                    <a:lnTo>
                      <a:pt x="88" y="170"/>
                    </a:lnTo>
                    <a:lnTo>
                      <a:pt x="90" y="167"/>
                    </a:lnTo>
                    <a:lnTo>
                      <a:pt x="92" y="164"/>
                    </a:lnTo>
                    <a:lnTo>
                      <a:pt x="94" y="163"/>
                    </a:lnTo>
                    <a:lnTo>
                      <a:pt x="98" y="162"/>
                    </a:lnTo>
                    <a:lnTo>
                      <a:pt x="98" y="162"/>
                    </a:lnTo>
                    <a:lnTo>
                      <a:pt x="102" y="164"/>
                    </a:lnTo>
                    <a:lnTo>
                      <a:pt x="104" y="166"/>
                    </a:lnTo>
                    <a:lnTo>
                      <a:pt x="104" y="166"/>
                    </a:lnTo>
                    <a:lnTo>
                      <a:pt x="108" y="163"/>
                    </a:lnTo>
                    <a:lnTo>
                      <a:pt x="110" y="163"/>
                    </a:lnTo>
                    <a:lnTo>
                      <a:pt x="113" y="162"/>
                    </a:lnTo>
                    <a:lnTo>
                      <a:pt x="113" y="162"/>
                    </a:lnTo>
                    <a:lnTo>
                      <a:pt x="116" y="164"/>
                    </a:lnTo>
                    <a:lnTo>
                      <a:pt x="119" y="166"/>
                    </a:lnTo>
                    <a:lnTo>
                      <a:pt x="119" y="166"/>
                    </a:lnTo>
                    <a:lnTo>
                      <a:pt x="122" y="163"/>
                    </a:lnTo>
                    <a:lnTo>
                      <a:pt x="124" y="163"/>
                    </a:lnTo>
                    <a:lnTo>
                      <a:pt x="127" y="162"/>
                    </a:lnTo>
                    <a:lnTo>
                      <a:pt x="127" y="162"/>
                    </a:lnTo>
                    <a:lnTo>
                      <a:pt x="130" y="164"/>
                    </a:lnTo>
                    <a:lnTo>
                      <a:pt x="133" y="166"/>
                    </a:lnTo>
                    <a:lnTo>
                      <a:pt x="133" y="166"/>
                    </a:lnTo>
                    <a:lnTo>
                      <a:pt x="136" y="163"/>
                    </a:lnTo>
                    <a:lnTo>
                      <a:pt x="138" y="163"/>
                    </a:lnTo>
                    <a:lnTo>
                      <a:pt x="141" y="162"/>
                    </a:lnTo>
                    <a:lnTo>
                      <a:pt x="141" y="162"/>
                    </a:lnTo>
                    <a:lnTo>
                      <a:pt x="144" y="163"/>
                    </a:lnTo>
                    <a:lnTo>
                      <a:pt x="146" y="165"/>
                    </a:lnTo>
                    <a:lnTo>
                      <a:pt x="148" y="167"/>
                    </a:lnTo>
                    <a:lnTo>
                      <a:pt x="149" y="171"/>
                    </a:lnTo>
                    <a:lnTo>
                      <a:pt x="149" y="171"/>
                    </a:lnTo>
                    <a:lnTo>
                      <a:pt x="150" y="166"/>
                    </a:lnTo>
                    <a:lnTo>
                      <a:pt x="152" y="163"/>
                    </a:lnTo>
                    <a:lnTo>
                      <a:pt x="156" y="160"/>
                    </a:lnTo>
                    <a:lnTo>
                      <a:pt x="159" y="158"/>
                    </a:lnTo>
                    <a:lnTo>
                      <a:pt x="159" y="158"/>
                    </a:lnTo>
                    <a:lnTo>
                      <a:pt x="164" y="157"/>
                    </a:lnTo>
                    <a:lnTo>
                      <a:pt x="169" y="157"/>
                    </a:lnTo>
                    <a:lnTo>
                      <a:pt x="169" y="157"/>
                    </a:lnTo>
                    <a:lnTo>
                      <a:pt x="181" y="157"/>
                    </a:lnTo>
                    <a:lnTo>
                      <a:pt x="181" y="157"/>
                    </a:lnTo>
                    <a:lnTo>
                      <a:pt x="188" y="157"/>
                    </a:lnTo>
                    <a:lnTo>
                      <a:pt x="188" y="157"/>
                    </a:lnTo>
                    <a:lnTo>
                      <a:pt x="183" y="153"/>
                    </a:lnTo>
                    <a:lnTo>
                      <a:pt x="178" y="150"/>
                    </a:lnTo>
                    <a:lnTo>
                      <a:pt x="173" y="146"/>
                    </a:lnTo>
                    <a:lnTo>
                      <a:pt x="170" y="140"/>
                    </a:lnTo>
                    <a:lnTo>
                      <a:pt x="170" y="140"/>
                    </a:lnTo>
                    <a:lnTo>
                      <a:pt x="167" y="135"/>
                    </a:lnTo>
                    <a:lnTo>
                      <a:pt x="163" y="129"/>
                    </a:lnTo>
                    <a:lnTo>
                      <a:pt x="162" y="122"/>
                    </a:lnTo>
                    <a:lnTo>
                      <a:pt x="162" y="116"/>
                    </a:lnTo>
                    <a:lnTo>
                      <a:pt x="162" y="109"/>
                    </a:lnTo>
                    <a:lnTo>
                      <a:pt x="164" y="103"/>
                    </a:lnTo>
                    <a:lnTo>
                      <a:pt x="168" y="96"/>
                    </a:lnTo>
                    <a:lnTo>
                      <a:pt x="171" y="90"/>
                    </a:lnTo>
                    <a:lnTo>
                      <a:pt x="171" y="90"/>
                    </a:lnTo>
                    <a:lnTo>
                      <a:pt x="175" y="85"/>
                    </a:lnTo>
                    <a:lnTo>
                      <a:pt x="181" y="81"/>
                    </a:lnTo>
                    <a:lnTo>
                      <a:pt x="186" y="78"/>
                    </a:lnTo>
                    <a:lnTo>
                      <a:pt x="192" y="76"/>
                    </a:lnTo>
                    <a:lnTo>
                      <a:pt x="192" y="76"/>
                    </a:lnTo>
                    <a:lnTo>
                      <a:pt x="192" y="68"/>
                    </a:lnTo>
                    <a:lnTo>
                      <a:pt x="192" y="68"/>
                    </a:lnTo>
                    <a:lnTo>
                      <a:pt x="181" y="68"/>
                    </a:lnTo>
                    <a:lnTo>
                      <a:pt x="181" y="68"/>
                    </a:lnTo>
                    <a:lnTo>
                      <a:pt x="159" y="68"/>
                    </a:lnTo>
                    <a:lnTo>
                      <a:pt x="159" y="68"/>
                    </a:lnTo>
                    <a:lnTo>
                      <a:pt x="156" y="75"/>
                    </a:lnTo>
                    <a:lnTo>
                      <a:pt x="150" y="81"/>
                    </a:lnTo>
                    <a:lnTo>
                      <a:pt x="145" y="85"/>
                    </a:lnTo>
                    <a:lnTo>
                      <a:pt x="137" y="87"/>
                    </a:lnTo>
                    <a:lnTo>
                      <a:pt x="137" y="87"/>
                    </a:lnTo>
                    <a:lnTo>
                      <a:pt x="133" y="89"/>
                    </a:lnTo>
                    <a:lnTo>
                      <a:pt x="128" y="89"/>
                    </a:lnTo>
                    <a:lnTo>
                      <a:pt x="123" y="87"/>
                    </a:lnTo>
                    <a:lnTo>
                      <a:pt x="118" y="85"/>
                    </a:lnTo>
                    <a:lnTo>
                      <a:pt x="114" y="83"/>
                    </a:lnTo>
                    <a:lnTo>
                      <a:pt x="110" y="80"/>
                    </a:lnTo>
                    <a:lnTo>
                      <a:pt x="107" y="77"/>
                    </a:lnTo>
                    <a:lnTo>
                      <a:pt x="104" y="72"/>
                    </a:lnTo>
                    <a:lnTo>
                      <a:pt x="104" y="72"/>
                    </a:lnTo>
                    <a:lnTo>
                      <a:pt x="102" y="66"/>
                    </a:lnTo>
                    <a:lnTo>
                      <a:pt x="101" y="59"/>
                    </a:lnTo>
                    <a:lnTo>
                      <a:pt x="102" y="53"/>
                    </a:lnTo>
                    <a:lnTo>
                      <a:pt x="104" y="46"/>
                    </a:lnTo>
                    <a:lnTo>
                      <a:pt x="104" y="46"/>
                    </a:lnTo>
                    <a:lnTo>
                      <a:pt x="107" y="40"/>
                    </a:lnTo>
                    <a:lnTo>
                      <a:pt x="111" y="36"/>
                    </a:lnTo>
                    <a:lnTo>
                      <a:pt x="117" y="32"/>
                    </a:lnTo>
                    <a:lnTo>
                      <a:pt x="123" y="30"/>
                    </a:lnTo>
                    <a:lnTo>
                      <a:pt x="123" y="30"/>
                    </a:lnTo>
                    <a:lnTo>
                      <a:pt x="131" y="29"/>
                    </a:lnTo>
                    <a:lnTo>
                      <a:pt x="137" y="29"/>
                    </a:lnTo>
                    <a:lnTo>
                      <a:pt x="144" y="31"/>
                    </a:lnTo>
                    <a:lnTo>
                      <a:pt x="149" y="36"/>
                    </a:lnTo>
                    <a:lnTo>
                      <a:pt x="149" y="36"/>
                    </a:lnTo>
                    <a:lnTo>
                      <a:pt x="152" y="39"/>
                    </a:lnTo>
                    <a:lnTo>
                      <a:pt x="156" y="42"/>
                    </a:lnTo>
                    <a:lnTo>
                      <a:pt x="158" y="46"/>
                    </a:lnTo>
                    <a:lnTo>
                      <a:pt x="159" y="51"/>
                    </a:lnTo>
                    <a:lnTo>
                      <a:pt x="159" y="51"/>
                    </a:lnTo>
                    <a:lnTo>
                      <a:pt x="163" y="51"/>
                    </a:lnTo>
                    <a:lnTo>
                      <a:pt x="163" y="51"/>
                    </a:lnTo>
                    <a:lnTo>
                      <a:pt x="196" y="51"/>
                    </a:lnTo>
                    <a:lnTo>
                      <a:pt x="196" y="51"/>
                    </a:lnTo>
                    <a:lnTo>
                      <a:pt x="197" y="42"/>
                    </a:lnTo>
                    <a:lnTo>
                      <a:pt x="197" y="42"/>
                    </a:lnTo>
                    <a:lnTo>
                      <a:pt x="190" y="38"/>
                    </a:lnTo>
                    <a:lnTo>
                      <a:pt x="188" y="36"/>
                    </a:lnTo>
                    <a:lnTo>
                      <a:pt x="186" y="32"/>
                    </a:lnTo>
                    <a:lnTo>
                      <a:pt x="186" y="32"/>
                    </a:lnTo>
                    <a:lnTo>
                      <a:pt x="184" y="26"/>
                    </a:lnTo>
                    <a:lnTo>
                      <a:pt x="184" y="19"/>
                    </a:lnTo>
                    <a:lnTo>
                      <a:pt x="185" y="13"/>
                    </a:lnTo>
                    <a:lnTo>
                      <a:pt x="189" y="8"/>
                    </a:lnTo>
                    <a:lnTo>
                      <a:pt x="189" y="8"/>
                    </a:lnTo>
                    <a:lnTo>
                      <a:pt x="194" y="3"/>
                    </a:lnTo>
                    <a:lnTo>
                      <a:pt x="200" y="1"/>
                    </a:lnTo>
                    <a:lnTo>
                      <a:pt x="206" y="0"/>
                    </a:lnTo>
                    <a:lnTo>
                      <a:pt x="213" y="2"/>
                    </a:lnTo>
                    <a:lnTo>
                      <a:pt x="213" y="2"/>
                    </a:lnTo>
                    <a:lnTo>
                      <a:pt x="218" y="5"/>
                    </a:lnTo>
                    <a:lnTo>
                      <a:pt x="223" y="10"/>
                    </a:lnTo>
                    <a:lnTo>
                      <a:pt x="226" y="15"/>
                    </a:lnTo>
                    <a:lnTo>
                      <a:pt x="227" y="23"/>
                    </a:lnTo>
                    <a:lnTo>
                      <a:pt x="227" y="23"/>
                    </a:lnTo>
                    <a:lnTo>
                      <a:pt x="227" y="23"/>
                    </a:lnTo>
                    <a:lnTo>
                      <a:pt x="227" y="23"/>
                    </a:lnTo>
                    <a:lnTo>
                      <a:pt x="226" y="28"/>
                    </a:lnTo>
                    <a:lnTo>
                      <a:pt x="223" y="35"/>
                    </a:lnTo>
                    <a:lnTo>
                      <a:pt x="219" y="39"/>
                    </a:lnTo>
                    <a:lnTo>
                      <a:pt x="214" y="42"/>
                    </a:lnTo>
                    <a:lnTo>
                      <a:pt x="214" y="42"/>
                    </a:lnTo>
                    <a:lnTo>
                      <a:pt x="215" y="51"/>
                    </a:lnTo>
                    <a:lnTo>
                      <a:pt x="215" y="51"/>
                    </a:lnTo>
                    <a:lnTo>
                      <a:pt x="238" y="51"/>
                    </a:lnTo>
                    <a:lnTo>
                      <a:pt x="238" y="51"/>
                    </a:lnTo>
                    <a:lnTo>
                      <a:pt x="249" y="51"/>
                    </a:lnTo>
                    <a:lnTo>
                      <a:pt x="249" y="51"/>
                    </a:lnTo>
                    <a:lnTo>
                      <a:pt x="250" y="46"/>
                    </a:lnTo>
                    <a:lnTo>
                      <a:pt x="250" y="46"/>
                    </a:lnTo>
                    <a:lnTo>
                      <a:pt x="253" y="40"/>
                    </a:lnTo>
                    <a:lnTo>
                      <a:pt x="258" y="36"/>
                    </a:lnTo>
                    <a:lnTo>
                      <a:pt x="264" y="32"/>
                    </a:lnTo>
                    <a:lnTo>
                      <a:pt x="270" y="30"/>
                    </a:lnTo>
                    <a:lnTo>
                      <a:pt x="270" y="30"/>
                    </a:lnTo>
                    <a:lnTo>
                      <a:pt x="277" y="29"/>
                    </a:lnTo>
                    <a:lnTo>
                      <a:pt x="283" y="29"/>
                    </a:lnTo>
                    <a:lnTo>
                      <a:pt x="290" y="31"/>
                    </a:lnTo>
                    <a:lnTo>
                      <a:pt x="295" y="36"/>
                    </a:lnTo>
                    <a:lnTo>
                      <a:pt x="295" y="36"/>
                    </a:lnTo>
                    <a:lnTo>
                      <a:pt x="300" y="40"/>
                    </a:lnTo>
                    <a:lnTo>
                      <a:pt x="304" y="45"/>
                    </a:lnTo>
                    <a:lnTo>
                      <a:pt x="306" y="52"/>
                    </a:lnTo>
                    <a:lnTo>
                      <a:pt x="307" y="58"/>
                    </a:lnTo>
                    <a:lnTo>
                      <a:pt x="307" y="58"/>
                    </a:lnTo>
                    <a:lnTo>
                      <a:pt x="306" y="64"/>
                    </a:lnTo>
                    <a:lnTo>
                      <a:pt x="305" y="68"/>
                    </a:lnTo>
                    <a:lnTo>
                      <a:pt x="303" y="72"/>
                    </a:lnTo>
                    <a:lnTo>
                      <a:pt x="300" y="77"/>
                    </a:lnTo>
                    <a:lnTo>
                      <a:pt x="297" y="81"/>
                    </a:lnTo>
                    <a:lnTo>
                      <a:pt x="293" y="83"/>
                    </a:lnTo>
                    <a:lnTo>
                      <a:pt x="289" y="86"/>
                    </a:lnTo>
                    <a:lnTo>
                      <a:pt x="284" y="87"/>
                    </a:lnTo>
                    <a:lnTo>
                      <a:pt x="284" y="87"/>
                    </a:lnTo>
                    <a:lnTo>
                      <a:pt x="279" y="89"/>
                    </a:lnTo>
                    <a:lnTo>
                      <a:pt x="275" y="89"/>
                    </a:lnTo>
                    <a:lnTo>
                      <a:pt x="269" y="87"/>
                    </a:lnTo>
                    <a:lnTo>
                      <a:pt x="265" y="85"/>
                    </a:lnTo>
                    <a:lnTo>
                      <a:pt x="260" y="83"/>
                    </a:lnTo>
                    <a:lnTo>
                      <a:pt x="256" y="80"/>
                    </a:lnTo>
                    <a:lnTo>
                      <a:pt x="253" y="77"/>
                    </a:lnTo>
                    <a:lnTo>
                      <a:pt x="251" y="72"/>
                    </a:lnTo>
                    <a:lnTo>
                      <a:pt x="251" y="72"/>
                    </a:lnTo>
                    <a:lnTo>
                      <a:pt x="249" y="68"/>
                    </a:lnTo>
                    <a:lnTo>
                      <a:pt x="249" y="68"/>
                    </a:lnTo>
                    <a:lnTo>
                      <a:pt x="217" y="68"/>
                    </a:lnTo>
                    <a:lnTo>
                      <a:pt x="217" y="68"/>
                    </a:lnTo>
                    <a:lnTo>
                      <a:pt x="217" y="76"/>
                    </a:lnTo>
                    <a:lnTo>
                      <a:pt x="217" y="76"/>
                    </a:lnTo>
                    <a:lnTo>
                      <a:pt x="219" y="76"/>
                    </a:lnTo>
                    <a:lnTo>
                      <a:pt x="219" y="76"/>
                    </a:lnTo>
                    <a:lnTo>
                      <a:pt x="225" y="79"/>
                    </a:lnTo>
                    <a:lnTo>
                      <a:pt x="231" y="82"/>
                    </a:lnTo>
                    <a:lnTo>
                      <a:pt x="236" y="86"/>
                    </a:lnTo>
                    <a:lnTo>
                      <a:pt x="240" y="92"/>
                    </a:lnTo>
                    <a:lnTo>
                      <a:pt x="243" y="97"/>
                    </a:lnTo>
                    <a:lnTo>
                      <a:pt x="246" y="104"/>
                    </a:lnTo>
                    <a:lnTo>
                      <a:pt x="248" y="110"/>
                    </a:lnTo>
                    <a:lnTo>
                      <a:pt x="249" y="117"/>
                    </a:lnTo>
                    <a:lnTo>
                      <a:pt x="249" y="117"/>
                    </a:lnTo>
                    <a:lnTo>
                      <a:pt x="248" y="123"/>
                    </a:lnTo>
                    <a:lnTo>
                      <a:pt x="246" y="129"/>
                    </a:lnTo>
                    <a:lnTo>
                      <a:pt x="244" y="135"/>
                    </a:lnTo>
                    <a:lnTo>
                      <a:pt x="241" y="140"/>
                    </a:lnTo>
                    <a:lnTo>
                      <a:pt x="237" y="146"/>
                    </a:lnTo>
                    <a:lnTo>
                      <a:pt x="232" y="150"/>
                    </a:lnTo>
                    <a:lnTo>
                      <a:pt x="227" y="153"/>
                    </a:lnTo>
                    <a:lnTo>
                      <a:pt x="222" y="157"/>
                    </a:lnTo>
                    <a:lnTo>
                      <a:pt x="222" y="157"/>
                    </a:lnTo>
                    <a:lnTo>
                      <a:pt x="248" y="157"/>
                    </a:lnTo>
                    <a:lnTo>
                      <a:pt x="248" y="157"/>
                    </a:lnTo>
                    <a:lnTo>
                      <a:pt x="252" y="157"/>
                    </a:lnTo>
                    <a:lnTo>
                      <a:pt x="256" y="157"/>
                    </a:lnTo>
                    <a:lnTo>
                      <a:pt x="256" y="157"/>
                    </a:lnTo>
                    <a:lnTo>
                      <a:pt x="260" y="159"/>
                    </a:lnTo>
                    <a:lnTo>
                      <a:pt x="264" y="162"/>
                    </a:lnTo>
                    <a:lnTo>
                      <a:pt x="266" y="165"/>
                    </a:lnTo>
                    <a:lnTo>
                      <a:pt x="267" y="170"/>
                    </a:lnTo>
                    <a:lnTo>
                      <a:pt x="267" y="170"/>
                    </a:lnTo>
                    <a:lnTo>
                      <a:pt x="287" y="170"/>
                    </a:lnTo>
                    <a:lnTo>
                      <a:pt x="287" y="170"/>
                    </a:lnTo>
                    <a:lnTo>
                      <a:pt x="308" y="171"/>
                    </a:lnTo>
                    <a:lnTo>
                      <a:pt x="308" y="171"/>
                    </a:lnTo>
                    <a:lnTo>
                      <a:pt x="320" y="172"/>
                    </a:lnTo>
                    <a:lnTo>
                      <a:pt x="332" y="175"/>
                    </a:lnTo>
                    <a:lnTo>
                      <a:pt x="343" y="179"/>
                    </a:lnTo>
                    <a:lnTo>
                      <a:pt x="352" y="185"/>
                    </a:lnTo>
                    <a:lnTo>
                      <a:pt x="352" y="185"/>
                    </a:lnTo>
                    <a:lnTo>
                      <a:pt x="363" y="193"/>
                    </a:lnTo>
                    <a:lnTo>
                      <a:pt x="373" y="203"/>
                    </a:lnTo>
                    <a:lnTo>
                      <a:pt x="380" y="214"/>
                    </a:lnTo>
                    <a:lnTo>
                      <a:pt x="387" y="225"/>
                    </a:lnTo>
                    <a:lnTo>
                      <a:pt x="391" y="238"/>
                    </a:lnTo>
                    <a:lnTo>
                      <a:pt x="395" y="251"/>
                    </a:lnTo>
                    <a:lnTo>
                      <a:pt x="398" y="264"/>
                    </a:lnTo>
                    <a:lnTo>
                      <a:pt x="398" y="276"/>
                    </a:lnTo>
                    <a:lnTo>
                      <a:pt x="398" y="276"/>
                    </a:lnTo>
                    <a:lnTo>
                      <a:pt x="398" y="324"/>
                    </a:lnTo>
                    <a:lnTo>
                      <a:pt x="398" y="324"/>
                    </a:lnTo>
                    <a:lnTo>
                      <a:pt x="407" y="324"/>
                    </a:lnTo>
                    <a:lnTo>
                      <a:pt x="407" y="324"/>
                    </a:lnTo>
                    <a:lnTo>
                      <a:pt x="410" y="325"/>
                    </a:lnTo>
                    <a:lnTo>
                      <a:pt x="410" y="326"/>
                    </a:lnTo>
                    <a:lnTo>
                      <a:pt x="410" y="326"/>
                    </a:lnTo>
                    <a:lnTo>
                      <a:pt x="410" y="349"/>
                    </a:lnTo>
                    <a:lnTo>
                      <a:pt x="410" y="349"/>
                    </a:lnTo>
                    <a:lnTo>
                      <a:pt x="410" y="351"/>
                    </a:lnTo>
                    <a:lnTo>
                      <a:pt x="410" y="351"/>
                    </a:lnTo>
                    <a:lnTo>
                      <a:pt x="407" y="351"/>
                    </a:lnTo>
                    <a:lnTo>
                      <a:pt x="407" y="351"/>
                    </a:lnTo>
                    <a:lnTo>
                      <a:pt x="392" y="351"/>
                    </a:lnTo>
                    <a:lnTo>
                      <a:pt x="392" y="351"/>
                    </a:lnTo>
                    <a:lnTo>
                      <a:pt x="334" y="351"/>
                    </a:lnTo>
                    <a:lnTo>
                      <a:pt x="334" y="351"/>
                    </a:lnTo>
                    <a:lnTo>
                      <a:pt x="332" y="351"/>
                    </a:lnTo>
                    <a:lnTo>
                      <a:pt x="331" y="349"/>
                    </a:lnTo>
                    <a:lnTo>
                      <a:pt x="331" y="349"/>
                    </a:lnTo>
                    <a:lnTo>
                      <a:pt x="331" y="326"/>
                    </a:lnTo>
                    <a:lnTo>
                      <a:pt x="331" y="326"/>
                    </a:lnTo>
                    <a:lnTo>
                      <a:pt x="332" y="325"/>
                    </a:lnTo>
                    <a:lnTo>
                      <a:pt x="334" y="324"/>
                    </a:lnTo>
                    <a:lnTo>
                      <a:pt x="334" y="324"/>
                    </a:lnTo>
                    <a:lnTo>
                      <a:pt x="344" y="324"/>
                    </a:lnTo>
                    <a:lnTo>
                      <a:pt x="344" y="324"/>
                    </a:lnTo>
                    <a:lnTo>
                      <a:pt x="344" y="297"/>
                    </a:lnTo>
                    <a:lnTo>
                      <a:pt x="344" y="297"/>
                    </a:lnTo>
                    <a:lnTo>
                      <a:pt x="343" y="276"/>
                    </a:lnTo>
                    <a:lnTo>
                      <a:pt x="341" y="268"/>
                    </a:lnTo>
                    <a:lnTo>
                      <a:pt x="338" y="258"/>
                    </a:lnTo>
                    <a:lnTo>
                      <a:pt x="338" y="258"/>
                    </a:lnTo>
                    <a:lnTo>
                      <a:pt x="334" y="248"/>
                    </a:lnTo>
                    <a:lnTo>
                      <a:pt x="329" y="241"/>
                    </a:lnTo>
                    <a:lnTo>
                      <a:pt x="321" y="233"/>
                    </a:lnTo>
                    <a:lnTo>
                      <a:pt x="312" y="229"/>
                    </a:lnTo>
                    <a:lnTo>
                      <a:pt x="312" y="229"/>
                    </a:lnTo>
                    <a:lnTo>
                      <a:pt x="305" y="227"/>
                    </a:lnTo>
                    <a:lnTo>
                      <a:pt x="297" y="225"/>
                    </a:lnTo>
                    <a:lnTo>
                      <a:pt x="283" y="225"/>
                    </a:lnTo>
                    <a:lnTo>
                      <a:pt x="283" y="225"/>
                    </a:lnTo>
                    <a:lnTo>
                      <a:pt x="268" y="225"/>
                    </a:lnTo>
                    <a:lnTo>
                      <a:pt x="268" y="225"/>
                    </a:lnTo>
                    <a:lnTo>
                      <a:pt x="268" y="227"/>
                    </a:lnTo>
                    <a:lnTo>
                      <a:pt x="268" y="227"/>
                    </a:lnTo>
                    <a:lnTo>
                      <a:pt x="267" y="231"/>
                    </a:lnTo>
                    <a:lnTo>
                      <a:pt x="265" y="235"/>
                    </a:lnTo>
                    <a:lnTo>
                      <a:pt x="262" y="239"/>
                    </a:lnTo>
                    <a:lnTo>
                      <a:pt x="257" y="241"/>
                    </a:lnTo>
                    <a:lnTo>
                      <a:pt x="257" y="241"/>
                    </a:lnTo>
                    <a:lnTo>
                      <a:pt x="254" y="242"/>
                    </a:lnTo>
                    <a:lnTo>
                      <a:pt x="250" y="242"/>
                    </a:lnTo>
                    <a:lnTo>
                      <a:pt x="250" y="242"/>
                    </a:lnTo>
                    <a:lnTo>
                      <a:pt x="186" y="242"/>
                    </a:lnTo>
                    <a:lnTo>
                      <a:pt x="186" y="242"/>
                    </a:lnTo>
                    <a:lnTo>
                      <a:pt x="165" y="242"/>
                    </a:lnTo>
                    <a:lnTo>
                      <a:pt x="165" y="242"/>
                    </a:lnTo>
                    <a:lnTo>
                      <a:pt x="160" y="241"/>
                    </a:lnTo>
                    <a:lnTo>
                      <a:pt x="155" y="239"/>
                    </a:lnTo>
                    <a:lnTo>
                      <a:pt x="150" y="233"/>
                    </a:lnTo>
                    <a:lnTo>
                      <a:pt x="149" y="231"/>
                    </a:lnTo>
                    <a:lnTo>
                      <a:pt x="149" y="228"/>
                    </a:lnTo>
                    <a:lnTo>
                      <a:pt x="149" y="228"/>
                    </a:lnTo>
                    <a:lnTo>
                      <a:pt x="149" y="228"/>
                    </a:lnTo>
                    <a:lnTo>
                      <a:pt x="149" y="228"/>
                    </a:lnTo>
                    <a:lnTo>
                      <a:pt x="148" y="231"/>
                    </a:lnTo>
                    <a:lnTo>
                      <a:pt x="146" y="233"/>
                    </a:lnTo>
                    <a:lnTo>
                      <a:pt x="144" y="235"/>
                    </a:lnTo>
                    <a:lnTo>
                      <a:pt x="141" y="237"/>
                    </a:lnTo>
                    <a:lnTo>
                      <a:pt x="141" y="237"/>
                    </a:lnTo>
                    <a:lnTo>
                      <a:pt x="136" y="235"/>
                    </a:lnTo>
                    <a:lnTo>
                      <a:pt x="133" y="232"/>
                    </a:lnTo>
                    <a:lnTo>
                      <a:pt x="133" y="232"/>
                    </a:lnTo>
                    <a:lnTo>
                      <a:pt x="130" y="234"/>
                    </a:lnTo>
                    <a:lnTo>
                      <a:pt x="127" y="237"/>
                    </a:lnTo>
                    <a:lnTo>
                      <a:pt x="127" y="237"/>
                    </a:lnTo>
                    <a:lnTo>
                      <a:pt x="122" y="235"/>
                    </a:lnTo>
                    <a:lnTo>
                      <a:pt x="119" y="232"/>
                    </a:lnTo>
                    <a:lnTo>
                      <a:pt x="119" y="232"/>
                    </a:lnTo>
                    <a:lnTo>
                      <a:pt x="116" y="234"/>
                    </a:lnTo>
                    <a:lnTo>
                      <a:pt x="111" y="237"/>
                    </a:lnTo>
                    <a:lnTo>
                      <a:pt x="111" y="237"/>
                    </a:lnTo>
                    <a:lnTo>
                      <a:pt x="107" y="235"/>
                    </a:lnTo>
                    <a:lnTo>
                      <a:pt x="104" y="232"/>
                    </a:lnTo>
                    <a:lnTo>
                      <a:pt x="104" y="232"/>
                    </a:lnTo>
                    <a:lnTo>
                      <a:pt x="102" y="234"/>
                    </a:lnTo>
                    <a:lnTo>
                      <a:pt x="97" y="237"/>
                    </a:lnTo>
                    <a:lnTo>
                      <a:pt x="97" y="237"/>
                    </a:lnTo>
                    <a:lnTo>
                      <a:pt x="94" y="235"/>
                    </a:lnTo>
                    <a:lnTo>
                      <a:pt x="91" y="233"/>
                    </a:lnTo>
                    <a:lnTo>
                      <a:pt x="89" y="231"/>
                    </a:lnTo>
                    <a:lnTo>
                      <a:pt x="88" y="228"/>
                    </a:lnTo>
                    <a:lnTo>
                      <a:pt x="88" y="228"/>
                    </a:lnTo>
                    <a:lnTo>
                      <a:pt x="83" y="229"/>
                    </a:lnTo>
                    <a:lnTo>
                      <a:pt x="78" y="230"/>
                    </a:lnTo>
                    <a:lnTo>
                      <a:pt x="78" y="230"/>
                    </a:lnTo>
                    <a:lnTo>
                      <a:pt x="0" y="230"/>
                    </a:lnTo>
                    <a:lnTo>
                      <a:pt x="0" y="168"/>
                    </a:lnTo>
                    <a:lnTo>
                      <a:pt x="0" y="168"/>
                    </a:lnTo>
                    <a:lnTo>
                      <a:pt x="81" y="168"/>
                    </a:lnTo>
                    <a:lnTo>
                      <a:pt x="81" y="168"/>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26" name="Freeform 725"/>
              <p:cNvSpPr>
                <a:spLocks/>
              </p:cNvSpPr>
              <p:nvPr/>
            </p:nvSpPr>
            <p:spPr bwMode="auto">
              <a:xfrm>
                <a:off x="4786459" y="578519"/>
                <a:ext cx="68317" cy="107208"/>
              </a:xfrm>
              <a:custGeom>
                <a:avLst/>
                <a:gdLst>
                  <a:gd name="T0" fmla="*/ 98 w 179"/>
                  <a:gd name="T1" fmla="*/ 9 h 287"/>
                  <a:gd name="T2" fmla="*/ 98 w 179"/>
                  <a:gd name="T3" fmla="*/ 9 h 287"/>
                  <a:gd name="T4" fmla="*/ 92 w 179"/>
                  <a:gd name="T5" fmla="*/ 0 h 287"/>
                  <a:gd name="T6" fmla="*/ 92 w 179"/>
                  <a:gd name="T7" fmla="*/ 0 h 287"/>
                  <a:gd name="T8" fmla="*/ 86 w 179"/>
                  <a:gd name="T9" fmla="*/ 8 h 287"/>
                  <a:gd name="T10" fmla="*/ 86 w 179"/>
                  <a:gd name="T11" fmla="*/ 8 h 287"/>
                  <a:gd name="T12" fmla="*/ 65 w 179"/>
                  <a:gd name="T13" fmla="*/ 41 h 287"/>
                  <a:gd name="T14" fmla="*/ 51 w 179"/>
                  <a:gd name="T15" fmla="*/ 63 h 287"/>
                  <a:gd name="T16" fmla="*/ 35 w 179"/>
                  <a:gd name="T17" fmla="*/ 88 h 287"/>
                  <a:gd name="T18" fmla="*/ 23 w 179"/>
                  <a:gd name="T19" fmla="*/ 114 h 287"/>
                  <a:gd name="T20" fmla="*/ 11 w 179"/>
                  <a:gd name="T21" fmla="*/ 140 h 287"/>
                  <a:gd name="T22" fmla="*/ 6 w 179"/>
                  <a:gd name="T23" fmla="*/ 152 h 287"/>
                  <a:gd name="T24" fmla="*/ 3 w 179"/>
                  <a:gd name="T25" fmla="*/ 163 h 287"/>
                  <a:gd name="T26" fmla="*/ 0 w 179"/>
                  <a:gd name="T27" fmla="*/ 173 h 287"/>
                  <a:gd name="T28" fmla="*/ 0 w 179"/>
                  <a:gd name="T29" fmla="*/ 183 h 287"/>
                  <a:gd name="T30" fmla="*/ 0 w 179"/>
                  <a:gd name="T31" fmla="*/ 183 h 287"/>
                  <a:gd name="T32" fmla="*/ 0 w 179"/>
                  <a:gd name="T33" fmla="*/ 195 h 287"/>
                  <a:gd name="T34" fmla="*/ 2 w 179"/>
                  <a:gd name="T35" fmla="*/ 208 h 287"/>
                  <a:gd name="T36" fmla="*/ 4 w 179"/>
                  <a:gd name="T37" fmla="*/ 219 h 287"/>
                  <a:gd name="T38" fmla="*/ 8 w 179"/>
                  <a:gd name="T39" fmla="*/ 230 h 287"/>
                  <a:gd name="T40" fmla="*/ 8 w 179"/>
                  <a:gd name="T41" fmla="*/ 230 h 287"/>
                  <a:gd name="T42" fmla="*/ 15 w 179"/>
                  <a:gd name="T43" fmla="*/ 242 h 287"/>
                  <a:gd name="T44" fmla="*/ 23 w 179"/>
                  <a:gd name="T45" fmla="*/ 252 h 287"/>
                  <a:gd name="T46" fmla="*/ 31 w 179"/>
                  <a:gd name="T47" fmla="*/ 262 h 287"/>
                  <a:gd name="T48" fmla="*/ 41 w 179"/>
                  <a:gd name="T49" fmla="*/ 271 h 287"/>
                  <a:gd name="T50" fmla="*/ 51 w 179"/>
                  <a:gd name="T51" fmla="*/ 277 h 287"/>
                  <a:gd name="T52" fmla="*/ 62 w 179"/>
                  <a:gd name="T53" fmla="*/ 283 h 287"/>
                  <a:gd name="T54" fmla="*/ 74 w 179"/>
                  <a:gd name="T55" fmla="*/ 285 h 287"/>
                  <a:gd name="T56" fmla="*/ 87 w 179"/>
                  <a:gd name="T57" fmla="*/ 287 h 287"/>
                  <a:gd name="T58" fmla="*/ 87 w 179"/>
                  <a:gd name="T59" fmla="*/ 287 h 287"/>
                  <a:gd name="T60" fmla="*/ 101 w 179"/>
                  <a:gd name="T61" fmla="*/ 286 h 287"/>
                  <a:gd name="T62" fmla="*/ 113 w 179"/>
                  <a:gd name="T63" fmla="*/ 283 h 287"/>
                  <a:gd name="T64" fmla="*/ 125 w 179"/>
                  <a:gd name="T65" fmla="*/ 278 h 287"/>
                  <a:gd name="T66" fmla="*/ 137 w 179"/>
                  <a:gd name="T67" fmla="*/ 271 h 287"/>
                  <a:gd name="T68" fmla="*/ 147 w 179"/>
                  <a:gd name="T69" fmla="*/ 263 h 287"/>
                  <a:gd name="T70" fmla="*/ 156 w 179"/>
                  <a:gd name="T71" fmla="*/ 252 h 287"/>
                  <a:gd name="T72" fmla="*/ 164 w 179"/>
                  <a:gd name="T73" fmla="*/ 242 h 287"/>
                  <a:gd name="T74" fmla="*/ 170 w 179"/>
                  <a:gd name="T75" fmla="*/ 230 h 287"/>
                  <a:gd name="T76" fmla="*/ 170 w 179"/>
                  <a:gd name="T77" fmla="*/ 230 h 287"/>
                  <a:gd name="T78" fmla="*/ 174 w 179"/>
                  <a:gd name="T79" fmla="*/ 219 h 287"/>
                  <a:gd name="T80" fmla="*/ 177 w 179"/>
                  <a:gd name="T81" fmla="*/ 209 h 287"/>
                  <a:gd name="T82" fmla="*/ 178 w 179"/>
                  <a:gd name="T83" fmla="*/ 197 h 287"/>
                  <a:gd name="T84" fmla="*/ 179 w 179"/>
                  <a:gd name="T85" fmla="*/ 186 h 287"/>
                  <a:gd name="T86" fmla="*/ 179 w 179"/>
                  <a:gd name="T87" fmla="*/ 186 h 287"/>
                  <a:gd name="T88" fmla="*/ 179 w 179"/>
                  <a:gd name="T89" fmla="*/ 177 h 287"/>
                  <a:gd name="T90" fmla="*/ 177 w 179"/>
                  <a:gd name="T91" fmla="*/ 167 h 287"/>
                  <a:gd name="T92" fmla="*/ 174 w 179"/>
                  <a:gd name="T93" fmla="*/ 155 h 287"/>
                  <a:gd name="T94" fmla="*/ 169 w 179"/>
                  <a:gd name="T95" fmla="*/ 143 h 287"/>
                  <a:gd name="T96" fmla="*/ 160 w 179"/>
                  <a:gd name="T97" fmla="*/ 117 h 287"/>
                  <a:gd name="T98" fmla="*/ 147 w 179"/>
                  <a:gd name="T99" fmla="*/ 91 h 287"/>
                  <a:gd name="T100" fmla="*/ 133 w 179"/>
                  <a:gd name="T101" fmla="*/ 67 h 287"/>
                  <a:gd name="T102" fmla="*/ 120 w 179"/>
                  <a:gd name="T103" fmla="*/ 43 h 287"/>
                  <a:gd name="T104" fmla="*/ 98 w 179"/>
                  <a:gd name="T105" fmla="*/ 9 h 287"/>
                  <a:gd name="T106" fmla="*/ 98 w 179"/>
                  <a:gd name="T107" fmla="*/ 9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9" h="287">
                    <a:moveTo>
                      <a:pt x="98" y="9"/>
                    </a:moveTo>
                    <a:lnTo>
                      <a:pt x="98" y="9"/>
                    </a:lnTo>
                    <a:lnTo>
                      <a:pt x="92" y="0"/>
                    </a:lnTo>
                    <a:lnTo>
                      <a:pt x="92" y="0"/>
                    </a:lnTo>
                    <a:lnTo>
                      <a:pt x="86" y="8"/>
                    </a:lnTo>
                    <a:lnTo>
                      <a:pt x="86" y="8"/>
                    </a:lnTo>
                    <a:lnTo>
                      <a:pt x="65" y="41"/>
                    </a:lnTo>
                    <a:lnTo>
                      <a:pt x="51" y="63"/>
                    </a:lnTo>
                    <a:lnTo>
                      <a:pt x="35" y="88"/>
                    </a:lnTo>
                    <a:lnTo>
                      <a:pt x="23" y="114"/>
                    </a:lnTo>
                    <a:lnTo>
                      <a:pt x="11" y="140"/>
                    </a:lnTo>
                    <a:lnTo>
                      <a:pt x="6" y="152"/>
                    </a:lnTo>
                    <a:lnTo>
                      <a:pt x="3" y="163"/>
                    </a:lnTo>
                    <a:lnTo>
                      <a:pt x="0" y="173"/>
                    </a:lnTo>
                    <a:lnTo>
                      <a:pt x="0" y="183"/>
                    </a:lnTo>
                    <a:lnTo>
                      <a:pt x="0" y="183"/>
                    </a:lnTo>
                    <a:lnTo>
                      <a:pt x="0" y="195"/>
                    </a:lnTo>
                    <a:lnTo>
                      <a:pt x="2" y="208"/>
                    </a:lnTo>
                    <a:lnTo>
                      <a:pt x="4" y="219"/>
                    </a:lnTo>
                    <a:lnTo>
                      <a:pt x="8" y="230"/>
                    </a:lnTo>
                    <a:lnTo>
                      <a:pt x="8" y="230"/>
                    </a:lnTo>
                    <a:lnTo>
                      <a:pt x="15" y="242"/>
                    </a:lnTo>
                    <a:lnTo>
                      <a:pt x="23" y="252"/>
                    </a:lnTo>
                    <a:lnTo>
                      <a:pt x="31" y="262"/>
                    </a:lnTo>
                    <a:lnTo>
                      <a:pt x="41" y="271"/>
                    </a:lnTo>
                    <a:lnTo>
                      <a:pt x="51" y="277"/>
                    </a:lnTo>
                    <a:lnTo>
                      <a:pt x="62" y="283"/>
                    </a:lnTo>
                    <a:lnTo>
                      <a:pt x="74" y="285"/>
                    </a:lnTo>
                    <a:lnTo>
                      <a:pt x="87" y="287"/>
                    </a:lnTo>
                    <a:lnTo>
                      <a:pt x="87" y="287"/>
                    </a:lnTo>
                    <a:lnTo>
                      <a:pt x="101" y="286"/>
                    </a:lnTo>
                    <a:lnTo>
                      <a:pt x="113" y="283"/>
                    </a:lnTo>
                    <a:lnTo>
                      <a:pt x="125" y="278"/>
                    </a:lnTo>
                    <a:lnTo>
                      <a:pt x="137" y="271"/>
                    </a:lnTo>
                    <a:lnTo>
                      <a:pt x="147" y="263"/>
                    </a:lnTo>
                    <a:lnTo>
                      <a:pt x="156" y="252"/>
                    </a:lnTo>
                    <a:lnTo>
                      <a:pt x="164" y="242"/>
                    </a:lnTo>
                    <a:lnTo>
                      <a:pt x="170" y="230"/>
                    </a:lnTo>
                    <a:lnTo>
                      <a:pt x="170" y="230"/>
                    </a:lnTo>
                    <a:lnTo>
                      <a:pt x="174" y="219"/>
                    </a:lnTo>
                    <a:lnTo>
                      <a:pt x="177" y="209"/>
                    </a:lnTo>
                    <a:lnTo>
                      <a:pt x="178" y="197"/>
                    </a:lnTo>
                    <a:lnTo>
                      <a:pt x="179" y="186"/>
                    </a:lnTo>
                    <a:lnTo>
                      <a:pt x="179" y="186"/>
                    </a:lnTo>
                    <a:lnTo>
                      <a:pt x="179" y="177"/>
                    </a:lnTo>
                    <a:lnTo>
                      <a:pt x="177" y="167"/>
                    </a:lnTo>
                    <a:lnTo>
                      <a:pt x="174" y="155"/>
                    </a:lnTo>
                    <a:lnTo>
                      <a:pt x="169" y="143"/>
                    </a:lnTo>
                    <a:lnTo>
                      <a:pt x="160" y="117"/>
                    </a:lnTo>
                    <a:lnTo>
                      <a:pt x="147" y="91"/>
                    </a:lnTo>
                    <a:lnTo>
                      <a:pt x="133" y="67"/>
                    </a:lnTo>
                    <a:lnTo>
                      <a:pt x="120" y="43"/>
                    </a:lnTo>
                    <a:lnTo>
                      <a:pt x="98" y="9"/>
                    </a:lnTo>
                    <a:lnTo>
                      <a:pt x="98" y="9"/>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27" name="Freeform 726"/>
              <p:cNvSpPr>
                <a:spLocks/>
              </p:cNvSpPr>
              <p:nvPr/>
            </p:nvSpPr>
            <p:spPr bwMode="auto">
              <a:xfrm>
                <a:off x="4487367" y="163072"/>
                <a:ext cx="142705" cy="92317"/>
              </a:xfrm>
              <a:custGeom>
                <a:avLst/>
                <a:gdLst>
                  <a:gd name="T0" fmla="*/ 375 w 375"/>
                  <a:gd name="T1" fmla="*/ 175 h 250"/>
                  <a:gd name="T2" fmla="*/ 375 w 375"/>
                  <a:gd name="T3" fmla="*/ 175 h 250"/>
                  <a:gd name="T4" fmla="*/ 375 w 375"/>
                  <a:gd name="T5" fmla="*/ 169 h 250"/>
                  <a:gd name="T6" fmla="*/ 374 w 375"/>
                  <a:gd name="T7" fmla="*/ 164 h 250"/>
                  <a:gd name="T8" fmla="*/ 372 w 375"/>
                  <a:gd name="T9" fmla="*/ 159 h 250"/>
                  <a:gd name="T10" fmla="*/ 369 w 375"/>
                  <a:gd name="T11" fmla="*/ 153 h 250"/>
                  <a:gd name="T12" fmla="*/ 365 w 375"/>
                  <a:gd name="T13" fmla="*/ 149 h 250"/>
                  <a:gd name="T14" fmla="*/ 362 w 375"/>
                  <a:gd name="T15" fmla="*/ 143 h 250"/>
                  <a:gd name="T16" fmla="*/ 352 w 375"/>
                  <a:gd name="T17" fmla="*/ 136 h 250"/>
                  <a:gd name="T18" fmla="*/ 341 w 375"/>
                  <a:gd name="T19" fmla="*/ 128 h 250"/>
                  <a:gd name="T20" fmla="*/ 328 w 375"/>
                  <a:gd name="T21" fmla="*/ 123 h 250"/>
                  <a:gd name="T22" fmla="*/ 314 w 375"/>
                  <a:gd name="T23" fmla="*/ 120 h 250"/>
                  <a:gd name="T24" fmla="*/ 297 w 375"/>
                  <a:gd name="T25" fmla="*/ 118 h 250"/>
                  <a:gd name="T26" fmla="*/ 297 w 375"/>
                  <a:gd name="T27" fmla="*/ 33 h 250"/>
                  <a:gd name="T28" fmla="*/ 297 w 375"/>
                  <a:gd name="T29" fmla="*/ 33 h 250"/>
                  <a:gd name="T30" fmla="*/ 296 w 375"/>
                  <a:gd name="T31" fmla="*/ 27 h 250"/>
                  <a:gd name="T32" fmla="*/ 293 w 375"/>
                  <a:gd name="T33" fmla="*/ 20 h 250"/>
                  <a:gd name="T34" fmla="*/ 289 w 375"/>
                  <a:gd name="T35" fmla="*/ 15 h 250"/>
                  <a:gd name="T36" fmla="*/ 283 w 375"/>
                  <a:gd name="T37" fmla="*/ 10 h 250"/>
                  <a:gd name="T38" fmla="*/ 276 w 375"/>
                  <a:gd name="T39" fmla="*/ 6 h 250"/>
                  <a:gd name="T40" fmla="*/ 268 w 375"/>
                  <a:gd name="T41" fmla="*/ 3 h 250"/>
                  <a:gd name="T42" fmla="*/ 260 w 375"/>
                  <a:gd name="T43" fmla="*/ 1 h 250"/>
                  <a:gd name="T44" fmla="*/ 250 w 375"/>
                  <a:gd name="T45" fmla="*/ 0 h 250"/>
                  <a:gd name="T46" fmla="*/ 127 w 375"/>
                  <a:gd name="T47" fmla="*/ 0 h 250"/>
                  <a:gd name="T48" fmla="*/ 127 w 375"/>
                  <a:gd name="T49" fmla="*/ 0 h 250"/>
                  <a:gd name="T50" fmla="*/ 117 w 375"/>
                  <a:gd name="T51" fmla="*/ 1 h 250"/>
                  <a:gd name="T52" fmla="*/ 108 w 375"/>
                  <a:gd name="T53" fmla="*/ 3 h 250"/>
                  <a:gd name="T54" fmla="*/ 100 w 375"/>
                  <a:gd name="T55" fmla="*/ 6 h 250"/>
                  <a:gd name="T56" fmla="*/ 93 w 375"/>
                  <a:gd name="T57" fmla="*/ 10 h 250"/>
                  <a:gd name="T58" fmla="*/ 87 w 375"/>
                  <a:gd name="T59" fmla="*/ 15 h 250"/>
                  <a:gd name="T60" fmla="*/ 82 w 375"/>
                  <a:gd name="T61" fmla="*/ 20 h 250"/>
                  <a:gd name="T62" fmla="*/ 79 w 375"/>
                  <a:gd name="T63" fmla="*/ 27 h 250"/>
                  <a:gd name="T64" fmla="*/ 79 w 375"/>
                  <a:gd name="T65" fmla="*/ 33 h 250"/>
                  <a:gd name="T66" fmla="*/ 79 w 375"/>
                  <a:gd name="T67" fmla="*/ 118 h 250"/>
                  <a:gd name="T68" fmla="*/ 79 w 375"/>
                  <a:gd name="T69" fmla="*/ 118 h 250"/>
                  <a:gd name="T70" fmla="*/ 63 w 375"/>
                  <a:gd name="T71" fmla="*/ 120 h 250"/>
                  <a:gd name="T72" fmla="*/ 48 w 375"/>
                  <a:gd name="T73" fmla="*/ 123 h 250"/>
                  <a:gd name="T74" fmla="*/ 35 w 375"/>
                  <a:gd name="T75" fmla="*/ 128 h 250"/>
                  <a:gd name="T76" fmla="*/ 23 w 375"/>
                  <a:gd name="T77" fmla="*/ 136 h 250"/>
                  <a:gd name="T78" fmla="*/ 14 w 375"/>
                  <a:gd name="T79" fmla="*/ 143 h 250"/>
                  <a:gd name="T80" fmla="*/ 10 w 375"/>
                  <a:gd name="T81" fmla="*/ 149 h 250"/>
                  <a:gd name="T82" fmla="*/ 7 w 375"/>
                  <a:gd name="T83" fmla="*/ 153 h 250"/>
                  <a:gd name="T84" fmla="*/ 5 w 375"/>
                  <a:gd name="T85" fmla="*/ 159 h 250"/>
                  <a:gd name="T86" fmla="*/ 3 w 375"/>
                  <a:gd name="T87" fmla="*/ 164 h 250"/>
                  <a:gd name="T88" fmla="*/ 1 w 375"/>
                  <a:gd name="T89" fmla="*/ 169 h 250"/>
                  <a:gd name="T90" fmla="*/ 0 w 375"/>
                  <a:gd name="T91" fmla="*/ 175 h 250"/>
                  <a:gd name="T92" fmla="*/ 0 w 375"/>
                  <a:gd name="T93" fmla="*/ 250 h 250"/>
                  <a:gd name="T94" fmla="*/ 375 w 375"/>
                  <a:gd name="T95" fmla="*/ 250 h 250"/>
                  <a:gd name="T96" fmla="*/ 375 w 375"/>
                  <a:gd name="T97" fmla="*/ 17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5" h="250">
                    <a:moveTo>
                      <a:pt x="375" y="175"/>
                    </a:moveTo>
                    <a:lnTo>
                      <a:pt x="375" y="175"/>
                    </a:lnTo>
                    <a:lnTo>
                      <a:pt x="375" y="169"/>
                    </a:lnTo>
                    <a:lnTo>
                      <a:pt x="374" y="164"/>
                    </a:lnTo>
                    <a:lnTo>
                      <a:pt x="372" y="159"/>
                    </a:lnTo>
                    <a:lnTo>
                      <a:pt x="369" y="153"/>
                    </a:lnTo>
                    <a:lnTo>
                      <a:pt x="365" y="149"/>
                    </a:lnTo>
                    <a:lnTo>
                      <a:pt x="362" y="143"/>
                    </a:lnTo>
                    <a:lnTo>
                      <a:pt x="352" y="136"/>
                    </a:lnTo>
                    <a:lnTo>
                      <a:pt x="341" y="128"/>
                    </a:lnTo>
                    <a:lnTo>
                      <a:pt x="328" y="123"/>
                    </a:lnTo>
                    <a:lnTo>
                      <a:pt x="314" y="120"/>
                    </a:lnTo>
                    <a:lnTo>
                      <a:pt x="297" y="118"/>
                    </a:lnTo>
                    <a:lnTo>
                      <a:pt x="297" y="33"/>
                    </a:lnTo>
                    <a:lnTo>
                      <a:pt x="297" y="33"/>
                    </a:lnTo>
                    <a:lnTo>
                      <a:pt x="296" y="27"/>
                    </a:lnTo>
                    <a:lnTo>
                      <a:pt x="293" y="20"/>
                    </a:lnTo>
                    <a:lnTo>
                      <a:pt x="289" y="15"/>
                    </a:lnTo>
                    <a:lnTo>
                      <a:pt x="283" y="10"/>
                    </a:lnTo>
                    <a:lnTo>
                      <a:pt x="276" y="6"/>
                    </a:lnTo>
                    <a:lnTo>
                      <a:pt x="268" y="3"/>
                    </a:lnTo>
                    <a:lnTo>
                      <a:pt x="260" y="1"/>
                    </a:lnTo>
                    <a:lnTo>
                      <a:pt x="250" y="0"/>
                    </a:lnTo>
                    <a:lnTo>
                      <a:pt x="127" y="0"/>
                    </a:lnTo>
                    <a:lnTo>
                      <a:pt x="127" y="0"/>
                    </a:lnTo>
                    <a:lnTo>
                      <a:pt x="117" y="1"/>
                    </a:lnTo>
                    <a:lnTo>
                      <a:pt x="108" y="3"/>
                    </a:lnTo>
                    <a:lnTo>
                      <a:pt x="100" y="6"/>
                    </a:lnTo>
                    <a:lnTo>
                      <a:pt x="93" y="10"/>
                    </a:lnTo>
                    <a:lnTo>
                      <a:pt x="87" y="15"/>
                    </a:lnTo>
                    <a:lnTo>
                      <a:pt x="82" y="20"/>
                    </a:lnTo>
                    <a:lnTo>
                      <a:pt x="79" y="27"/>
                    </a:lnTo>
                    <a:lnTo>
                      <a:pt x="79" y="33"/>
                    </a:lnTo>
                    <a:lnTo>
                      <a:pt x="79" y="118"/>
                    </a:lnTo>
                    <a:lnTo>
                      <a:pt x="79" y="118"/>
                    </a:lnTo>
                    <a:lnTo>
                      <a:pt x="63" y="120"/>
                    </a:lnTo>
                    <a:lnTo>
                      <a:pt x="48" y="123"/>
                    </a:lnTo>
                    <a:lnTo>
                      <a:pt x="35" y="128"/>
                    </a:lnTo>
                    <a:lnTo>
                      <a:pt x="23" y="136"/>
                    </a:lnTo>
                    <a:lnTo>
                      <a:pt x="14" y="143"/>
                    </a:lnTo>
                    <a:lnTo>
                      <a:pt x="10" y="149"/>
                    </a:lnTo>
                    <a:lnTo>
                      <a:pt x="7" y="153"/>
                    </a:lnTo>
                    <a:lnTo>
                      <a:pt x="5" y="159"/>
                    </a:lnTo>
                    <a:lnTo>
                      <a:pt x="3" y="164"/>
                    </a:lnTo>
                    <a:lnTo>
                      <a:pt x="1" y="169"/>
                    </a:lnTo>
                    <a:lnTo>
                      <a:pt x="0" y="175"/>
                    </a:lnTo>
                    <a:lnTo>
                      <a:pt x="0" y="250"/>
                    </a:lnTo>
                    <a:lnTo>
                      <a:pt x="375" y="250"/>
                    </a:lnTo>
                    <a:lnTo>
                      <a:pt x="375" y="175"/>
                    </a:lnTo>
                    <a:close/>
                  </a:path>
                </a:pathLst>
              </a:custGeom>
              <a:solidFill>
                <a:srgbClr val="E5E8E8">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28" name="Rectangle 727"/>
              <p:cNvSpPr>
                <a:spLocks noChangeArrowheads="1"/>
              </p:cNvSpPr>
              <p:nvPr/>
            </p:nvSpPr>
            <p:spPr bwMode="auto">
              <a:xfrm>
                <a:off x="4422087" y="241988"/>
                <a:ext cx="268710" cy="1067604"/>
              </a:xfrm>
              <a:prstGeom prst="rect">
                <a:avLst/>
              </a:prstGeom>
              <a:solidFill>
                <a:sysClr val="window" lastClr="FFFFFF">
                  <a:lumMod val="65000"/>
                </a:sys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29" name="Rectangle 728"/>
              <p:cNvSpPr>
                <a:spLocks noChangeArrowheads="1"/>
              </p:cNvSpPr>
              <p:nvPr/>
            </p:nvSpPr>
            <p:spPr bwMode="auto">
              <a:xfrm>
                <a:off x="4628555" y="457891"/>
                <a:ext cx="37954" cy="110185"/>
              </a:xfrm>
              <a:prstGeom prst="rect">
                <a:avLst/>
              </a:prstGeom>
              <a:solidFill>
                <a:sysClr val="window" lastClr="FFFFFF"/>
              </a:solidFill>
              <a:ln w="9525">
                <a:noFill/>
                <a:miter lim="800000"/>
                <a:headEnd/>
                <a:tailEnd/>
              </a:ln>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30" name="Rectangle 729"/>
              <p:cNvSpPr>
                <a:spLocks noChangeArrowheads="1"/>
              </p:cNvSpPr>
              <p:nvPr/>
            </p:nvSpPr>
            <p:spPr bwMode="auto">
              <a:xfrm>
                <a:off x="4583010" y="457891"/>
                <a:ext cx="37954" cy="110185"/>
              </a:xfrm>
              <a:prstGeom prst="rect">
                <a:avLst/>
              </a:prstGeom>
              <a:solidFill>
                <a:sysClr val="window" lastClr="FFFFFF"/>
              </a:solidFill>
              <a:ln w="1588">
                <a:noFill/>
                <a:prstDash val="solid"/>
                <a:miter lim="800000"/>
                <a:headEnd/>
                <a:tailEnd/>
              </a:ln>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31" name="Rectangle 730"/>
              <p:cNvSpPr>
                <a:spLocks noChangeArrowheads="1"/>
              </p:cNvSpPr>
              <p:nvPr/>
            </p:nvSpPr>
            <p:spPr bwMode="auto">
              <a:xfrm>
                <a:off x="4537466" y="457891"/>
                <a:ext cx="37954" cy="110185"/>
              </a:xfrm>
              <a:prstGeom prst="rect">
                <a:avLst/>
              </a:prstGeom>
              <a:solidFill>
                <a:sysClr val="window" lastClr="FFFFFF"/>
              </a:solidFill>
              <a:ln w="9525">
                <a:noFill/>
                <a:miter lim="800000"/>
                <a:headEnd/>
                <a:tailEnd/>
              </a:ln>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32" name="Rectangle 731"/>
              <p:cNvSpPr>
                <a:spLocks noChangeArrowheads="1"/>
              </p:cNvSpPr>
              <p:nvPr/>
            </p:nvSpPr>
            <p:spPr bwMode="auto">
              <a:xfrm>
                <a:off x="4490403" y="457891"/>
                <a:ext cx="37954" cy="110185"/>
              </a:xfrm>
              <a:prstGeom prst="rect">
                <a:avLst/>
              </a:prstGeom>
              <a:solidFill>
                <a:sysClr val="window" lastClr="FFFFFF"/>
              </a:solidFill>
              <a:ln w="1588">
                <a:noFill/>
                <a:prstDash val="solid"/>
                <a:miter lim="800000"/>
                <a:headEnd/>
                <a:tailEnd/>
              </a:ln>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33" name="Rectangle 732"/>
              <p:cNvSpPr>
                <a:spLocks noChangeArrowheads="1"/>
              </p:cNvSpPr>
              <p:nvPr/>
            </p:nvSpPr>
            <p:spPr bwMode="auto">
              <a:xfrm>
                <a:off x="4444859" y="457891"/>
                <a:ext cx="37954" cy="110185"/>
              </a:xfrm>
              <a:prstGeom prst="rect">
                <a:avLst/>
              </a:prstGeom>
              <a:solidFill>
                <a:sysClr val="window" lastClr="FFFFFF"/>
              </a:solidFill>
              <a:ln w="9525">
                <a:noFill/>
                <a:miter lim="800000"/>
                <a:headEnd/>
                <a:tailEnd/>
              </a:ln>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34" name="Rectangle 733"/>
              <p:cNvSpPr>
                <a:spLocks noChangeArrowheads="1"/>
              </p:cNvSpPr>
              <p:nvPr/>
            </p:nvSpPr>
            <p:spPr bwMode="auto">
              <a:xfrm>
                <a:off x="4628555" y="295591"/>
                <a:ext cx="37954" cy="110185"/>
              </a:xfrm>
              <a:prstGeom prst="rect">
                <a:avLst/>
              </a:prstGeom>
              <a:solidFill>
                <a:sysClr val="window" lastClr="FFFFFF"/>
              </a:solidFill>
              <a:ln w="9525">
                <a:noFill/>
                <a:miter lim="800000"/>
                <a:headEnd/>
                <a:tailEnd/>
              </a:ln>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35" name="Rectangle 734"/>
              <p:cNvSpPr>
                <a:spLocks noChangeArrowheads="1"/>
              </p:cNvSpPr>
              <p:nvPr/>
            </p:nvSpPr>
            <p:spPr bwMode="auto">
              <a:xfrm>
                <a:off x="4583010" y="295591"/>
                <a:ext cx="37954" cy="110185"/>
              </a:xfrm>
              <a:prstGeom prst="rect">
                <a:avLst/>
              </a:prstGeom>
              <a:solidFill>
                <a:sysClr val="window" lastClr="FFFFFF"/>
              </a:solidFill>
              <a:ln w="1588">
                <a:noFill/>
                <a:prstDash val="solid"/>
                <a:miter lim="800000"/>
                <a:headEnd/>
                <a:tailEnd/>
              </a:ln>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36" name="Rectangle 735"/>
              <p:cNvSpPr>
                <a:spLocks noChangeArrowheads="1"/>
              </p:cNvSpPr>
              <p:nvPr/>
            </p:nvSpPr>
            <p:spPr bwMode="auto">
              <a:xfrm>
                <a:off x="4537466" y="295591"/>
                <a:ext cx="37954" cy="110185"/>
              </a:xfrm>
              <a:prstGeom prst="rect">
                <a:avLst/>
              </a:prstGeom>
              <a:solidFill>
                <a:sysClr val="window" lastClr="FFFFFF"/>
              </a:solidFill>
              <a:ln w="9525">
                <a:noFill/>
                <a:miter lim="800000"/>
                <a:headEnd/>
                <a:tailEnd/>
              </a:ln>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37" name="Rectangle 736"/>
              <p:cNvSpPr>
                <a:spLocks noChangeArrowheads="1"/>
              </p:cNvSpPr>
              <p:nvPr/>
            </p:nvSpPr>
            <p:spPr bwMode="auto">
              <a:xfrm>
                <a:off x="4490403" y="295591"/>
                <a:ext cx="37954" cy="110185"/>
              </a:xfrm>
              <a:prstGeom prst="rect">
                <a:avLst/>
              </a:prstGeom>
              <a:solidFill>
                <a:sysClr val="window" lastClr="FFFFFF"/>
              </a:solidFill>
              <a:ln w="1588">
                <a:noFill/>
                <a:prstDash val="solid"/>
                <a:miter lim="800000"/>
                <a:headEnd/>
                <a:tailEnd/>
              </a:ln>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38" name="Rectangle 737"/>
              <p:cNvSpPr>
                <a:spLocks noChangeArrowheads="1"/>
              </p:cNvSpPr>
              <p:nvPr/>
            </p:nvSpPr>
            <p:spPr bwMode="auto">
              <a:xfrm>
                <a:off x="4444859" y="295591"/>
                <a:ext cx="37954" cy="110185"/>
              </a:xfrm>
              <a:prstGeom prst="rect">
                <a:avLst/>
              </a:prstGeom>
              <a:solidFill>
                <a:sysClr val="window" lastClr="FFFFFF"/>
              </a:solidFill>
              <a:ln w="9525">
                <a:noFill/>
                <a:miter lim="800000"/>
                <a:headEnd/>
                <a:tailEnd/>
              </a:ln>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sp>
          <p:nvSpPr>
            <p:cNvPr id="507" name="Freeform 506"/>
            <p:cNvSpPr>
              <a:spLocks/>
            </p:cNvSpPr>
            <p:nvPr/>
          </p:nvSpPr>
          <p:spPr bwMode="auto">
            <a:xfrm>
              <a:off x="6111370" y="2605557"/>
              <a:ext cx="858407" cy="679949"/>
            </a:xfrm>
            <a:custGeom>
              <a:avLst/>
              <a:gdLst>
                <a:gd name="T0" fmla="*/ 1991 w 1996"/>
                <a:gd name="T1" fmla="*/ 488 h 1611"/>
                <a:gd name="T2" fmla="*/ 1979 w 1996"/>
                <a:gd name="T3" fmla="*/ 517 h 1611"/>
                <a:gd name="T4" fmla="*/ 1961 w 1996"/>
                <a:gd name="T5" fmla="*/ 543 h 1611"/>
                <a:gd name="T6" fmla="*/ 1938 w 1996"/>
                <a:gd name="T7" fmla="*/ 563 h 1611"/>
                <a:gd name="T8" fmla="*/ 1912 w 1996"/>
                <a:gd name="T9" fmla="*/ 578 h 1611"/>
                <a:gd name="T10" fmla="*/ 1883 w 1996"/>
                <a:gd name="T11" fmla="*/ 588 h 1611"/>
                <a:gd name="T12" fmla="*/ 1899 w 1996"/>
                <a:gd name="T13" fmla="*/ 600 h 1611"/>
                <a:gd name="T14" fmla="*/ 1920 w 1996"/>
                <a:gd name="T15" fmla="*/ 623 h 1611"/>
                <a:gd name="T16" fmla="*/ 1935 w 1996"/>
                <a:gd name="T17" fmla="*/ 650 h 1611"/>
                <a:gd name="T18" fmla="*/ 1944 w 1996"/>
                <a:gd name="T19" fmla="*/ 679 h 1611"/>
                <a:gd name="T20" fmla="*/ 1947 w 1996"/>
                <a:gd name="T21" fmla="*/ 710 h 1611"/>
                <a:gd name="T22" fmla="*/ 1944 w 1996"/>
                <a:gd name="T23" fmla="*/ 732 h 1611"/>
                <a:gd name="T24" fmla="*/ 1935 w 1996"/>
                <a:gd name="T25" fmla="*/ 763 h 1611"/>
                <a:gd name="T26" fmla="*/ 1919 w 1996"/>
                <a:gd name="T27" fmla="*/ 790 h 1611"/>
                <a:gd name="T28" fmla="*/ 1898 w 1996"/>
                <a:gd name="T29" fmla="*/ 813 h 1611"/>
                <a:gd name="T30" fmla="*/ 1872 w 1996"/>
                <a:gd name="T31" fmla="*/ 829 h 1611"/>
                <a:gd name="T32" fmla="*/ 1843 w 1996"/>
                <a:gd name="T33" fmla="*/ 841 h 1611"/>
                <a:gd name="T34" fmla="*/ 1842 w 1996"/>
                <a:gd name="T35" fmla="*/ 849 h 1611"/>
                <a:gd name="T36" fmla="*/ 1865 w 1996"/>
                <a:gd name="T37" fmla="*/ 870 h 1611"/>
                <a:gd name="T38" fmla="*/ 1882 w 1996"/>
                <a:gd name="T39" fmla="*/ 896 h 1611"/>
                <a:gd name="T40" fmla="*/ 1893 w 1996"/>
                <a:gd name="T41" fmla="*/ 924 h 1611"/>
                <a:gd name="T42" fmla="*/ 1898 w 1996"/>
                <a:gd name="T43" fmla="*/ 955 h 1611"/>
                <a:gd name="T44" fmla="*/ 1895 w 1996"/>
                <a:gd name="T45" fmla="*/ 988 h 1611"/>
                <a:gd name="T46" fmla="*/ 1889 w 1996"/>
                <a:gd name="T47" fmla="*/ 1008 h 1611"/>
                <a:gd name="T48" fmla="*/ 1875 w 1996"/>
                <a:gd name="T49" fmla="*/ 1036 h 1611"/>
                <a:gd name="T50" fmla="*/ 1856 w 1996"/>
                <a:gd name="T51" fmla="*/ 1060 h 1611"/>
                <a:gd name="T52" fmla="*/ 1832 w 1996"/>
                <a:gd name="T53" fmla="*/ 1080 h 1611"/>
                <a:gd name="T54" fmla="*/ 1804 w 1996"/>
                <a:gd name="T55" fmla="*/ 1092 h 1611"/>
                <a:gd name="T56" fmla="*/ 1785 w 1996"/>
                <a:gd name="T57" fmla="*/ 1098 h 1611"/>
                <a:gd name="T58" fmla="*/ 1808 w 1996"/>
                <a:gd name="T59" fmla="*/ 1117 h 1611"/>
                <a:gd name="T60" fmla="*/ 1828 w 1996"/>
                <a:gd name="T61" fmla="*/ 1142 h 1611"/>
                <a:gd name="T62" fmla="*/ 1841 w 1996"/>
                <a:gd name="T63" fmla="*/ 1169 h 1611"/>
                <a:gd name="T64" fmla="*/ 1848 w 1996"/>
                <a:gd name="T65" fmla="*/ 1199 h 1611"/>
                <a:gd name="T66" fmla="*/ 1848 w 1996"/>
                <a:gd name="T67" fmla="*/ 1232 h 1611"/>
                <a:gd name="T68" fmla="*/ 1844 w 1996"/>
                <a:gd name="T69" fmla="*/ 1253 h 1611"/>
                <a:gd name="T70" fmla="*/ 1832 w 1996"/>
                <a:gd name="T71" fmla="*/ 1283 h 1611"/>
                <a:gd name="T72" fmla="*/ 1814 w 1996"/>
                <a:gd name="T73" fmla="*/ 1308 h 1611"/>
                <a:gd name="T74" fmla="*/ 1791 w 1996"/>
                <a:gd name="T75" fmla="*/ 1329 h 1611"/>
                <a:gd name="T76" fmla="*/ 1765 w 1996"/>
                <a:gd name="T77" fmla="*/ 1344 h 1611"/>
                <a:gd name="T78" fmla="*/ 1735 w 1996"/>
                <a:gd name="T79" fmla="*/ 1354 h 1611"/>
                <a:gd name="T80" fmla="*/ 1752 w 1996"/>
                <a:gd name="T81" fmla="*/ 1366 h 1611"/>
                <a:gd name="T82" fmla="*/ 1773 w 1996"/>
                <a:gd name="T83" fmla="*/ 1388 h 1611"/>
                <a:gd name="T84" fmla="*/ 1788 w 1996"/>
                <a:gd name="T85" fmla="*/ 1415 h 1611"/>
                <a:gd name="T86" fmla="*/ 1798 w 1996"/>
                <a:gd name="T87" fmla="*/ 1445 h 1611"/>
                <a:gd name="T88" fmla="*/ 1800 w 1996"/>
                <a:gd name="T89" fmla="*/ 1476 h 1611"/>
                <a:gd name="T90" fmla="*/ 1798 w 1996"/>
                <a:gd name="T91" fmla="*/ 1497 h 1611"/>
                <a:gd name="T92" fmla="*/ 1784 w 1996"/>
                <a:gd name="T93" fmla="*/ 1537 h 1611"/>
                <a:gd name="T94" fmla="*/ 1759 w 1996"/>
                <a:gd name="T95" fmla="*/ 1570 h 1611"/>
                <a:gd name="T96" fmla="*/ 1727 w 1996"/>
                <a:gd name="T97" fmla="*/ 1594 h 1611"/>
                <a:gd name="T98" fmla="*/ 1688 w 1996"/>
                <a:gd name="T99" fmla="*/ 1608 h 1611"/>
                <a:gd name="T100" fmla="*/ 1647 w 1996"/>
                <a:gd name="T101" fmla="*/ 1611 h 1611"/>
                <a:gd name="T102" fmla="*/ 250 w 1996"/>
                <a:gd name="T103" fmla="*/ 0 h 1611"/>
                <a:gd name="T104" fmla="*/ 1896 w 1996"/>
                <a:gd name="T105" fmla="*/ 317 h 1611"/>
                <a:gd name="T106" fmla="*/ 1934 w 1996"/>
                <a:gd name="T107" fmla="*/ 334 h 1611"/>
                <a:gd name="T108" fmla="*/ 1964 w 1996"/>
                <a:gd name="T109" fmla="*/ 361 h 1611"/>
                <a:gd name="T110" fmla="*/ 1984 w 1996"/>
                <a:gd name="T111" fmla="*/ 396 h 1611"/>
                <a:gd name="T112" fmla="*/ 1995 w 1996"/>
                <a:gd name="T113" fmla="*/ 435 h 1611"/>
                <a:gd name="T114" fmla="*/ 1993 w 1996"/>
                <a:gd name="T115" fmla="*/ 47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96" h="1611">
                  <a:moveTo>
                    <a:pt x="1993" y="477"/>
                  </a:moveTo>
                  <a:lnTo>
                    <a:pt x="1993" y="477"/>
                  </a:lnTo>
                  <a:lnTo>
                    <a:pt x="1991" y="488"/>
                  </a:lnTo>
                  <a:lnTo>
                    <a:pt x="1988" y="498"/>
                  </a:lnTo>
                  <a:lnTo>
                    <a:pt x="1983" y="508"/>
                  </a:lnTo>
                  <a:lnTo>
                    <a:pt x="1979" y="517"/>
                  </a:lnTo>
                  <a:lnTo>
                    <a:pt x="1974" y="527"/>
                  </a:lnTo>
                  <a:lnTo>
                    <a:pt x="1967" y="535"/>
                  </a:lnTo>
                  <a:lnTo>
                    <a:pt x="1961" y="543"/>
                  </a:lnTo>
                  <a:lnTo>
                    <a:pt x="1954" y="550"/>
                  </a:lnTo>
                  <a:lnTo>
                    <a:pt x="1947" y="557"/>
                  </a:lnTo>
                  <a:lnTo>
                    <a:pt x="1938" y="563"/>
                  </a:lnTo>
                  <a:lnTo>
                    <a:pt x="1930" y="570"/>
                  </a:lnTo>
                  <a:lnTo>
                    <a:pt x="1921" y="574"/>
                  </a:lnTo>
                  <a:lnTo>
                    <a:pt x="1912" y="578"/>
                  </a:lnTo>
                  <a:lnTo>
                    <a:pt x="1902" y="583"/>
                  </a:lnTo>
                  <a:lnTo>
                    <a:pt x="1893" y="586"/>
                  </a:lnTo>
                  <a:lnTo>
                    <a:pt x="1883" y="588"/>
                  </a:lnTo>
                  <a:lnTo>
                    <a:pt x="1883" y="588"/>
                  </a:lnTo>
                  <a:lnTo>
                    <a:pt x="1890" y="594"/>
                  </a:lnTo>
                  <a:lnTo>
                    <a:pt x="1899" y="600"/>
                  </a:lnTo>
                  <a:lnTo>
                    <a:pt x="1907" y="608"/>
                  </a:lnTo>
                  <a:lnTo>
                    <a:pt x="1913" y="615"/>
                  </a:lnTo>
                  <a:lnTo>
                    <a:pt x="1920" y="623"/>
                  </a:lnTo>
                  <a:lnTo>
                    <a:pt x="1925" y="631"/>
                  </a:lnTo>
                  <a:lnTo>
                    <a:pt x="1930" y="640"/>
                  </a:lnTo>
                  <a:lnTo>
                    <a:pt x="1935" y="650"/>
                  </a:lnTo>
                  <a:lnTo>
                    <a:pt x="1939" y="659"/>
                  </a:lnTo>
                  <a:lnTo>
                    <a:pt x="1942" y="669"/>
                  </a:lnTo>
                  <a:lnTo>
                    <a:pt x="1944" y="679"/>
                  </a:lnTo>
                  <a:lnTo>
                    <a:pt x="1946" y="690"/>
                  </a:lnTo>
                  <a:lnTo>
                    <a:pt x="1947" y="700"/>
                  </a:lnTo>
                  <a:lnTo>
                    <a:pt x="1947" y="710"/>
                  </a:lnTo>
                  <a:lnTo>
                    <a:pt x="1946" y="721"/>
                  </a:lnTo>
                  <a:lnTo>
                    <a:pt x="1944" y="732"/>
                  </a:lnTo>
                  <a:lnTo>
                    <a:pt x="1944" y="732"/>
                  </a:lnTo>
                  <a:lnTo>
                    <a:pt x="1942" y="743"/>
                  </a:lnTo>
                  <a:lnTo>
                    <a:pt x="1939" y="753"/>
                  </a:lnTo>
                  <a:lnTo>
                    <a:pt x="1935" y="763"/>
                  </a:lnTo>
                  <a:lnTo>
                    <a:pt x="1930" y="773"/>
                  </a:lnTo>
                  <a:lnTo>
                    <a:pt x="1925" y="781"/>
                  </a:lnTo>
                  <a:lnTo>
                    <a:pt x="1919" y="790"/>
                  </a:lnTo>
                  <a:lnTo>
                    <a:pt x="1912" y="798"/>
                  </a:lnTo>
                  <a:lnTo>
                    <a:pt x="1906" y="805"/>
                  </a:lnTo>
                  <a:lnTo>
                    <a:pt x="1898" y="813"/>
                  </a:lnTo>
                  <a:lnTo>
                    <a:pt x="1889" y="818"/>
                  </a:lnTo>
                  <a:lnTo>
                    <a:pt x="1881" y="825"/>
                  </a:lnTo>
                  <a:lnTo>
                    <a:pt x="1872" y="829"/>
                  </a:lnTo>
                  <a:lnTo>
                    <a:pt x="1862" y="834"/>
                  </a:lnTo>
                  <a:lnTo>
                    <a:pt x="1854" y="838"/>
                  </a:lnTo>
                  <a:lnTo>
                    <a:pt x="1843" y="841"/>
                  </a:lnTo>
                  <a:lnTo>
                    <a:pt x="1833" y="843"/>
                  </a:lnTo>
                  <a:lnTo>
                    <a:pt x="1833" y="843"/>
                  </a:lnTo>
                  <a:lnTo>
                    <a:pt x="1842" y="849"/>
                  </a:lnTo>
                  <a:lnTo>
                    <a:pt x="1849" y="856"/>
                  </a:lnTo>
                  <a:lnTo>
                    <a:pt x="1857" y="862"/>
                  </a:lnTo>
                  <a:lnTo>
                    <a:pt x="1865" y="870"/>
                  </a:lnTo>
                  <a:lnTo>
                    <a:pt x="1871" y="879"/>
                  </a:lnTo>
                  <a:lnTo>
                    <a:pt x="1876" y="886"/>
                  </a:lnTo>
                  <a:lnTo>
                    <a:pt x="1882" y="896"/>
                  </a:lnTo>
                  <a:lnTo>
                    <a:pt x="1886" y="905"/>
                  </a:lnTo>
                  <a:lnTo>
                    <a:pt x="1889" y="914"/>
                  </a:lnTo>
                  <a:lnTo>
                    <a:pt x="1893" y="924"/>
                  </a:lnTo>
                  <a:lnTo>
                    <a:pt x="1895" y="934"/>
                  </a:lnTo>
                  <a:lnTo>
                    <a:pt x="1897" y="945"/>
                  </a:lnTo>
                  <a:lnTo>
                    <a:pt x="1898" y="955"/>
                  </a:lnTo>
                  <a:lnTo>
                    <a:pt x="1898" y="966"/>
                  </a:lnTo>
                  <a:lnTo>
                    <a:pt x="1897" y="977"/>
                  </a:lnTo>
                  <a:lnTo>
                    <a:pt x="1895" y="988"/>
                  </a:lnTo>
                  <a:lnTo>
                    <a:pt x="1895" y="988"/>
                  </a:lnTo>
                  <a:lnTo>
                    <a:pt x="1893" y="997"/>
                  </a:lnTo>
                  <a:lnTo>
                    <a:pt x="1889" y="1008"/>
                  </a:lnTo>
                  <a:lnTo>
                    <a:pt x="1885" y="1018"/>
                  </a:lnTo>
                  <a:lnTo>
                    <a:pt x="1881" y="1028"/>
                  </a:lnTo>
                  <a:lnTo>
                    <a:pt x="1875" y="1036"/>
                  </a:lnTo>
                  <a:lnTo>
                    <a:pt x="1870" y="1045"/>
                  </a:lnTo>
                  <a:lnTo>
                    <a:pt x="1863" y="1053"/>
                  </a:lnTo>
                  <a:lnTo>
                    <a:pt x="1856" y="1060"/>
                  </a:lnTo>
                  <a:lnTo>
                    <a:pt x="1848" y="1068"/>
                  </a:lnTo>
                  <a:lnTo>
                    <a:pt x="1841" y="1074"/>
                  </a:lnTo>
                  <a:lnTo>
                    <a:pt x="1832" y="1080"/>
                  </a:lnTo>
                  <a:lnTo>
                    <a:pt x="1823" y="1085"/>
                  </a:lnTo>
                  <a:lnTo>
                    <a:pt x="1814" y="1089"/>
                  </a:lnTo>
                  <a:lnTo>
                    <a:pt x="1804" y="1092"/>
                  </a:lnTo>
                  <a:lnTo>
                    <a:pt x="1794" y="1096"/>
                  </a:lnTo>
                  <a:lnTo>
                    <a:pt x="1785" y="1098"/>
                  </a:lnTo>
                  <a:lnTo>
                    <a:pt x="1785" y="1098"/>
                  </a:lnTo>
                  <a:lnTo>
                    <a:pt x="1793" y="1104"/>
                  </a:lnTo>
                  <a:lnTo>
                    <a:pt x="1801" y="1111"/>
                  </a:lnTo>
                  <a:lnTo>
                    <a:pt x="1808" y="1117"/>
                  </a:lnTo>
                  <a:lnTo>
                    <a:pt x="1815" y="1125"/>
                  </a:lnTo>
                  <a:lnTo>
                    <a:pt x="1821" y="1134"/>
                  </a:lnTo>
                  <a:lnTo>
                    <a:pt x="1828" y="1142"/>
                  </a:lnTo>
                  <a:lnTo>
                    <a:pt x="1832" y="1151"/>
                  </a:lnTo>
                  <a:lnTo>
                    <a:pt x="1836" y="1159"/>
                  </a:lnTo>
                  <a:lnTo>
                    <a:pt x="1841" y="1169"/>
                  </a:lnTo>
                  <a:lnTo>
                    <a:pt x="1844" y="1179"/>
                  </a:lnTo>
                  <a:lnTo>
                    <a:pt x="1846" y="1190"/>
                  </a:lnTo>
                  <a:lnTo>
                    <a:pt x="1848" y="1199"/>
                  </a:lnTo>
                  <a:lnTo>
                    <a:pt x="1848" y="1210"/>
                  </a:lnTo>
                  <a:lnTo>
                    <a:pt x="1848" y="1221"/>
                  </a:lnTo>
                  <a:lnTo>
                    <a:pt x="1848" y="1232"/>
                  </a:lnTo>
                  <a:lnTo>
                    <a:pt x="1846" y="1243"/>
                  </a:lnTo>
                  <a:lnTo>
                    <a:pt x="1846" y="1243"/>
                  </a:lnTo>
                  <a:lnTo>
                    <a:pt x="1844" y="1253"/>
                  </a:lnTo>
                  <a:lnTo>
                    <a:pt x="1841" y="1263"/>
                  </a:lnTo>
                  <a:lnTo>
                    <a:pt x="1836" y="1273"/>
                  </a:lnTo>
                  <a:lnTo>
                    <a:pt x="1832" y="1283"/>
                  </a:lnTo>
                  <a:lnTo>
                    <a:pt x="1827" y="1291"/>
                  </a:lnTo>
                  <a:lnTo>
                    <a:pt x="1820" y="1300"/>
                  </a:lnTo>
                  <a:lnTo>
                    <a:pt x="1814" y="1308"/>
                  </a:lnTo>
                  <a:lnTo>
                    <a:pt x="1807" y="1316"/>
                  </a:lnTo>
                  <a:lnTo>
                    <a:pt x="1800" y="1323"/>
                  </a:lnTo>
                  <a:lnTo>
                    <a:pt x="1791" y="1329"/>
                  </a:lnTo>
                  <a:lnTo>
                    <a:pt x="1782" y="1334"/>
                  </a:lnTo>
                  <a:lnTo>
                    <a:pt x="1774" y="1340"/>
                  </a:lnTo>
                  <a:lnTo>
                    <a:pt x="1765" y="1344"/>
                  </a:lnTo>
                  <a:lnTo>
                    <a:pt x="1755" y="1348"/>
                  </a:lnTo>
                  <a:lnTo>
                    <a:pt x="1746" y="1351"/>
                  </a:lnTo>
                  <a:lnTo>
                    <a:pt x="1735" y="1354"/>
                  </a:lnTo>
                  <a:lnTo>
                    <a:pt x="1735" y="1354"/>
                  </a:lnTo>
                  <a:lnTo>
                    <a:pt x="1744" y="1359"/>
                  </a:lnTo>
                  <a:lnTo>
                    <a:pt x="1752" y="1366"/>
                  </a:lnTo>
                  <a:lnTo>
                    <a:pt x="1760" y="1373"/>
                  </a:lnTo>
                  <a:lnTo>
                    <a:pt x="1766" y="1381"/>
                  </a:lnTo>
                  <a:lnTo>
                    <a:pt x="1773" y="1388"/>
                  </a:lnTo>
                  <a:lnTo>
                    <a:pt x="1778" y="1397"/>
                  </a:lnTo>
                  <a:lnTo>
                    <a:pt x="1784" y="1406"/>
                  </a:lnTo>
                  <a:lnTo>
                    <a:pt x="1788" y="1415"/>
                  </a:lnTo>
                  <a:lnTo>
                    <a:pt x="1792" y="1424"/>
                  </a:lnTo>
                  <a:lnTo>
                    <a:pt x="1794" y="1435"/>
                  </a:lnTo>
                  <a:lnTo>
                    <a:pt x="1798" y="1445"/>
                  </a:lnTo>
                  <a:lnTo>
                    <a:pt x="1799" y="1454"/>
                  </a:lnTo>
                  <a:lnTo>
                    <a:pt x="1800" y="1465"/>
                  </a:lnTo>
                  <a:lnTo>
                    <a:pt x="1800" y="1476"/>
                  </a:lnTo>
                  <a:lnTo>
                    <a:pt x="1799" y="1487"/>
                  </a:lnTo>
                  <a:lnTo>
                    <a:pt x="1798" y="1497"/>
                  </a:lnTo>
                  <a:lnTo>
                    <a:pt x="1798" y="1497"/>
                  </a:lnTo>
                  <a:lnTo>
                    <a:pt x="1794" y="1512"/>
                  </a:lnTo>
                  <a:lnTo>
                    <a:pt x="1789" y="1524"/>
                  </a:lnTo>
                  <a:lnTo>
                    <a:pt x="1784" y="1537"/>
                  </a:lnTo>
                  <a:lnTo>
                    <a:pt x="1776" y="1549"/>
                  </a:lnTo>
                  <a:lnTo>
                    <a:pt x="1768" y="1560"/>
                  </a:lnTo>
                  <a:lnTo>
                    <a:pt x="1759" y="1570"/>
                  </a:lnTo>
                  <a:lnTo>
                    <a:pt x="1749" y="1578"/>
                  </a:lnTo>
                  <a:lnTo>
                    <a:pt x="1738" y="1587"/>
                  </a:lnTo>
                  <a:lnTo>
                    <a:pt x="1727" y="1594"/>
                  </a:lnTo>
                  <a:lnTo>
                    <a:pt x="1714" y="1600"/>
                  </a:lnTo>
                  <a:lnTo>
                    <a:pt x="1703" y="1604"/>
                  </a:lnTo>
                  <a:lnTo>
                    <a:pt x="1688" y="1608"/>
                  </a:lnTo>
                  <a:lnTo>
                    <a:pt x="1676" y="1610"/>
                  </a:lnTo>
                  <a:lnTo>
                    <a:pt x="1661" y="1611"/>
                  </a:lnTo>
                  <a:lnTo>
                    <a:pt x="1647" y="1611"/>
                  </a:lnTo>
                  <a:lnTo>
                    <a:pt x="1633" y="1609"/>
                  </a:lnTo>
                  <a:lnTo>
                    <a:pt x="0" y="1294"/>
                  </a:lnTo>
                  <a:lnTo>
                    <a:pt x="250" y="0"/>
                  </a:lnTo>
                  <a:lnTo>
                    <a:pt x="1882" y="314"/>
                  </a:lnTo>
                  <a:lnTo>
                    <a:pt x="1882" y="314"/>
                  </a:lnTo>
                  <a:lnTo>
                    <a:pt x="1896" y="317"/>
                  </a:lnTo>
                  <a:lnTo>
                    <a:pt x="1910" y="321"/>
                  </a:lnTo>
                  <a:lnTo>
                    <a:pt x="1922" y="328"/>
                  </a:lnTo>
                  <a:lnTo>
                    <a:pt x="1934" y="334"/>
                  </a:lnTo>
                  <a:lnTo>
                    <a:pt x="1944" y="343"/>
                  </a:lnTo>
                  <a:lnTo>
                    <a:pt x="1954" y="352"/>
                  </a:lnTo>
                  <a:lnTo>
                    <a:pt x="1964" y="361"/>
                  </a:lnTo>
                  <a:lnTo>
                    <a:pt x="1971" y="372"/>
                  </a:lnTo>
                  <a:lnTo>
                    <a:pt x="1979" y="384"/>
                  </a:lnTo>
                  <a:lnTo>
                    <a:pt x="1984" y="396"/>
                  </a:lnTo>
                  <a:lnTo>
                    <a:pt x="1989" y="409"/>
                  </a:lnTo>
                  <a:lnTo>
                    <a:pt x="1993" y="422"/>
                  </a:lnTo>
                  <a:lnTo>
                    <a:pt x="1995" y="435"/>
                  </a:lnTo>
                  <a:lnTo>
                    <a:pt x="1996" y="449"/>
                  </a:lnTo>
                  <a:lnTo>
                    <a:pt x="1995" y="463"/>
                  </a:lnTo>
                  <a:lnTo>
                    <a:pt x="1993" y="477"/>
                  </a:lnTo>
                  <a:lnTo>
                    <a:pt x="1993" y="477"/>
                  </a:lnTo>
                  <a:close/>
                </a:path>
              </a:pathLst>
            </a:custGeom>
            <a:solidFill>
              <a:srgbClr val="E5E8E8">
                <a:lumMod val="9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08" name="Freeform 507"/>
            <p:cNvSpPr>
              <a:spLocks/>
            </p:cNvSpPr>
            <p:nvPr/>
          </p:nvSpPr>
          <p:spPr bwMode="auto">
            <a:xfrm>
              <a:off x="6888924" y="2769218"/>
              <a:ext cx="58489" cy="59052"/>
            </a:xfrm>
            <a:custGeom>
              <a:avLst/>
              <a:gdLst>
                <a:gd name="T0" fmla="*/ 138 w 139"/>
                <a:gd name="T1" fmla="*/ 81 h 137"/>
                <a:gd name="T2" fmla="*/ 138 w 139"/>
                <a:gd name="T3" fmla="*/ 81 h 137"/>
                <a:gd name="T4" fmla="*/ 135 w 139"/>
                <a:gd name="T5" fmla="*/ 89 h 137"/>
                <a:gd name="T6" fmla="*/ 133 w 139"/>
                <a:gd name="T7" fmla="*/ 95 h 137"/>
                <a:gd name="T8" fmla="*/ 130 w 139"/>
                <a:gd name="T9" fmla="*/ 101 h 137"/>
                <a:gd name="T10" fmla="*/ 127 w 139"/>
                <a:gd name="T11" fmla="*/ 107 h 137"/>
                <a:gd name="T12" fmla="*/ 118 w 139"/>
                <a:gd name="T13" fmla="*/ 117 h 137"/>
                <a:gd name="T14" fmla="*/ 108 w 139"/>
                <a:gd name="T15" fmla="*/ 126 h 137"/>
                <a:gd name="T16" fmla="*/ 96 w 139"/>
                <a:gd name="T17" fmla="*/ 132 h 137"/>
                <a:gd name="T18" fmla="*/ 90 w 139"/>
                <a:gd name="T19" fmla="*/ 134 h 137"/>
                <a:gd name="T20" fmla="*/ 84 w 139"/>
                <a:gd name="T21" fmla="*/ 135 h 137"/>
                <a:gd name="T22" fmla="*/ 77 w 139"/>
                <a:gd name="T23" fmla="*/ 136 h 137"/>
                <a:gd name="T24" fmla="*/ 71 w 139"/>
                <a:gd name="T25" fmla="*/ 137 h 137"/>
                <a:gd name="T26" fmla="*/ 64 w 139"/>
                <a:gd name="T27" fmla="*/ 137 h 137"/>
                <a:gd name="T28" fmla="*/ 57 w 139"/>
                <a:gd name="T29" fmla="*/ 136 h 137"/>
                <a:gd name="T30" fmla="*/ 57 w 139"/>
                <a:gd name="T31" fmla="*/ 136 h 137"/>
                <a:gd name="T32" fmla="*/ 50 w 139"/>
                <a:gd name="T33" fmla="*/ 134 h 137"/>
                <a:gd name="T34" fmla="*/ 44 w 139"/>
                <a:gd name="T35" fmla="*/ 132 h 137"/>
                <a:gd name="T36" fmla="*/ 37 w 139"/>
                <a:gd name="T37" fmla="*/ 129 h 137"/>
                <a:gd name="T38" fmla="*/ 32 w 139"/>
                <a:gd name="T39" fmla="*/ 126 h 137"/>
                <a:gd name="T40" fmla="*/ 26 w 139"/>
                <a:gd name="T41" fmla="*/ 121 h 137"/>
                <a:gd name="T42" fmla="*/ 21 w 139"/>
                <a:gd name="T43" fmla="*/ 117 h 137"/>
                <a:gd name="T44" fmla="*/ 12 w 139"/>
                <a:gd name="T45" fmla="*/ 107 h 137"/>
                <a:gd name="T46" fmla="*/ 7 w 139"/>
                <a:gd name="T47" fmla="*/ 95 h 137"/>
                <a:gd name="T48" fmla="*/ 4 w 139"/>
                <a:gd name="T49" fmla="*/ 89 h 137"/>
                <a:gd name="T50" fmla="*/ 3 w 139"/>
                <a:gd name="T51" fmla="*/ 83 h 137"/>
                <a:gd name="T52" fmla="*/ 1 w 139"/>
                <a:gd name="T53" fmla="*/ 76 h 137"/>
                <a:gd name="T54" fmla="*/ 0 w 139"/>
                <a:gd name="T55" fmla="*/ 69 h 137"/>
                <a:gd name="T56" fmla="*/ 1 w 139"/>
                <a:gd name="T57" fmla="*/ 63 h 137"/>
                <a:gd name="T58" fmla="*/ 3 w 139"/>
                <a:gd name="T59" fmla="*/ 55 h 137"/>
                <a:gd name="T60" fmla="*/ 3 w 139"/>
                <a:gd name="T61" fmla="*/ 55 h 137"/>
                <a:gd name="T62" fmla="*/ 4 w 139"/>
                <a:gd name="T63" fmla="*/ 49 h 137"/>
                <a:gd name="T64" fmla="*/ 6 w 139"/>
                <a:gd name="T65" fmla="*/ 42 h 137"/>
                <a:gd name="T66" fmla="*/ 9 w 139"/>
                <a:gd name="T67" fmla="*/ 36 h 137"/>
                <a:gd name="T68" fmla="*/ 12 w 139"/>
                <a:gd name="T69" fmla="*/ 31 h 137"/>
                <a:gd name="T70" fmla="*/ 17 w 139"/>
                <a:gd name="T71" fmla="*/ 25 h 137"/>
                <a:gd name="T72" fmla="*/ 21 w 139"/>
                <a:gd name="T73" fmla="*/ 20 h 137"/>
                <a:gd name="T74" fmla="*/ 31 w 139"/>
                <a:gd name="T75" fmla="*/ 12 h 137"/>
                <a:gd name="T76" fmla="*/ 42 w 139"/>
                <a:gd name="T77" fmla="*/ 6 h 137"/>
                <a:gd name="T78" fmla="*/ 49 w 139"/>
                <a:gd name="T79" fmla="*/ 4 h 137"/>
                <a:gd name="T80" fmla="*/ 55 w 139"/>
                <a:gd name="T81" fmla="*/ 1 h 137"/>
                <a:gd name="T82" fmla="*/ 62 w 139"/>
                <a:gd name="T83" fmla="*/ 0 h 137"/>
                <a:gd name="T84" fmla="*/ 68 w 139"/>
                <a:gd name="T85" fmla="*/ 0 h 137"/>
                <a:gd name="T86" fmla="*/ 76 w 139"/>
                <a:gd name="T87" fmla="*/ 0 h 137"/>
                <a:gd name="T88" fmla="*/ 82 w 139"/>
                <a:gd name="T89" fmla="*/ 1 h 137"/>
                <a:gd name="T90" fmla="*/ 82 w 139"/>
                <a:gd name="T91" fmla="*/ 1 h 137"/>
                <a:gd name="T92" fmla="*/ 89 w 139"/>
                <a:gd name="T93" fmla="*/ 2 h 137"/>
                <a:gd name="T94" fmla="*/ 95 w 139"/>
                <a:gd name="T95" fmla="*/ 6 h 137"/>
                <a:gd name="T96" fmla="*/ 102 w 139"/>
                <a:gd name="T97" fmla="*/ 8 h 137"/>
                <a:gd name="T98" fmla="*/ 107 w 139"/>
                <a:gd name="T99" fmla="*/ 11 h 137"/>
                <a:gd name="T100" fmla="*/ 113 w 139"/>
                <a:gd name="T101" fmla="*/ 15 h 137"/>
                <a:gd name="T102" fmla="*/ 118 w 139"/>
                <a:gd name="T103" fmla="*/ 20 h 137"/>
                <a:gd name="T104" fmla="*/ 127 w 139"/>
                <a:gd name="T105" fmla="*/ 31 h 137"/>
                <a:gd name="T106" fmla="*/ 133 w 139"/>
                <a:gd name="T107" fmla="*/ 41 h 137"/>
                <a:gd name="T108" fmla="*/ 135 w 139"/>
                <a:gd name="T109" fmla="*/ 48 h 137"/>
                <a:gd name="T110" fmla="*/ 136 w 139"/>
                <a:gd name="T111" fmla="*/ 54 h 137"/>
                <a:gd name="T112" fmla="*/ 138 w 139"/>
                <a:gd name="T113" fmla="*/ 61 h 137"/>
                <a:gd name="T114" fmla="*/ 139 w 139"/>
                <a:gd name="T115" fmla="*/ 67 h 137"/>
                <a:gd name="T116" fmla="*/ 138 w 139"/>
                <a:gd name="T117" fmla="*/ 75 h 137"/>
                <a:gd name="T118" fmla="*/ 138 w 139"/>
                <a:gd name="T119" fmla="*/ 81 h 137"/>
                <a:gd name="T120" fmla="*/ 138 w 139"/>
                <a:gd name="T121" fmla="*/ 8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9" h="137">
                  <a:moveTo>
                    <a:pt x="138" y="81"/>
                  </a:moveTo>
                  <a:lnTo>
                    <a:pt x="138" y="81"/>
                  </a:lnTo>
                  <a:lnTo>
                    <a:pt x="135" y="89"/>
                  </a:lnTo>
                  <a:lnTo>
                    <a:pt x="133" y="95"/>
                  </a:lnTo>
                  <a:lnTo>
                    <a:pt x="130" y="101"/>
                  </a:lnTo>
                  <a:lnTo>
                    <a:pt x="127" y="107"/>
                  </a:lnTo>
                  <a:lnTo>
                    <a:pt x="118" y="117"/>
                  </a:lnTo>
                  <a:lnTo>
                    <a:pt x="108" y="126"/>
                  </a:lnTo>
                  <a:lnTo>
                    <a:pt x="96" y="132"/>
                  </a:lnTo>
                  <a:lnTo>
                    <a:pt x="90" y="134"/>
                  </a:lnTo>
                  <a:lnTo>
                    <a:pt x="84" y="135"/>
                  </a:lnTo>
                  <a:lnTo>
                    <a:pt x="77" y="136"/>
                  </a:lnTo>
                  <a:lnTo>
                    <a:pt x="71" y="137"/>
                  </a:lnTo>
                  <a:lnTo>
                    <a:pt x="64" y="137"/>
                  </a:lnTo>
                  <a:lnTo>
                    <a:pt x="57" y="136"/>
                  </a:lnTo>
                  <a:lnTo>
                    <a:pt x="57" y="136"/>
                  </a:lnTo>
                  <a:lnTo>
                    <a:pt x="50" y="134"/>
                  </a:lnTo>
                  <a:lnTo>
                    <a:pt x="44" y="132"/>
                  </a:lnTo>
                  <a:lnTo>
                    <a:pt x="37" y="129"/>
                  </a:lnTo>
                  <a:lnTo>
                    <a:pt x="32" y="126"/>
                  </a:lnTo>
                  <a:lnTo>
                    <a:pt x="26" y="121"/>
                  </a:lnTo>
                  <a:lnTo>
                    <a:pt x="21" y="117"/>
                  </a:lnTo>
                  <a:lnTo>
                    <a:pt x="12" y="107"/>
                  </a:lnTo>
                  <a:lnTo>
                    <a:pt x="7" y="95"/>
                  </a:lnTo>
                  <a:lnTo>
                    <a:pt x="4" y="89"/>
                  </a:lnTo>
                  <a:lnTo>
                    <a:pt x="3" y="83"/>
                  </a:lnTo>
                  <a:lnTo>
                    <a:pt x="1" y="76"/>
                  </a:lnTo>
                  <a:lnTo>
                    <a:pt x="0" y="69"/>
                  </a:lnTo>
                  <a:lnTo>
                    <a:pt x="1" y="63"/>
                  </a:lnTo>
                  <a:lnTo>
                    <a:pt x="3" y="55"/>
                  </a:lnTo>
                  <a:lnTo>
                    <a:pt x="3" y="55"/>
                  </a:lnTo>
                  <a:lnTo>
                    <a:pt x="4" y="49"/>
                  </a:lnTo>
                  <a:lnTo>
                    <a:pt x="6" y="42"/>
                  </a:lnTo>
                  <a:lnTo>
                    <a:pt x="9" y="36"/>
                  </a:lnTo>
                  <a:lnTo>
                    <a:pt x="12" y="31"/>
                  </a:lnTo>
                  <a:lnTo>
                    <a:pt x="17" y="25"/>
                  </a:lnTo>
                  <a:lnTo>
                    <a:pt x="21" y="20"/>
                  </a:lnTo>
                  <a:lnTo>
                    <a:pt x="31" y="12"/>
                  </a:lnTo>
                  <a:lnTo>
                    <a:pt x="42" y="6"/>
                  </a:lnTo>
                  <a:lnTo>
                    <a:pt x="49" y="4"/>
                  </a:lnTo>
                  <a:lnTo>
                    <a:pt x="55" y="1"/>
                  </a:lnTo>
                  <a:lnTo>
                    <a:pt x="62" y="0"/>
                  </a:lnTo>
                  <a:lnTo>
                    <a:pt x="68" y="0"/>
                  </a:lnTo>
                  <a:lnTo>
                    <a:pt x="76" y="0"/>
                  </a:lnTo>
                  <a:lnTo>
                    <a:pt x="82" y="1"/>
                  </a:lnTo>
                  <a:lnTo>
                    <a:pt x="82" y="1"/>
                  </a:lnTo>
                  <a:lnTo>
                    <a:pt x="89" y="2"/>
                  </a:lnTo>
                  <a:lnTo>
                    <a:pt x="95" y="6"/>
                  </a:lnTo>
                  <a:lnTo>
                    <a:pt x="102" y="8"/>
                  </a:lnTo>
                  <a:lnTo>
                    <a:pt x="107" y="11"/>
                  </a:lnTo>
                  <a:lnTo>
                    <a:pt x="113" y="15"/>
                  </a:lnTo>
                  <a:lnTo>
                    <a:pt x="118" y="20"/>
                  </a:lnTo>
                  <a:lnTo>
                    <a:pt x="127" y="31"/>
                  </a:lnTo>
                  <a:lnTo>
                    <a:pt x="133" y="41"/>
                  </a:lnTo>
                  <a:lnTo>
                    <a:pt x="135" y="48"/>
                  </a:lnTo>
                  <a:lnTo>
                    <a:pt x="136" y="54"/>
                  </a:lnTo>
                  <a:lnTo>
                    <a:pt x="138" y="61"/>
                  </a:lnTo>
                  <a:lnTo>
                    <a:pt x="139" y="67"/>
                  </a:lnTo>
                  <a:lnTo>
                    <a:pt x="138" y="75"/>
                  </a:lnTo>
                  <a:lnTo>
                    <a:pt x="138" y="81"/>
                  </a:lnTo>
                  <a:lnTo>
                    <a:pt x="138" y="81"/>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09" name="Freeform 508"/>
            <p:cNvSpPr>
              <a:spLocks/>
            </p:cNvSpPr>
            <p:nvPr/>
          </p:nvSpPr>
          <p:spPr bwMode="auto">
            <a:xfrm>
              <a:off x="6868281" y="2877200"/>
              <a:ext cx="58489" cy="57366"/>
            </a:xfrm>
            <a:custGeom>
              <a:avLst/>
              <a:gdLst>
                <a:gd name="T0" fmla="*/ 136 w 137"/>
                <a:gd name="T1" fmla="*/ 82 h 137"/>
                <a:gd name="T2" fmla="*/ 136 w 137"/>
                <a:gd name="T3" fmla="*/ 82 h 137"/>
                <a:gd name="T4" fmla="*/ 135 w 137"/>
                <a:gd name="T5" fmla="*/ 89 h 137"/>
                <a:gd name="T6" fmla="*/ 133 w 137"/>
                <a:gd name="T7" fmla="*/ 95 h 137"/>
                <a:gd name="T8" fmla="*/ 129 w 137"/>
                <a:gd name="T9" fmla="*/ 102 h 137"/>
                <a:gd name="T10" fmla="*/ 126 w 137"/>
                <a:gd name="T11" fmla="*/ 107 h 137"/>
                <a:gd name="T12" fmla="*/ 122 w 137"/>
                <a:gd name="T13" fmla="*/ 112 h 137"/>
                <a:gd name="T14" fmla="*/ 117 w 137"/>
                <a:gd name="T15" fmla="*/ 118 h 137"/>
                <a:gd name="T16" fmla="*/ 108 w 137"/>
                <a:gd name="T17" fmla="*/ 125 h 137"/>
                <a:gd name="T18" fmla="*/ 96 w 137"/>
                <a:gd name="T19" fmla="*/ 132 h 137"/>
                <a:gd name="T20" fmla="*/ 89 w 137"/>
                <a:gd name="T21" fmla="*/ 134 h 137"/>
                <a:gd name="T22" fmla="*/ 83 w 137"/>
                <a:gd name="T23" fmla="*/ 136 h 137"/>
                <a:gd name="T24" fmla="*/ 76 w 137"/>
                <a:gd name="T25" fmla="*/ 137 h 137"/>
                <a:gd name="T26" fmla="*/ 70 w 137"/>
                <a:gd name="T27" fmla="*/ 137 h 137"/>
                <a:gd name="T28" fmla="*/ 62 w 137"/>
                <a:gd name="T29" fmla="*/ 137 h 137"/>
                <a:gd name="T30" fmla="*/ 56 w 137"/>
                <a:gd name="T31" fmla="*/ 136 h 137"/>
                <a:gd name="T32" fmla="*/ 56 w 137"/>
                <a:gd name="T33" fmla="*/ 136 h 137"/>
                <a:gd name="T34" fmla="*/ 49 w 137"/>
                <a:gd name="T35" fmla="*/ 135 h 137"/>
                <a:gd name="T36" fmla="*/ 42 w 137"/>
                <a:gd name="T37" fmla="*/ 132 h 137"/>
                <a:gd name="T38" fmla="*/ 36 w 137"/>
                <a:gd name="T39" fmla="*/ 130 h 137"/>
                <a:gd name="T40" fmla="*/ 30 w 137"/>
                <a:gd name="T41" fmla="*/ 126 h 137"/>
                <a:gd name="T42" fmla="*/ 26 w 137"/>
                <a:gd name="T43" fmla="*/ 122 h 137"/>
                <a:gd name="T44" fmla="*/ 20 w 137"/>
                <a:gd name="T45" fmla="*/ 118 h 137"/>
                <a:gd name="T46" fmla="*/ 12 w 137"/>
                <a:gd name="T47" fmla="*/ 107 h 137"/>
                <a:gd name="T48" fmla="*/ 5 w 137"/>
                <a:gd name="T49" fmla="*/ 96 h 137"/>
                <a:gd name="T50" fmla="*/ 3 w 137"/>
                <a:gd name="T51" fmla="*/ 90 h 137"/>
                <a:gd name="T52" fmla="*/ 2 w 137"/>
                <a:gd name="T53" fmla="*/ 83 h 137"/>
                <a:gd name="T54" fmla="*/ 1 w 137"/>
                <a:gd name="T55" fmla="*/ 77 h 137"/>
                <a:gd name="T56" fmla="*/ 0 w 137"/>
                <a:gd name="T57" fmla="*/ 70 h 137"/>
                <a:gd name="T58" fmla="*/ 0 w 137"/>
                <a:gd name="T59" fmla="*/ 63 h 137"/>
                <a:gd name="T60" fmla="*/ 1 w 137"/>
                <a:gd name="T61" fmla="*/ 56 h 137"/>
                <a:gd name="T62" fmla="*/ 1 w 137"/>
                <a:gd name="T63" fmla="*/ 56 h 137"/>
                <a:gd name="T64" fmla="*/ 3 w 137"/>
                <a:gd name="T65" fmla="*/ 49 h 137"/>
                <a:gd name="T66" fmla="*/ 5 w 137"/>
                <a:gd name="T67" fmla="*/ 42 h 137"/>
                <a:gd name="T68" fmla="*/ 8 w 137"/>
                <a:gd name="T69" fmla="*/ 37 h 137"/>
                <a:gd name="T70" fmla="*/ 12 w 137"/>
                <a:gd name="T71" fmla="*/ 30 h 137"/>
                <a:gd name="T72" fmla="*/ 16 w 137"/>
                <a:gd name="T73" fmla="*/ 25 h 137"/>
                <a:gd name="T74" fmla="*/ 20 w 137"/>
                <a:gd name="T75" fmla="*/ 21 h 137"/>
                <a:gd name="T76" fmla="*/ 30 w 137"/>
                <a:gd name="T77" fmla="*/ 12 h 137"/>
                <a:gd name="T78" fmla="*/ 42 w 137"/>
                <a:gd name="T79" fmla="*/ 6 h 137"/>
                <a:gd name="T80" fmla="*/ 48 w 137"/>
                <a:gd name="T81" fmla="*/ 3 h 137"/>
                <a:gd name="T82" fmla="*/ 55 w 137"/>
                <a:gd name="T83" fmla="*/ 1 h 137"/>
                <a:gd name="T84" fmla="*/ 61 w 137"/>
                <a:gd name="T85" fmla="*/ 0 h 137"/>
                <a:gd name="T86" fmla="*/ 68 w 137"/>
                <a:gd name="T87" fmla="*/ 0 h 137"/>
                <a:gd name="T88" fmla="*/ 74 w 137"/>
                <a:gd name="T89" fmla="*/ 0 h 137"/>
                <a:gd name="T90" fmla="*/ 82 w 137"/>
                <a:gd name="T91" fmla="*/ 1 h 137"/>
                <a:gd name="T92" fmla="*/ 82 w 137"/>
                <a:gd name="T93" fmla="*/ 1 h 137"/>
                <a:gd name="T94" fmla="*/ 88 w 137"/>
                <a:gd name="T95" fmla="*/ 3 h 137"/>
                <a:gd name="T96" fmla="*/ 95 w 137"/>
                <a:gd name="T97" fmla="*/ 6 h 137"/>
                <a:gd name="T98" fmla="*/ 101 w 137"/>
                <a:gd name="T99" fmla="*/ 9 h 137"/>
                <a:gd name="T100" fmla="*/ 107 w 137"/>
                <a:gd name="T101" fmla="*/ 12 h 137"/>
                <a:gd name="T102" fmla="*/ 112 w 137"/>
                <a:gd name="T103" fmla="*/ 15 h 137"/>
                <a:gd name="T104" fmla="*/ 117 w 137"/>
                <a:gd name="T105" fmla="*/ 21 h 137"/>
                <a:gd name="T106" fmla="*/ 125 w 137"/>
                <a:gd name="T107" fmla="*/ 30 h 137"/>
                <a:gd name="T108" fmla="*/ 132 w 137"/>
                <a:gd name="T109" fmla="*/ 42 h 137"/>
                <a:gd name="T110" fmla="*/ 134 w 137"/>
                <a:gd name="T111" fmla="*/ 48 h 137"/>
                <a:gd name="T112" fmla="*/ 136 w 137"/>
                <a:gd name="T113" fmla="*/ 54 h 137"/>
                <a:gd name="T114" fmla="*/ 137 w 137"/>
                <a:gd name="T115" fmla="*/ 62 h 137"/>
                <a:gd name="T116" fmla="*/ 137 w 137"/>
                <a:gd name="T117" fmla="*/ 68 h 137"/>
                <a:gd name="T118" fmla="*/ 137 w 137"/>
                <a:gd name="T119" fmla="*/ 75 h 137"/>
                <a:gd name="T120" fmla="*/ 136 w 137"/>
                <a:gd name="T121" fmla="*/ 82 h 137"/>
                <a:gd name="T122" fmla="*/ 136 w 137"/>
                <a:gd name="T123" fmla="*/ 8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137">
                  <a:moveTo>
                    <a:pt x="136" y="82"/>
                  </a:moveTo>
                  <a:lnTo>
                    <a:pt x="136" y="82"/>
                  </a:lnTo>
                  <a:lnTo>
                    <a:pt x="135" y="89"/>
                  </a:lnTo>
                  <a:lnTo>
                    <a:pt x="133" y="95"/>
                  </a:lnTo>
                  <a:lnTo>
                    <a:pt x="129" y="102"/>
                  </a:lnTo>
                  <a:lnTo>
                    <a:pt x="126" y="107"/>
                  </a:lnTo>
                  <a:lnTo>
                    <a:pt x="122" y="112"/>
                  </a:lnTo>
                  <a:lnTo>
                    <a:pt x="117" y="118"/>
                  </a:lnTo>
                  <a:lnTo>
                    <a:pt x="108" y="125"/>
                  </a:lnTo>
                  <a:lnTo>
                    <a:pt x="96" y="132"/>
                  </a:lnTo>
                  <a:lnTo>
                    <a:pt x="89" y="134"/>
                  </a:lnTo>
                  <a:lnTo>
                    <a:pt x="83" y="136"/>
                  </a:lnTo>
                  <a:lnTo>
                    <a:pt x="76" y="137"/>
                  </a:lnTo>
                  <a:lnTo>
                    <a:pt x="70" y="137"/>
                  </a:lnTo>
                  <a:lnTo>
                    <a:pt x="62" y="137"/>
                  </a:lnTo>
                  <a:lnTo>
                    <a:pt x="56" y="136"/>
                  </a:lnTo>
                  <a:lnTo>
                    <a:pt x="56" y="136"/>
                  </a:lnTo>
                  <a:lnTo>
                    <a:pt x="49" y="135"/>
                  </a:lnTo>
                  <a:lnTo>
                    <a:pt x="42" y="132"/>
                  </a:lnTo>
                  <a:lnTo>
                    <a:pt x="36" y="130"/>
                  </a:lnTo>
                  <a:lnTo>
                    <a:pt x="30" y="126"/>
                  </a:lnTo>
                  <a:lnTo>
                    <a:pt x="26" y="122"/>
                  </a:lnTo>
                  <a:lnTo>
                    <a:pt x="20" y="118"/>
                  </a:lnTo>
                  <a:lnTo>
                    <a:pt x="12" y="107"/>
                  </a:lnTo>
                  <a:lnTo>
                    <a:pt x="5" y="96"/>
                  </a:lnTo>
                  <a:lnTo>
                    <a:pt x="3" y="90"/>
                  </a:lnTo>
                  <a:lnTo>
                    <a:pt x="2" y="83"/>
                  </a:lnTo>
                  <a:lnTo>
                    <a:pt x="1" y="77"/>
                  </a:lnTo>
                  <a:lnTo>
                    <a:pt x="0" y="70"/>
                  </a:lnTo>
                  <a:lnTo>
                    <a:pt x="0" y="63"/>
                  </a:lnTo>
                  <a:lnTo>
                    <a:pt x="1" y="56"/>
                  </a:lnTo>
                  <a:lnTo>
                    <a:pt x="1" y="56"/>
                  </a:lnTo>
                  <a:lnTo>
                    <a:pt x="3" y="49"/>
                  </a:lnTo>
                  <a:lnTo>
                    <a:pt x="5" y="42"/>
                  </a:lnTo>
                  <a:lnTo>
                    <a:pt x="8" y="37"/>
                  </a:lnTo>
                  <a:lnTo>
                    <a:pt x="12" y="30"/>
                  </a:lnTo>
                  <a:lnTo>
                    <a:pt x="16" y="25"/>
                  </a:lnTo>
                  <a:lnTo>
                    <a:pt x="20" y="21"/>
                  </a:lnTo>
                  <a:lnTo>
                    <a:pt x="30" y="12"/>
                  </a:lnTo>
                  <a:lnTo>
                    <a:pt x="42" y="6"/>
                  </a:lnTo>
                  <a:lnTo>
                    <a:pt x="48" y="3"/>
                  </a:lnTo>
                  <a:lnTo>
                    <a:pt x="55" y="1"/>
                  </a:lnTo>
                  <a:lnTo>
                    <a:pt x="61" y="0"/>
                  </a:lnTo>
                  <a:lnTo>
                    <a:pt x="68" y="0"/>
                  </a:lnTo>
                  <a:lnTo>
                    <a:pt x="74" y="0"/>
                  </a:lnTo>
                  <a:lnTo>
                    <a:pt x="82" y="1"/>
                  </a:lnTo>
                  <a:lnTo>
                    <a:pt x="82" y="1"/>
                  </a:lnTo>
                  <a:lnTo>
                    <a:pt x="88" y="3"/>
                  </a:lnTo>
                  <a:lnTo>
                    <a:pt x="95" y="6"/>
                  </a:lnTo>
                  <a:lnTo>
                    <a:pt x="101" y="9"/>
                  </a:lnTo>
                  <a:lnTo>
                    <a:pt x="107" y="12"/>
                  </a:lnTo>
                  <a:lnTo>
                    <a:pt x="112" y="15"/>
                  </a:lnTo>
                  <a:lnTo>
                    <a:pt x="117" y="21"/>
                  </a:lnTo>
                  <a:lnTo>
                    <a:pt x="125" y="30"/>
                  </a:lnTo>
                  <a:lnTo>
                    <a:pt x="132" y="42"/>
                  </a:lnTo>
                  <a:lnTo>
                    <a:pt x="134" y="48"/>
                  </a:lnTo>
                  <a:lnTo>
                    <a:pt x="136" y="54"/>
                  </a:lnTo>
                  <a:lnTo>
                    <a:pt x="137" y="62"/>
                  </a:lnTo>
                  <a:lnTo>
                    <a:pt x="137" y="68"/>
                  </a:lnTo>
                  <a:lnTo>
                    <a:pt x="137" y="75"/>
                  </a:lnTo>
                  <a:lnTo>
                    <a:pt x="136" y="82"/>
                  </a:lnTo>
                  <a:lnTo>
                    <a:pt x="136" y="82"/>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10" name="Freeform 509"/>
            <p:cNvSpPr>
              <a:spLocks/>
            </p:cNvSpPr>
            <p:nvPr/>
          </p:nvSpPr>
          <p:spPr bwMode="auto">
            <a:xfrm>
              <a:off x="6847638" y="2983494"/>
              <a:ext cx="58489" cy="59052"/>
            </a:xfrm>
            <a:custGeom>
              <a:avLst/>
              <a:gdLst>
                <a:gd name="T0" fmla="*/ 136 w 137"/>
                <a:gd name="T1" fmla="*/ 82 h 138"/>
                <a:gd name="T2" fmla="*/ 136 w 137"/>
                <a:gd name="T3" fmla="*/ 82 h 138"/>
                <a:gd name="T4" fmla="*/ 135 w 137"/>
                <a:gd name="T5" fmla="*/ 88 h 138"/>
                <a:gd name="T6" fmla="*/ 132 w 137"/>
                <a:gd name="T7" fmla="*/ 95 h 138"/>
                <a:gd name="T8" fmla="*/ 130 w 137"/>
                <a:gd name="T9" fmla="*/ 101 h 138"/>
                <a:gd name="T10" fmla="*/ 125 w 137"/>
                <a:gd name="T11" fmla="*/ 107 h 138"/>
                <a:gd name="T12" fmla="*/ 122 w 137"/>
                <a:gd name="T13" fmla="*/ 112 h 138"/>
                <a:gd name="T14" fmla="*/ 118 w 137"/>
                <a:gd name="T15" fmla="*/ 118 h 138"/>
                <a:gd name="T16" fmla="*/ 107 w 137"/>
                <a:gd name="T17" fmla="*/ 126 h 138"/>
                <a:gd name="T18" fmla="*/ 96 w 137"/>
                <a:gd name="T19" fmla="*/ 133 h 138"/>
                <a:gd name="T20" fmla="*/ 90 w 137"/>
                <a:gd name="T21" fmla="*/ 135 h 138"/>
                <a:gd name="T22" fmla="*/ 83 w 137"/>
                <a:gd name="T23" fmla="*/ 136 h 138"/>
                <a:gd name="T24" fmla="*/ 77 w 137"/>
                <a:gd name="T25" fmla="*/ 137 h 138"/>
                <a:gd name="T26" fmla="*/ 69 w 137"/>
                <a:gd name="T27" fmla="*/ 138 h 138"/>
                <a:gd name="T28" fmla="*/ 63 w 137"/>
                <a:gd name="T29" fmla="*/ 137 h 138"/>
                <a:gd name="T30" fmla="*/ 56 w 137"/>
                <a:gd name="T31" fmla="*/ 137 h 138"/>
                <a:gd name="T32" fmla="*/ 56 w 137"/>
                <a:gd name="T33" fmla="*/ 137 h 138"/>
                <a:gd name="T34" fmla="*/ 49 w 137"/>
                <a:gd name="T35" fmla="*/ 135 h 138"/>
                <a:gd name="T36" fmla="*/ 42 w 137"/>
                <a:gd name="T37" fmla="*/ 133 h 138"/>
                <a:gd name="T38" fmla="*/ 37 w 137"/>
                <a:gd name="T39" fmla="*/ 130 h 138"/>
                <a:gd name="T40" fmla="*/ 30 w 137"/>
                <a:gd name="T41" fmla="*/ 126 h 138"/>
                <a:gd name="T42" fmla="*/ 25 w 137"/>
                <a:gd name="T43" fmla="*/ 122 h 138"/>
                <a:gd name="T44" fmla="*/ 21 w 137"/>
                <a:gd name="T45" fmla="*/ 118 h 138"/>
                <a:gd name="T46" fmla="*/ 12 w 137"/>
                <a:gd name="T47" fmla="*/ 108 h 138"/>
                <a:gd name="T48" fmla="*/ 6 w 137"/>
                <a:gd name="T49" fmla="*/ 96 h 138"/>
                <a:gd name="T50" fmla="*/ 1 w 137"/>
                <a:gd name="T51" fmla="*/ 83 h 138"/>
                <a:gd name="T52" fmla="*/ 0 w 137"/>
                <a:gd name="T53" fmla="*/ 77 h 138"/>
                <a:gd name="T54" fmla="*/ 0 w 137"/>
                <a:gd name="T55" fmla="*/ 70 h 138"/>
                <a:gd name="T56" fmla="*/ 0 w 137"/>
                <a:gd name="T57" fmla="*/ 64 h 138"/>
                <a:gd name="T58" fmla="*/ 1 w 137"/>
                <a:gd name="T59" fmla="*/ 56 h 138"/>
                <a:gd name="T60" fmla="*/ 1 w 137"/>
                <a:gd name="T61" fmla="*/ 56 h 138"/>
                <a:gd name="T62" fmla="*/ 3 w 137"/>
                <a:gd name="T63" fmla="*/ 50 h 138"/>
                <a:gd name="T64" fmla="*/ 6 w 137"/>
                <a:gd name="T65" fmla="*/ 43 h 138"/>
                <a:gd name="T66" fmla="*/ 9 w 137"/>
                <a:gd name="T67" fmla="*/ 37 h 138"/>
                <a:gd name="T68" fmla="*/ 12 w 137"/>
                <a:gd name="T69" fmla="*/ 31 h 138"/>
                <a:gd name="T70" fmla="*/ 15 w 137"/>
                <a:gd name="T71" fmla="*/ 26 h 138"/>
                <a:gd name="T72" fmla="*/ 21 w 137"/>
                <a:gd name="T73" fmla="*/ 20 h 138"/>
                <a:gd name="T74" fmla="*/ 30 w 137"/>
                <a:gd name="T75" fmla="*/ 12 h 138"/>
                <a:gd name="T76" fmla="*/ 42 w 137"/>
                <a:gd name="T77" fmla="*/ 6 h 138"/>
                <a:gd name="T78" fmla="*/ 48 w 137"/>
                <a:gd name="T79" fmla="*/ 3 h 138"/>
                <a:gd name="T80" fmla="*/ 54 w 137"/>
                <a:gd name="T81" fmla="*/ 2 h 138"/>
                <a:gd name="T82" fmla="*/ 61 w 137"/>
                <a:gd name="T83" fmla="*/ 1 h 138"/>
                <a:gd name="T84" fmla="*/ 68 w 137"/>
                <a:gd name="T85" fmla="*/ 0 h 138"/>
                <a:gd name="T86" fmla="*/ 75 w 137"/>
                <a:gd name="T87" fmla="*/ 1 h 138"/>
                <a:gd name="T88" fmla="*/ 82 w 137"/>
                <a:gd name="T89" fmla="*/ 2 h 138"/>
                <a:gd name="T90" fmla="*/ 82 w 137"/>
                <a:gd name="T91" fmla="*/ 2 h 138"/>
                <a:gd name="T92" fmla="*/ 89 w 137"/>
                <a:gd name="T93" fmla="*/ 3 h 138"/>
                <a:gd name="T94" fmla="*/ 95 w 137"/>
                <a:gd name="T95" fmla="*/ 5 h 138"/>
                <a:gd name="T96" fmla="*/ 102 w 137"/>
                <a:gd name="T97" fmla="*/ 9 h 138"/>
                <a:gd name="T98" fmla="*/ 107 w 137"/>
                <a:gd name="T99" fmla="*/ 12 h 138"/>
                <a:gd name="T100" fmla="*/ 112 w 137"/>
                <a:gd name="T101" fmla="*/ 16 h 138"/>
                <a:gd name="T102" fmla="*/ 117 w 137"/>
                <a:gd name="T103" fmla="*/ 20 h 138"/>
                <a:gd name="T104" fmla="*/ 125 w 137"/>
                <a:gd name="T105" fmla="*/ 30 h 138"/>
                <a:gd name="T106" fmla="*/ 132 w 137"/>
                <a:gd name="T107" fmla="*/ 42 h 138"/>
                <a:gd name="T108" fmla="*/ 136 w 137"/>
                <a:gd name="T109" fmla="*/ 55 h 138"/>
                <a:gd name="T110" fmla="*/ 137 w 137"/>
                <a:gd name="T111" fmla="*/ 61 h 138"/>
                <a:gd name="T112" fmla="*/ 137 w 137"/>
                <a:gd name="T113" fmla="*/ 68 h 138"/>
                <a:gd name="T114" fmla="*/ 137 w 137"/>
                <a:gd name="T115" fmla="*/ 76 h 138"/>
                <a:gd name="T116" fmla="*/ 136 w 137"/>
                <a:gd name="T117" fmla="*/ 82 h 138"/>
                <a:gd name="T118" fmla="*/ 136 w 137"/>
                <a:gd name="T119" fmla="*/ 8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136" y="82"/>
                  </a:moveTo>
                  <a:lnTo>
                    <a:pt x="136" y="82"/>
                  </a:lnTo>
                  <a:lnTo>
                    <a:pt x="135" y="88"/>
                  </a:lnTo>
                  <a:lnTo>
                    <a:pt x="132" y="95"/>
                  </a:lnTo>
                  <a:lnTo>
                    <a:pt x="130" y="101"/>
                  </a:lnTo>
                  <a:lnTo>
                    <a:pt x="125" y="107"/>
                  </a:lnTo>
                  <a:lnTo>
                    <a:pt x="122" y="112"/>
                  </a:lnTo>
                  <a:lnTo>
                    <a:pt x="118" y="118"/>
                  </a:lnTo>
                  <a:lnTo>
                    <a:pt x="107" y="126"/>
                  </a:lnTo>
                  <a:lnTo>
                    <a:pt x="96" y="133"/>
                  </a:lnTo>
                  <a:lnTo>
                    <a:pt x="90" y="135"/>
                  </a:lnTo>
                  <a:lnTo>
                    <a:pt x="83" y="136"/>
                  </a:lnTo>
                  <a:lnTo>
                    <a:pt x="77" y="137"/>
                  </a:lnTo>
                  <a:lnTo>
                    <a:pt x="69" y="138"/>
                  </a:lnTo>
                  <a:lnTo>
                    <a:pt x="63" y="137"/>
                  </a:lnTo>
                  <a:lnTo>
                    <a:pt x="56" y="137"/>
                  </a:lnTo>
                  <a:lnTo>
                    <a:pt x="56" y="137"/>
                  </a:lnTo>
                  <a:lnTo>
                    <a:pt x="49" y="135"/>
                  </a:lnTo>
                  <a:lnTo>
                    <a:pt x="42" y="133"/>
                  </a:lnTo>
                  <a:lnTo>
                    <a:pt x="37" y="130"/>
                  </a:lnTo>
                  <a:lnTo>
                    <a:pt x="30" y="126"/>
                  </a:lnTo>
                  <a:lnTo>
                    <a:pt x="25" y="122"/>
                  </a:lnTo>
                  <a:lnTo>
                    <a:pt x="21" y="118"/>
                  </a:lnTo>
                  <a:lnTo>
                    <a:pt x="12" y="108"/>
                  </a:lnTo>
                  <a:lnTo>
                    <a:pt x="6" y="96"/>
                  </a:lnTo>
                  <a:lnTo>
                    <a:pt x="1" y="83"/>
                  </a:lnTo>
                  <a:lnTo>
                    <a:pt x="0" y="77"/>
                  </a:lnTo>
                  <a:lnTo>
                    <a:pt x="0" y="70"/>
                  </a:lnTo>
                  <a:lnTo>
                    <a:pt x="0" y="64"/>
                  </a:lnTo>
                  <a:lnTo>
                    <a:pt x="1" y="56"/>
                  </a:lnTo>
                  <a:lnTo>
                    <a:pt x="1" y="56"/>
                  </a:lnTo>
                  <a:lnTo>
                    <a:pt x="3" y="50"/>
                  </a:lnTo>
                  <a:lnTo>
                    <a:pt x="6" y="43"/>
                  </a:lnTo>
                  <a:lnTo>
                    <a:pt x="9" y="37"/>
                  </a:lnTo>
                  <a:lnTo>
                    <a:pt x="12" y="31"/>
                  </a:lnTo>
                  <a:lnTo>
                    <a:pt x="15" y="26"/>
                  </a:lnTo>
                  <a:lnTo>
                    <a:pt x="21" y="20"/>
                  </a:lnTo>
                  <a:lnTo>
                    <a:pt x="30" y="12"/>
                  </a:lnTo>
                  <a:lnTo>
                    <a:pt x="42" y="6"/>
                  </a:lnTo>
                  <a:lnTo>
                    <a:pt x="48" y="3"/>
                  </a:lnTo>
                  <a:lnTo>
                    <a:pt x="54" y="2"/>
                  </a:lnTo>
                  <a:lnTo>
                    <a:pt x="61" y="1"/>
                  </a:lnTo>
                  <a:lnTo>
                    <a:pt x="68" y="0"/>
                  </a:lnTo>
                  <a:lnTo>
                    <a:pt x="75" y="1"/>
                  </a:lnTo>
                  <a:lnTo>
                    <a:pt x="82" y="2"/>
                  </a:lnTo>
                  <a:lnTo>
                    <a:pt x="82" y="2"/>
                  </a:lnTo>
                  <a:lnTo>
                    <a:pt x="89" y="3"/>
                  </a:lnTo>
                  <a:lnTo>
                    <a:pt x="95" y="5"/>
                  </a:lnTo>
                  <a:lnTo>
                    <a:pt x="102" y="9"/>
                  </a:lnTo>
                  <a:lnTo>
                    <a:pt x="107" y="12"/>
                  </a:lnTo>
                  <a:lnTo>
                    <a:pt x="112" y="16"/>
                  </a:lnTo>
                  <a:lnTo>
                    <a:pt x="117" y="20"/>
                  </a:lnTo>
                  <a:lnTo>
                    <a:pt x="125" y="30"/>
                  </a:lnTo>
                  <a:lnTo>
                    <a:pt x="132" y="42"/>
                  </a:lnTo>
                  <a:lnTo>
                    <a:pt x="136" y="55"/>
                  </a:lnTo>
                  <a:lnTo>
                    <a:pt x="137" y="61"/>
                  </a:lnTo>
                  <a:lnTo>
                    <a:pt x="137" y="68"/>
                  </a:lnTo>
                  <a:lnTo>
                    <a:pt x="137" y="76"/>
                  </a:lnTo>
                  <a:lnTo>
                    <a:pt x="136" y="82"/>
                  </a:lnTo>
                  <a:lnTo>
                    <a:pt x="136" y="82"/>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11" name="Freeform 510"/>
            <p:cNvSpPr>
              <a:spLocks/>
            </p:cNvSpPr>
            <p:nvPr/>
          </p:nvSpPr>
          <p:spPr bwMode="auto">
            <a:xfrm>
              <a:off x="6825274" y="3091476"/>
              <a:ext cx="60209" cy="57366"/>
            </a:xfrm>
            <a:custGeom>
              <a:avLst/>
              <a:gdLst>
                <a:gd name="T0" fmla="*/ 136 w 137"/>
                <a:gd name="T1" fmla="*/ 81 h 137"/>
                <a:gd name="T2" fmla="*/ 136 w 137"/>
                <a:gd name="T3" fmla="*/ 81 h 137"/>
                <a:gd name="T4" fmla="*/ 133 w 137"/>
                <a:gd name="T5" fmla="*/ 88 h 137"/>
                <a:gd name="T6" fmla="*/ 131 w 137"/>
                <a:gd name="T7" fmla="*/ 95 h 137"/>
                <a:gd name="T8" fmla="*/ 128 w 137"/>
                <a:gd name="T9" fmla="*/ 100 h 137"/>
                <a:gd name="T10" fmla="*/ 125 w 137"/>
                <a:gd name="T11" fmla="*/ 107 h 137"/>
                <a:gd name="T12" fmla="*/ 122 w 137"/>
                <a:gd name="T13" fmla="*/ 112 h 137"/>
                <a:gd name="T14" fmla="*/ 116 w 137"/>
                <a:gd name="T15" fmla="*/ 116 h 137"/>
                <a:gd name="T16" fmla="*/ 106 w 137"/>
                <a:gd name="T17" fmla="*/ 125 h 137"/>
                <a:gd name="T18" fmla="*/ 95 w 137"/>
                <a:gd name="T19" fmla="*/ 132 h 137"/>
                <a:gd name="T20" fmla="*/ 89 w 137"/>
                <a:gd name="T21" fmla="*/ 134 h 137"/>
                <a:gd name="T22" fmla="*/ 83 w 137"/>
                <a:gd name="T23" fmla="*/ 136 h 137"/>
                <a:gd name="T24" fmla="*/ 75 w 137"/>
                <a:gd name="T25" fmla="*/ 137 h 137"/>
                <a:gd name="T26" fmla="*/ 69 w 137"/>
                <a:gd name="T27" fmla="*/ 137 h 137"/>
                <a:gd name="T28" fmla="*/ 62 w 137"/>
                <a:gd name="T29" fmla="*/ 137 h 137"/>
                <a:gd name="T30" fmla="*/ 55 w 137"/>
                <a:gd name="T31" fmla="*/ 136 h 137"/>
                <a:gd name="T32" fmla="*/ 55 w 137"/>
                <a:gd name="T33" fmla="*/ 136 h 137"/>
                <a:gd name="T34" fmla="*/ 48 w 137"/>
                <a:gd name="T35" fmla="*/ 134 h 137"/>
                <a:gd name="T36" fmla="*/ 42 w 137"/>
                <a:gd name="T37" fmla="*/ 132 h 137"/>
                <a:gd name="T38" fmla="*/ 35 w 137"/>
                <a:gd name="T39" fmla="*/ 129 h 137"/>
                <a:gd name="T40" fmla="*/ 30 w 137"/>
                <a:gd name="T41" fmla="*/ 125 h 137"/>
                <a:gd name="T42" fmla="*/ 24 w 137"/>
                <a:gd name="T43" fmla="*/ 122 h 137"/>
                <a:gd name="T44" fmla="*/ 20 w 137"/>
                <a:gd name="T45" fmla="*/ 118 h 137"/>
                <a:gd name="T46" fmla="*/ 11 w 137"/>
                <a:gd name="T47" fmla="*/ 107 h 137"/>
                <a:gd name="T48" fmla="*/ 5 w 137"/>
                <a:gd name="T49" fmla="*/ 95 h 137"/>
                <a:gd name="T50" fmla="*/ 3 w 137"/>
                <a:gd name="T51" fmla="*/ 89 h 137"/>
                <a:gd name="T52" fmla="*/ 1 w 137"/>
                <a:gd name="T53" fmla="*/ 83 h 137"/>
                <a:gd name="T54" fmla="*/ 0 w 137"/>
                <a:gd name="T55" fmla="*/ 76 h 137"/>
                <a:gd name="T56" fmla="*/ 0 w 137"/>
                <a:gd name="T57" fmla="*/ 69 h 137"/>
                <a:gd name="T58" fmla="*/ 0 w 137"/>
                <a:gd name="T59" fmla="*/ 62 h 137"/>
                <a:gd name="T60" fmla="*/ 1 w 137"/>
                <a:gd name="T61" fmla="*/ 55 h 137"/>
                <a:gd name="T62" fmla="*/ 1 w 137"/>
                <a:gd name="T63" fmla="*/ 55 h 137"/>
                <a:gd name="T64" fmla="*/ 2 w 137"/>
                <a:gd name="T65" fmla="*/ 48 h 137"/>
                <a:gd name="T66" fmla="*/ 5 w 137"/>
                <a:gd name="T67" fmla="*/ 42 h 137"/>
                <a:gd name="T68" fmla="*/ 7 w 137"/>
                <a:gd name="T69" fmla="*/ 35 h 137"/>
                <a:gd name="T70" fmla="*/ 11 w 137"/>
                <a:gd name="T71" fmla="*/ 30 h 137"/>
                <a:gd name="T72" fmla="*/ 19 w 137"/>
                <a:gd name="T73" fmla="*/ 20 h 137"/>
                <a:gd name="T74" fmla="*/ 30 w 137"/>
                <a:gd name="T75" fmla="*/ 12 h 137"/>
                <a:gd name="T76" fmla="*/ 41 w 137"/>
                <a:gd name="T77" fmla="*/ 5 h 137"/>
                <a:gd name="T78" fmla="*/ 47 w 137"/>
                <a:gd name="T79" fmla="*/ 3 h 137"/>
                <a:gd name="T80" fmla="*/ 54 w 137"/>
                <a:gd name="T81" fmla="*/ 1 h 137"/>
                <a:gd name="T82" fmla="*/ 60 w 137"/>
                <a:gd name="T83" fmla="*/ 0 h 137"/>
                <a:gd name="T84" fmla="*/ 68 w 137"/>
                <a:gd name="T85" fmla="*/ 0 h 137"/>
                <a:gd name="T86" fmla="*/ 74 w 137"/>
                <a:gd name="T87" fmla="*/ 0 h 137"/>
                <a:gd name="T88" fmla="*/ 81 w 137"/>
                <a:gd name="T89" fmla="*/ 1 h 137"/>
                <a:gd name="T90" fmla="*/ 81 w 137"/>
                <a:gd name="T91" fmla="*/ 1 h 137"/>
                <a:gd name="T92" fmla="*/ 88 w 137"/>
                <a:gd name="T93" fmla="*/ 3 h 137"/>
                <a:gd name="T94" fmla="*/ 95 w 137"/>
                <a:gd name="T95" fmla="*/ 5 h 137"/>
                <a:gd name="T96" fmla="*/ 100 w 137"/>
                <a:gd name="T97" fmla="*/ 7 h 137"/>
                <a:gd name="T98" fmla="*/ 106 w 137"/>
                <a:gd name="T99" fmla="*/ 12 h 137"/>
                <a:gd name="T100" fmla="*/ 112 w 137"/>
                <a:gd name="T101" fmla="*/ 15 h 137"/>
                <a:gd name="T102" fmla="*/ 116 w 137"/>
                <a:gd name="T103" fmla="*/ 19 h 137"/>
                <a:gd name="T104" fmla="*/ 125 w 137"/>
                <a:gd name="T105" fmla="*/ 30 h 137"/>
                <a:gd name="T106" fmla="*/ 131 w 137"/>
                <a:gd name="T107" fmla="*/ 41 h 137"/>
                <a:gd name="T108" fmla="*/ 133 w 137"/>
                <a:gd name="T109" fmla="*/ 47 h 137"/>
                <a:gd name="T110" fmla="*/ 136 w 137"/>
                <a:gd name="T111" fmla="*/ 54 h 137"/>
                <a:gd name="T112" fmla="*/ 137 w 137"/>
                <a:gd name="T113" fmla="*/ 60 h 137"/>
                <a:gd name="T114" fmla="*/ 137 w 137"/>
                <a:gd name="T115" fmla="*/ 68 h 137"/>
                <a:gd name="T116" fmla="*/ 137 w 137"/>
                <a:gd name="T117" fmla="*/ 74 h 137"/>
                <a:gd name="T118" fmla="*/ 136 w 137"/>
                <a:gd name="T119" fmla="*/ 81 h 137"/>
                <a:gd name="T120" fmla="*/ 136 w 137"/>
                <a:gd name="T121" fmla="*/ 8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7" h="137">
                  <a:moveTo>
                    <a:pt x="136" y="81"/>
                  </a:moveTo>
                  <a:lnTo>
                    <a:pt x="136" y="81"/>
                  </a:lnTo>
                  <a:lnTo>
                    <a:pt x="133" y="88"/>
                  </a:lnTo>
                  <a:lnTo>
                    <a:pt x="131" y="95"/>
                  </a:lnTo>
                  <a:lnTo>
                    <a:pt x="128" y="100"/>
                  </a:lnTo>
                  <a:lnTo>
                    <a:pt x="125" y="107"/>
                  </a:lnTo>
                  <a:lnTo>
                    <a:pt x="122" y="112"/>
                  </a:lnTo>
                  <a:lnTo>
                    <a:pt x="116" y="116"/>
                  </a:lnTo>
                  <a:lnTo>
                    <a:pt x="106" y="125"/>
                  </a:lnTo>
                  <a:lnTo>
                    <a:pt x="95" y="132"/>
                  </a:lnTo>
                  <a:lnTo>
                    <a:pt x="89" y="134"/>
                  </a:lnTo>
                  <a:lnTo>
                    <a:pt x="83" y="136"/>
                  </a:lnTo>
                  <a:lnTo>
                    <a:pt x="75" y="137"/>
                  </a:lnTo>
                  <a:lnTo>
                    <a:pt x="69" y="137"/>
                  </a:lnTo>
                  <a:lnTo>
                    <a:pt x="62" y="137"/>
                  </a:lnTo>
                  <a:lnTo>
                    <a:pt x="55" y="136"/>
                  </a:lnTo>
                  <a:lnTo>
                    <a:pt x="55" y="136"/>
                  </a:lnTo>
                  <a:lnTo>
                    <a:pt x="48" y="134"/>
                  </a:lnTo>
                  <a:lnTo>
                    <a:pt x="42" y="132"/>
                  </a:lnTo>
                  <a:lnTo>
                    <a:pt x="35" y="129"/>
                  </a:lnTo>
                  <a:lnTo>
                    <a:pt x="30" y="125"/>
                  </a:lnTo>
                  <a:lnTo>
                    <a:pt x="24" y="122"/>
                  </a:lnTo>
                  <a:lnTo>
                    <a:pt x="20" y="118"/>
                  </a:lnTo>
                  <a:lnTo>
                    <a:pt x="11" y="107"/>
                  </a:lnTo>
                  <a:lnTo>
                    <a:pt x="5" y="95"/>
                  </a:lnTo>
                  <a:lnTo>
                    <a:pt x="3" y="89"/>
                  </a:lnTo>
                  <a:lnTo>
                    <a:pt x="1" y="83"/>
                  </a:lnTo>
                  <a:lnTo>
                    <a:pt x="0" y="76"/>
                  </a:lnTo>
                  <a:lnTo>
                    <a:pt x="0" y="69"/>
                  </a:lnTo>
                  <a:lnTo>
                    <a:pt x="0" y="62"/>
                  </a:lnTo>
                  <a:lnTo>
                    <a:pt x="1" y="55"/>
                  </a:lnTo>
                  <a:lnTo>
                    <a:pt x="1" y="55"/>
                  </a:lnTo>
                  <a:lnTo>
                    <a:pt x="2" y="48"/>
                  </a:lnTo>
                  <a:lnTo>
                    <a:pt x="5" y="42"/>
                  </a:lnTo>
                  <a:lnTo>
                    <a:pt x="7" y="35"/>
                  </a:lnTo>
                  <a:lnTo>
                    <a:pt x="11" y="30"/>
                  </a:lnTo>
                  <a:lnTo>
                    <a:pt x="19" y="20"/>
                  </a:lnTo>
                  <a:lnTo>
                    <a:pt x="30" y="12"/>
                  </a:lnTo>
                  <a:lnTo>
                    <a:pt x="41" y="5"/>
                  </a:lnTo>
                  <a:lnTo>
                    <a:pt x="47" y="3"/>
                  </a:lnTo>
                  <a:lnTo>
                    <a:pt x="54" y="1"/>
                  </a:lnTo>
                  <a:lnTo>
                    <a:pt x="60" y="0"/>
                  </a:lnTo>
                  <a:lnTo>
                    <a:pt x="68" y="0"/>
                  </a:lnTo>
                  <a:lnTo>
                    <a:pt x="74" y="0"/>
                  </a:lnTo>
                  <a:lnTo>
                    <a:pt x="81" y="1"/>
                  </a:lnTo>
                  <a:lnTo>
                    <a:pt x="81" y="1"/>
                  </a:lnTo>
                  <a:lnTo>
                    <a:pt x="88" y="3"/>
                  </a:lnTo>
                  <a:lnTo>
                    <a:pt x="95" y="5"/>
                  </a:lnTo>
                  <a:lnTo>
                    <a:pt x="100" y="7"/>
                  </a:lnTo>
                  <a:lnTo>
                    <a:pt x="106" y="12"/>
                  </a:lnTo>
                  <a:lnTo>
                    <a:pt x="112" y="15"/>
                  </a:lnTo>
                  <a:lnTo>
                    <a:pt x="116" y="19"/>
                  </a:lnTo>
                  <a:lnTo>
                    <a:pt x="125" y="30"/>
                  </a:lnTo>
                  <a:lnTo>
                    <a:pt x="131" y="41"/>
                  </a:lnTo>
                  <a:lnTo>
                    <a:pt x="133" y="47"/>
                  </a:lnTo>
                  <a:lnTo>
                    <a:pt x="136" y="54"/>
                  </a:lnTo>
                  <a:lnTo>
                    <a:pt x="137" y="60"/>
                  </a:lnTo>
                  <a:lnTo>
                    <a:pt x="137" y="68"/>
                  </a:lnTo>
                  <a:lnTo>
                    <a:pt x="137" y="74"/>
                  </a:lnTo>
                  <a:lnTo>
                    <a:pt x="136" y="81"/>
                  </a:lnTo>
                  <a:lnTo>
                    <a:pt x="136" y="81"/>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12" name="Freeform 511"/>
            <p:cNvSpPr>
              <a:spLocks/>
            </p:cNvSpPr>
            <p:nvPr/>
          </p:nvSpPr>
          <p:spPr bwMode="auto">
            <a:xfrm>
              <a:off x="6804631" y="3197771"/>
              <a:ext cx="60209" cy="59052"/>
            </a:xfrm>
            <a:custGeom>
              <a:avLst/>
              <a:gdLst>
                <a:gd name="T0" fmla="*/ 136 w 137"/>
                <a:gd name="T1" fmla="*/ 82 h 137"/>
                <a:gd name="T2" fmla="*/ 136 w 137"/>
                <a:gd name="T3" fmla="*/ 82 h 137"/>
                <a:gd name="T4" fmla="*/ 134 w 137"/>
                <a:gd name="T5" fmla="*/ 88 h 137"/>
                <a:gd name="T6" fmla="*/ 132 w 137"/>
                <a:gd name="T7" fmla="*/ 95 h 137"/>
                <a:gd name="T8" fmla="*/ 128 w 137"/>
                <a:gd name="T9" fmla="*/ 101 h 137"/>
                <a:gd name="T10" fmla="*/ 125 w 137"/>
                <a:gd name="T11" fmla="*/ 107 h 137"/>
                <a:gd name="T12" fmla="*/ 121 w 137"/>
                <a:gd name="T13" fmla="*/ 112 h 137"/>
                <a:gd name="T14" fmla="*/ 117 w 137"/>
                <a:gd name="T15" fmla="*/ 117 h 137"/>
                <a:gd name="T16" fmla="*/ 107 w 137"/>
                <a:gd name="T17" fmla="*/ 126 h 137"/>
                <a:gd name="T18" fmla="*/ 95 w 137"/>
                <a:gd name="T19" fmla="*/ 131 h 137"/>
                <a:gd name="T20" fmla="*/ 89 w 137"/>
                <a:gd name="T21" fmla="*/ 134 h 137"/>
                <a:gd name="T22" fmla="*/ 82 w 137"/>
                <a:gd name="T23" fmla="*/ 136 h 137"/>
                <a:gd name="T24" fmla="*/ 76 w 137"/>
                <a:gd name="T25" fmla="*/ 137 h 137"/>
                <a:gd name="T26" fmla="*/ 69 w 137"/>
                <a:gd name="T27" fmla="*/ 137 h 137"/>
                <a:gd name="T28" fmla="*/ 63 w 137"/>
                <a:gd name="T29" fmla="*/ 137 h 137"/>
                <a:gd name="T30" fmla="*/ 55 w 137"/>
                <a:gd name="T31" fmla="*/ 136 h 137"/>
                <a:gd name="T32" fmla="*/ 55 w 137"/>
                <a:gd name="T33" fmla="*/ 136 h 137"/>
                <a:gd name="T34" fmla="*/ 49 w 137"/>
                <a:gd name="T35" fmla="*/ 135 h 137"/>
                <a:gd name="T36" fmla="*/ 42 w 137"/>
                <a:gd name="T37" fmla="*/ 132 h 137"/>
                <a:gd name="T38" fmla="*/ 36 w 137"/>
                <a:gd name="T39" fmla="*/ 129 h 137"/>
                <a:gd name="T40" fmla="*/ 30 w 137"/>
                <a:gd name="T41" fmla="*/ 126 h 137"/>
                <a:gd name="T42" fmla="*/ 25 w 137"/>
                <a:gd name="T43" fmla="*/ 122 h 137"/>
                <a:gd name="T44" fmla="*/ 19 w 137"/>
                <a:gd name="T45" fmla="*/ 117 h 137"/>
                <a:gd name="T46" fmla="*/ 12 w 137"/>
                <a:gd name="T47" fmla="*/ 108 h 137"/>
                <a:gd name="T48" fmla="*/ 5 w 137"/>
                <a:gd name="T49" fmla="*/ 96 h 137"/>
                <a:gd name="T50" fmla="*/ 1 w 137"/>
                <a:gd name="T51" fmla="*/ 83 h 137"/>
                <a:gd name="T52" fmla="*/ 0 w 137"/>
                <a:gd name="T53" fmla="*/ 76 h 137"/>
                <a:gd name="T54" fmla="*/ 0 w 137"/>
                <a:gd name="T55" fmla="*/ 70 h 137"/>
                <a:gd name="T56" fmla="*/ 0 w 137"/>
                <a:gd name="T57" fmla="*/ 62 h 137"/>
                <a:gd name="T58" fmla="*/ 1 w 137"/>
                <a:gd name="T59" fmla="*/ 56 h 137"/>
                <a:gd name="T60" fmla="*/ 1 w 137"/>
                <a:gd name="T61" fmla="*/ 56 h 137"/>
                <a:gd name="T62" fmla="*/ 2 w 137"/>
                <a:gd name="T63" fmla="*/ 49 h 137"/>
                <a:gd name="T64" fmla="*/ 4 w 137"/>
                <a:gd name="T65" fmla="*/ 43 h 137"/>
                <a:gd name="T66" fmla="*/ 8 w 137"/>
                <a:gd name="T67" fmla="*/ 36 h 137"/>
                <a:gd name="T68" fmla="*/ 11 w 137"/>
                <a:gd name="T69" fmla="*/ 30 h 137"/>
                <a:gd name="T70" fmla="*/ 15 w 137"/>
                <a:gd name="T71" fmla="*/ 26 h 137"/>
                <a:gd name="T72" fmla="*/ 19 w 137"/>
                <a:gd name="T73" fmla="*/ 20 h 137"/>
                <a:gd name="T74" fmla="*/ 29 w 137"/>
                <a:gd name="T75" fmla="*/ 11 h 137"/>
                <a:gd name="T76" fmla="*/ 41 w 137"/>
                <a:gd name="T77" fmla="*/ 5 h 137"/>
                <a:gd name="T78" fmla="*/ 47 w 137"/>
                <a:gd name="T79" fmla="*/ 3 h 137"/>
                <a:gd name="T80" fmla="*/ 54 w 137"/>
                <a:gd name="T81" fmla="*/ 2 h 137"/>
                <a:gd name="T82" fmla="*/ 60 w 137"/>
                <a:gd name="T83" fmla="*/ 1 h 137"/>
                <a:gd name="T84" fmla="*/ 67 w 137"/>
                <a:gd name="T85" fmla="*/ 0 h 137"/>
                <a:gd name="T86" fmla="*/ 74 w 137"/>
                <a:gd name="T87" fmla="*/ 1 h 137"/>
                <a:gd name="T88" fmla="*/ 81 w 137"/>
                <a:gd name="T89" fmla="*/ 1 h 137"/>
                <a:gd name="T90" fmla="*/ 81 w 137"/>
                <a:gd name="T91" fmla="*/ 1 h 137"/>
                <a:gd name="T92" fmla="*/ 87 w 137"/>
                <a:gd name="T93" fmla="*/ 3 h 137"/>
                <a:gd name="T94" fmla="*/ 94 w 137"/>
                <a:gd name="T95" fmla="*/ 5 h 137"/>
                <a:gd name="T96" fmla="*/ 100 w 137"/>
                <a:gd name="T97" fmla="*/ 8 h 137"/>
                <a:gd name="T98" fmla="*/ 107 w 137"/>
                <a:gd name="T99" fmla="*/ 11 h 137"/>
                <a:gd name="T100" fmla="*/ 111 w 137"/>
                <a:gd name="T101" fmla="*/ 16 h 137"/>
                <a:gd name="T102" fmla="*/ 117 w 137"/>
                <a:gd name="T103" fmla="*/ 20 h 137"/>
                <a:gd name="T104" fmla="*/ 125 w 137"/>
                <a:gd name="T105" fmla="*/ 30 h 137"/>
                <a:gd name="T106" fmla="*/ 132 w 137"/>
                <a:gd name="T107" fmla="*/ 42 h 137"/>
                <a:gd name="T108" fmla="*/ 134 w 137"/>
                <a:gd name="T109" fmla="*/ 48 h 137"/>
                <a:gd name="T110" fmla="*/ 135 w 137"/>
                <a:gd name="T111" fmla="*/ 55 h 137"/>
                <a:gd name="T112" fmla="*/ 136 w 137"/>
                <a:gd name="T113" fmla="*/ 61 h 137"/>
                <a:gd name="T114" fmla="*/ 137 w 137"/>
                <a:gd name="T115" fmla="*/ 68 h 137"/>
                <a:gd name="T116" fmla="*/ 137 w 137"/>
                <a:gd name="T117" fmla="*/ 74 h 137"/>
                <a:gd name="T118" fmla="*/ 136 w 137"/>
                <a:gd name="T119" fmla="*/ 82 h 137"/>
                <a:gd name="T120" fmla="*/ 136 w 137"/>
                <a:gd name="T121" fmla="*/ 8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7" h="137">
                  <a:moveTo>
                    <a:pt x="136" y="82"/>
                  </a:moveTo>
                  <a:lnTo>
                    <a:pt x="136" y="82"/>
                  </a:lnTo>
                  <a:lnTo>
                    <a:pt x="134" y="88"/>
                  </a:lnTo>
                  <a:lnTo>
                    <a:pt x="132" y="95"/>
                  </a:lnTo>
                  <a:lnTo>
                    <a:pt x="128" y="101"/>
                  </a:lnTo>
                  <a:lnTo>
                    <a:pt x="125" y="107"/>
                  </a:lnTo>
                  <a:lnTo>
                    <a:pt x="121" y="112"/>
                  </a:lnTo>
                  <a:lnTo>
                    <a:pt x="117" y="117"/>
                  </a:lnTo>
                  <a:lnTo>
                    <a:pt x="107" y="126"/>
                  </a:lnTo>
                  <a:lnTo>
                    <a:pt x="95" y="131"/>
                  </a:lnTo>
                  <a:lnTo>
                    <a:pt x="89" y="134"/>
                  </a:lnTo>
                  <a:lnTo>
                    <a:pt x="82" y="136"/>
                  </a:lnTo>
                  <a:lnTo>
                    <a:pt x="76" y="137"/>
                  </a:lnTo>
                  <a:lnTo>
                    <a:pt x="69" y="137"/>
                  </a:lnTo>
                  <a:lnTo>
                    <a:pt x="63" y="137"/>
                  </a:lnTo>
                  <a:lnTo>
                    <a:pt x="55" y="136"/>
                  </a:lnTo>
                  <a:lnTo>
                    <a:pt x="55" y="136"/>
                  </a:lnTo>
                  <a:lnTo>
                    <a:pt x="49" y="135"/>
                  </a:lnTo>
                  <a:lnTo>
                    <a:pt x="42" y="132"/>
                  </a:lnTo>
                  <a:lnTo>
                    <a:pt x="36" y="129"/>
                  </a:lnTo>
                  <a:lnTo>
                    <a:pt x="30" y="126"/>
                  </a:lnTo>
                  <a:lnTo>
                    <a:pt x="25" y="122"/>
                  </a:lnTo>
                  <a:lnTo>
                    <a:pt x="19" y="117"/>
                  </a:lnTo>
                  <a:lnTo>
                    <a:pt x="12" y="108"/>
                  </a:lnTo>
                  <a:lnTo>
                    <a:pt x="5" y="96"/>
                  </a:lnTo>
                  <a:lnTo>
                    <a:pt x="1" y="83"/>
                  </a:lnTo>
                  <a:lnTo>
                    <a:pt x="0" y="76"/>
                  </a:lnTo>
                  <a:lnTo>
                    <a:pt x="0" y="70"/>
                  </a:lnTo>
                  <a:lnTo>
                    <a:pt x="0" y="62"/>
                  </a:lnTo>
                  <a:lnTo>
                    <a:pt x="1" y="56"/>
                  </a:lnTo>
                  <a:lnTo>
                    <a:pt x="1" y="56"/>
                  </a:lnTo>
                  <a:lnTo>
                    <a:pt x="2" y="49"/>
                  </a:lnTo>
                  <a:lnTo>
                    <a:pt x="4" y="43"/>
                  </a:lnTo>
                  <a:lnTo>
                    <a:pt x="8" y="36"/>
                  </a:lnTo>
                  <a:lnTo>
                    <a:pt x="11" y="30"/>
                  </a:lnTo>
                  <a:lnTo>
                    <a:pt x="15" y="26"/>
                  </a:lnTo>
                  <a:lnTo>
                    <a:pt x="19" y="20"/>
                  </a:lnTo>
                  <a:lnTo>
                    <a:pt x="29" y="11"/>
                  </a:lnTo>
                  <a:lnTo>
                    <a:pt x="41" y="5"/>
                  </a:lnTo>
                  <a:lnTo>
                    <a:pt x="47" y="3"/>
                  </a:lnTo>
                  <a:lnTo>
                    <a:pt x="54" y="2"/>
                  </a:lnTo>
                  <a:lnTo>
                    <a:pt x="60" y="1"/>
                  </a:lnTo>
                  <a:lnTo>
                    <a:pt x="67" y="0"/>
                  </a:lnTo>
                  <a:lnTo>
                    <a:pt x="74" y="1"/>
                  </a:lnTo>
                  <a:lnTo>
                    <a:pt x="81" y="1"/>
                  </a:lnTo>
                  <a:lnTo>
                    <a:pt x="81" y="1"/>
                  </a:lnTo>
                  <a:lnTo>
                    <a:pt x="87" y="3"/>
                  </a:lnTo>
                  <a:lnTo>
                    <a:pt x="94" y="5"/>
                  </a:lnTo>
                  <a:lnTo>
                    <a:pt x="100" y="8"/>
                  </a:lnTo>
                  <a:lnTo>
                    <a:pt x="107" y="11"/>
                  </a:lnTo>
                  <a:lnTo>
                    <a:pt x="111" y="16"/>
                  </a:lnTo>
                  <a:lnTo>
                    <a:pt x="117" y="20"/>
                  </a:lnTo>
                  <a:lnTo>
                    <a:pt x="125" y="30"/>
                  </a:lnTo>
                  <a:lnTo>
                    <a:pt x="132" y="42"/>
                  </a:lnTo>
                  <a:lnTo>
                    <a:pt x="134" y="48"/>
                  </a:lnTo>
                  <a:lnTo>
                    <a:pt x="135" y="55"/>
                  </a:lnTo>
                  <a:lnTo>
                    <a:pt x="136" y="61"/>
                  </a:lnTo>
                  <a:lnTo>
                    <a:pt x="137" y="68"/>
                  </a:lnTo>
                  <a:lnTo>
                    <a:pt x="137" y="74"/>
                  </a:lnTo>
                  <a:lnTo>
                    <a:pt x="136" y="82"/>
                  </a:lnTo>
                  <a:lnTo>
                    <a:pt x="136" y="82"/>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13" name="Freeform 512"/>
            <p:cNvSpPr>
              <a:spLocks/>
            </p:cNvSpPr>
            <p:nvPr/>
          </p:nvSpPr>
          <p:spPr bwMode="auto">
            <a:xfrm>
              <a:off x="6465742" y="2725349"/>
              <a:ext cx="158264" cy="450489"/>
            </a:xfrm>
            <a:custGeom>
              <a:avLst/>
              <a:gdLst>
                <a:gd name="T0" fmla="*/ 367 w 367"/>
                <a:gd name="T1" fmla="*/ 32 h 1067"/>
                <a:gd name="T2" fmla="*/ 198 w 367"/>
                <a:gd name="T3" fmla="*/ 0 h 1067"/>
                <a:gd name="T4" fmla="*/ 0 w 367"/>
                <a:gd name="T5" fmla="*/ 1033 h 1067"/>
                <a:gd name="T6" fmla="*/ 168 w 367"/>
                <a:gd name="T7" fmla="*/ 1067 h 1067"/>
                <a:gd name="T8" fmla="*/ 367 w 367"/>
                <a:gd name="T9" fmla="*/ 32 h 1067"/>
              </a:gdLst>
              <a:ahLst/>
              <a:cxnLst>
                <a:cxn ang="0">
                  <a:pos x="T0" y="T1"/>
                </a:cxn>
                <a:cxn ang="0">
                  <a:pos x="T2" y="T3"/>
                </a:cxn>
                <a:cxn ang="0">
                  <a:pos x="T4" y="T5"/>
                </a:cxn>
                <a:cxn ang="0">
                  <a:pos x="T6" y="T7"/>
                </a:cxn>
                <a:cxn ang="0">
                  <a:pos x="T8" y="T9"/>
                </a:cxn>
              </a:cxnLst>
              <a:rect l="0" t="0" r="r" b="b"/>
              <a:pathLst>
                <a:path w="367" h="1067">
                  <a:moveTo>
                    <a:pt x="367" y="32"/>
                  </a:moveTo>
                  <a:lnTo>
                    <a:pt x="198" y="0"/>
                  </a:lnTo>
                  <a:lnTo>
                    <a:pt x="0" y="1033"/>
                  </a:lnTo>
                  <a:lnTo>
                    <a:pt x="168" y="1067"/>
                  </a:lnTo>
                  <a:lnTo>
                    <a:pt x="367" y="32"/>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14" name="Freeform 513"/>
            <p:cNvSpPr>
              <a:spLocks/>
            </p:cNvSpPr>
            <p:nvPr/>
          </p:nvSpPr>
          <p:spPr bwMode="auto">
            <a:xfrm>
              <a:off x="6562076" y="2743908"/>
              <a:ext cx="158264" cy="448801"/>
            </a:xfrm>
            <a:custGeom>
              <a:avLst/>
              <a:gdLst>
                <a:gd name="T0" fmla="*/ 367 w 367"/>
                <a:gd name="T1" fmla="*/ 32 h 1066"/>
                <a:gd name="T2" fmla="*/ 198 w 367"/>
                <a:gd name="T3" fmla="*/ 0 h 1066"/>
                <a:gd name="T4" fmla="*/ 0 w 367"/>
                <a:gd name="T5" fmla="*/ 1033 h 1066"/>
                <a:gd name="T6" fmla="*/ 169 w 367"/>
                <a:gd name="T7" fmla="*/ 1066 h 1066"/>
                <a:gd name="T8" fmla="*/ 367 w 367"/>
                <a:gd name="T9" fmla="*/ 32 h 1066"/>
              </a:gdLst>
              <a:ahLst/>
              <a:cxnLst>
                <a:cxn ang="0">
                  <a:pos x="T0" y="T1"/>
                </a:cxn>
                <a:cxn ang="0">
                  <a:pos x="T2" y="T3"/>
                </a:cxn>
                <a:cxn ang="0">
                  <a:pos x="T4" y="T5"/>
                </a:cxn>
                <a:cxn ang="0">
                  <a:pos x="T6" y="T7"/>
                </a:cxn>
                <a:cxn ang="0">
                  <a:pos x="T8" y="T9"/>
                </a:cxn>
              </a:cxnLst>
              <a:rect l="0" t="0" r="r" b="b"/>
              <a:pathLst>
                <a:path w="367" h="1066">
                  <a:moveTo>
                    <a:pt x="367" y="32"/>
                  </a:moveTo>
                  <a:lnTo>
                    <a:pt x="198" y="0"/>
                  </a:lnTo>
                  <a:lnTo>
                    <a:pt x="0" y="1033"/>
                  </a:lnTo>
                  <a:lnTo>
                    <a:pt x="169" y="1066"/>
                  </a:lnTo>
                  <a:lnTo>
                    <a:pt x="367" y="32"/>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15" name="Freeform 514"/>
            <p:cNvSpPr>
              <a:spLocks/>
            </p:cNvSpPr>
            <p:nvPr/>
          </p:nvSpPr>
          <p:spPr bwMode="auto">
            <a:xfrm>
              <a:off x="5725610" y="1154840"/>
              <a:ext cx="1302233" cy="818302"/>
            </a:xfrm>
            <a:custGeom>
              <a:avLst/>
              <a:gdLst>
                <a:gd name="T0" fmla="*/ 2950 w 3030"/>
                <a:gd name="T1" fmla="*/ 536 h 1939"/>
                <a:gd name="T2" fmla="*/ 2950 w 3030"/>
                <a:gd name="T3" fmla="*/ 536 h 1939"/>
                <a:gd name="T4" fmla="*/ 2964 w 3030"/>
                <a:gd name="T5" fmla="*/ 529 h 1939"/>
                <a:gd name="T6" fmla="*/ 2976 w 3030"/>
                <a:gd name="T7" fmla="*/ 519 h 1939"/>
                <a:gd name="T8" fmla="*/ 2987 w 3030"/>
                <a:gd name="T9" fmla="*/ 508 h 1939"/>
                <a:gd name="T10" fmla="*/ 2997 w 3030"/>
                <a:gd name="T11" fmla="*/ 497 h 1939"/>
                <a:gd name="T12" fmla="*/ 3006 w 3030"/>
                <a:gd name="T13" fmla="*/ 484 h 1939"/>
                <a:gd name="T14" fmla="*/ 3013 w 3030"/>
                <a:gd name="T15" fmla="*/ 471 h 1939"/>
                <a:gd name="T16" fmla="*/ 3020 w 3030"/>
                <a:gd name="T17" fmla="*/ 457 h 1939"/>
                <a:gd name="T18" fmla="*/ 3024 w 3030"/>
                <a:gd name="T19" fmla="*/ 442 h 1939"/>
                <a:gd name="T20" fmla="*/ 3027 w 3030"/>
                <a:gd name="T21" fmla="*/ 427 h 1939"/>
                <a:gd name="T22" fmla="*/ 3030 w 3030"/>
                <a:gd name="T23" fmla="*/ 412 h 1939"/>
                <a:gd name="T24" fmla="*/ 3030 w 3030"/>
                <a:gd name="T25" fmla="*/ 397 h 1939"/>
                <a:gd name="T26" fmla="*/ 3028 w 3030"/>
                <a:gd name="T27" fmla="*/ 381 h 1939"/>
                <a:gd name="T28" fmla="*/ 3026 w 3030"/>
                <a:gd name="T29" fmla="*/ 364 h 1939"/>
                <a:gd name="T30" fmla="*/ 3022 w 3030"/>
                <a:gd name="T31" fmla="*/ 348 h 1939"/>
                <a:gd name="T32" fmla="*/ 3017 w 3030"/>
                <a:gd name="T33" fmla="*/ 333 h 1939"/>
                <a:gd name="T34" fmla="*/ 3009 w 3030"/>
                <a:gd name="T35" fmla="*/ 318 h 1939"/>
                <a:gd name="T36" fmla="*/ 2890 w 3030"/>
                <a:gd name="T37" fmla="*/ 92 h 1939"/>
                <a:gd name="T38" fmla="*/ 2890 w 3030"/>
                <a:gd name="T39" fmla="*/ 92 h 1939"/>
                <a:gd name="T40" fmla="*/ 2882 w 3030"/>
                <a:gd name="T41" fmla="*/ 77 h 1939"/>
                <a:gd name="T42" fmla="*/ 2872 w 3030"/>
                <a:gd name="T43" fmla="*/ 64 h 1939"/>
                <a:gd name="T44" fmla="*/ 2861 w 3030"/>
                <a:gd name="T45" fmla="*/ 51 h 1939"/>
                <a:gd name="T46" fmla="*/ 2849 w 3030"/>
                <a:gd name="T47" fmla="*/ 40 h 1939"/>
                <a:gd name="T48" fmla="*/ 2837 w 3030"/>
                <a:gd name="T49" fmla="*/ 31 h 1939"/>
                <a:gd name="T50" fmla="*/ 2824 w 3030"/>
                <a:gd name="T51" fmla="*/ 22 h 1939"/>
                <a:gd name="T52" fmla="*/ 2810 w 3030"/>
                <a:gd name="T53" fmla="*/ 16 h 1939"/>
                <a:gd name="T54" fmla="*/ 2796 w 3030"/>
                <a:gd name="T55" fmla="*/ 9 h 1939"/>
                <a:gd name="T56" fmla="*/ 2781 w 3030"/>
                <a:gd name="T57" fmla="*/ 5 h 1939"/>
                <a:gd name="T58" fmla="*/ 2766 w 3030"/>
                <a:gd name="T59" fmla="*/ 3 h 1939"/>
                <a:gd name="T60" fmla="*/ 2751 w 3030"/>
                <a:gd name="T61" fmla="*/ 0 h 1939"/>
                <a:gd name="T62" fmla="*/ 2736 w 3030"/>
                <a:gd name="T63" fmla="*/ 0 h 1939"/>
                <a:gd name="T64" fmla="*/ 2721 w 3030"/>
                <a:gd name="T65" fmla="*/ 3 h 1939"/>
                <a:gd name="T66" fmla="*/ 2706 w 3030"/>
                <a:gd name="T67" fmla="*/ 6 h 1939"/>
                <a:gd name="T68" fmla="*/ 2690 w 3030"/>
                <a:gd name="T69" fmla="*/ 11 h 1939"/>
                <a:gd name="T70" fmla="*/ 2676 w 3030"/>
                <a:gd name="T71" fmla="*/ 18 h 1939"/>
                <a:gd name="T72" fmla="*/ 0 w 3030"/>
                <a:gd name="T73" fmla="*/ 1420 h 1939"/>
                <a:gd name="T74" fmla="*/ 273 w 3030"/>
                <a:gd name="T75" fmla="*/ 1939 h 1939"/>
                <a:gd name="T76" fmla="*/ 2950 w 3030"/>
                <a:gd name="T77" fmla="*/ 536 h 1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30" h="1939">
                  <a:moveTo>
                    <a:pt x="2950" y="536"/>
                  </a:moveTo>
                  <a:lnTo>
                    <a:pt x="2950" y="536"/>
                  </a:lnTo>
                  <a:lnTo>
                    <a:pt x="2964" y="529"/>
                  </a:lnTo>
                  <a:lnTo>
                    <a:pt x="2976" y="519"/>
                  </a:lnTo>
                  <a:lnTo>
                    <a:pt x="2987" y="508"/>
                  </a:lnTo>
                  <a:lnTo>
                    <a:pt x="2997" y="497"/>
                  </a:lnTo>
                  <a:lnTo>
                    <a:pt x="3006" y="484"/>
                  </a:lnTo>
                  <a:lnTo>
                    <a:pt x="3013" y="471"/>
                  </a:lnTo>
                  <a:lnTo>
                    <a:pt x="3020" y="457"/>
                  </a:lnTo>
                  <a:lnTo>
                    <a:pt x="3024" y="442"/>
                  </a:lnTo>
                  <a:lnTo>
                    <a:pt x="3027" y="427"/>
                  </a:lnTo>
                  <a:lnTo>
                    <a:pt x="3030" y="412"/>
                  </a:lnTo>
                  <a:lnTo>
                    <a:pt x="3030" y="397"/>
                  </a:lnTo>
                  <a:lnTo>
                    <a:pt x="3028" y="381"/>
                  </a:lnTo>
                  <a:lnTo>
                    <a:pt x="3026" y="364"/>
                  </a:lnTo>
                  <a:lnTo>
                    <a:pt x="3022" y="348"/>
                  </a:lnTo>
                  <a:lnTo>
                    <a:pt x="3017" y="333"/>
                  </a:lnTo>
                  <a:lnTo>
                    <a:pt x="3009" y="318"/>
                  </a:lnTo>
                  <a:lnTo>
                    <a:pt x="2890" y="92"/>
                  </a:lnTo>
                  <a:lnTo>
                    <a:pt x="2890" y="92"/>
                  </a:lnTo>
                  <a:lnTo>
                    <a:pt x="2882" y="77"/>
                  </a:lnTo>
                  <a:lnTo>
                    <a:pt x="2872" y="64"/>
                  </a:lnTo>
                  <a:lnTo>
                    <a:pt x="2861" y="51"/>
                  </a:lnTo>
                  <a:lnTo>
                    <a:pt x="2849" y="40"/>
                  </a:lnTo>
                  <a:lnTo>
                    <a:pt x="2837" y="31"/>
                  </a:lnTo>
                  <a:lnTo>
                    <a:pt x="2824" y="22"/>
                  </a:lnTo>
                  <a:lnTo>
                    <a:pt x="2810" y="16"/>
                  </a:lnTo>
                  <a:lnTo>
                    <a:pt x="2796" y="9"/>
                  </a:lnTo>
                  <a:lnTo>
                    <a:pt x="2781" y="5"/>
                  </a:lnTo>
                  <a:lnTo>
                    <a:pt x="2766" y="3"/>
                  </a:lnTo>
                  <a:lnTo>
                    <a:pt x="2751" y="0"/>
                  </a:lnTo>
                  <a:lnTo>
                    <a:pt x="2736" y="0"/>
                  </a:lnTo>
                  <a:lnTo>
                    <a:pt x="2721" y="3"/>
                  </a:lnTo>
                  <a:lnTo>
                    <a:pt x="2706" y="6"/>
                  </a:lnTo>
                  <a:lnTo>
                    <a:pt x="2690" y="11"/>
                  </a:lnTo>
                  <a:lnTo>
                    <a:pt x="2676" y="18"/>
                  </a:lnTo>
                  <a:lnTo>
                    <a:pt x="0" y="1420"/>
                  </a:lnTo>
                  <a:lnTo>
                    <a:pt x="273" y="1939"/>
                  </a:lnTo>
                  <a:lnTo>
                    <a:pt x="2950" y="536"/>
                  </a:lnTo>
                  <a:close/>
                </a:path>
              </a:pathLst>
            </a:custGeom>
            <a:solidFill>
              <a:srgbClr val="E5E8E8">
                <a:lumMod val="9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16" name="Freeform 515"/>
            <p:cNvSpPr>
              <a:spLocks/>
            </p:cNvSpPr>
            <p:nvPr/>
          </p:nvSpPr>
          <p:spPr bwMode="auto">
            <a:xfrm>
              <a:off x="6883341" y="1170024"/>
              <a:ext cx="129020" cy="197405"/>
            </a:xfrm>
            <a:custGeom>
              <a:avLst/>
              <a:gdLst>
                <a:gd name="T0" fmla="*/ 252 w 301"/>
                <a:gd name="T1" fmla="*/ 389 h 471"/>
                <a:gd name="T2" fmla="*/ 257 w 301"/>
                <a:gd name="T3" fmla="*/ 408 h 471"/>
                <a:gd name="T4" fmla="*/ 256 w 301"/>
                <a:gd name="T5" fmla="*/ 426 h 471"/>
                <a:gd name="T6" fmla="*/ 249 w 301"/>
                <a:gd name="T7" fmla="*/ 443 h 471"/>
                <a:gd name="T8" fmla="*/ 236 w 301"/>
                <a:gd name="T9" fmla="*/ 456 h 471"/>
                <a:gd name="T10" fmla="*/ 244 w 301"/>
                <a:gd name="T11" fmla="*/ 471 h 471"/>
                <a:gd name="T12" fmla="*/ 263 w 301"/>
                <a:gd name="T13" fmla="*/ 454 h 471"/>
                <a:gd name="T14" fmla="*/ 280 w 301"/>
                <a:gd name="T15" fmla="*/ 435 h 471"/>
                <a:gd name="T16" fmla="*/ 290 w 301"/>
                <a:gd name="T17" fmla="*/ 412 h 471"/>
                <a:gd name="T18" fmla="*/ 298 w 301"/>
                <a:gd name="T19" fmla="*/ 387 h 471"/>
                <a:gd name="T20" fmla="*/ 301 w 301"/>
                <a:gd name="T21" fmla="*/ 362 h 471"/>
                <a:gd name="T22" fmla="*/ 300 w 301"/>
                <a:gd name="T23" fmla="*/ 335 h 471"/>
                <a:gd name="T24" fmla="*/ 294 w 301"/>
                <a:gd name="T25" fmla="*/ 309 h 471"/>
                <a:gd name="T26" fmla="*/ 283 w 301"/>
                <a:gd name="T27" fmla="*/ 283 h 471"/>
                <a:gd name="T28" fmla="*/ 177 w 301"/>
                <a:gd name="T29" fmla="*/ 81 h 471"/>
                <a:gd name="T30" fmla="*/ 162 w 301"/>
                <a:gd name="T31" fmla="*/ 59 h 471"/>
                <a:gd name="T32" fmla="*/ 144 w 301"/>
                <a:gd name="T33" fmla="*/ 38 h 471"/>
                <a:gd name="T34" fmla="*/ 122 w 301"/>
                <a:gd name="T35" fmla="*/ 22 h 471"/>
                <a:gd name="T36" fmla="*/ 99 w 301"/>
                <a:gd name="T37" fmla="*/ 10 h 471"/>
                <a:gd name="T38" fmla="*/ 76 w 301"/>
                <a:gd name="T39" fmla="*/ 3 h 471"/>
                <a:gd name="T40" fmla="*/ 51 w 301"/>
                <a:gd name="T41" fmla="*/ 0 h 471"/>
                <a:gd name="T42" fmla="*/ 25 w 301"/>
                <a:gd name="T43" fmla="*/ 2 h 471"/>
                <a:gd name="T44" fmla="*/ 0 w 301"/>
                <a:gd name="T45" fmla="*/ 8 h 471"/>
                <a:gd name="T46" fmla="*/ 15 w 301"/>
                <a:gd name="T47" fmla="*/ 36 h 471"/>
                <a:gd name="T48" fmla="*/ 33 w 301"/>
                <a:gd name="T49" fmla="*/ 33 h 471"/>
                <a:gd name="T50" fmla="*/ 51 w 301"/>
                <a:gd name="T51" fmla="*/ 37 h 471"/>
                <a:gd name="T52" fmla="*/ 67 w 301"/>
                <a:gd name="T53" fmla="*/ 47 h 471"/>
                <a:gd name="T54" fmla="*/ 79 w 301"/>
                <a:gd name="T55" fmla="*/ 62 h 471"/>
                <a:gd name="T56" fmla="*/ 82 w 301"/>
                <a:gd name="T57" fmla="*/ 71 h 471"/>
                <a:gd name="T58" fmla="*/ 85 w 301"/>
                <a:gd name="T59" fmla="*/ 90 h 471"/>
                <a:gd name="T60" fmla="*/ 81 w 301"/>
                <a:gd name="T61" fmla="*/ 107 h 471"/>
                <a:gd name="T62" fmla="*/ 71 w 301"/>
                <a:gd name="T63" fmla="*/ 123 h 471"/>
                <a:gd name="T64" fmla="*/ 73 w 301"/>
                <a:gd name="T65" fmla="*/ 145 h 471"/>
                <a:gd name="T66" fmla="*/ 82 w 301"/>
                <a:gd name="T67" fmla="*/ 143 h 471"/>
                <a:gd name="T68" fmla="*/ 99 w 301"/>
                <a:gd name="T69" fmla="*/ 143 h 471"/>
                <a:gd name="T70" fmla="*/ 117 w 301"/>
                <a:gd name="T71" fmla="*/ 151 h 471"/>
                <a:gd name="T72" fmla="*/ 131 w 301"/>
                <a:gd name="T73" fmla="*/ 162 h 471"/>
                <a:gd name="T74" fmla="*/ 136 w 301"/>
                <a:gd name="T75" fmla="*/ 171 h 471"/>
                <a:gd name="T76" fmla="*/ 142 w 301"/>
                <a:gd name="T77" fmla="*/ 189 h 471"/>
                <a:gd name="T78" fmla="*/ 141 w 301"/>
                <a:gd name="T79" fmla="*/ 208 h 471"/>
                <a:gd name="T80" fmla="*/ 134 w 301"/>
                <a:gd name="T81" fmla="*/ 225 h 471"/>
                <a:gd name="T82" fmla="*/ 121 w 301"/>
                <a:gd name="T83" fmla="*/ 238 h 471"/>
                <a:gd name="T84" fmla="*/ 131 w 301"/>
                <a:gd name="T85" fmla="*/ 255 h 471"/>
                <a:gd name="T86" fmla="*/ 148 w 301"/>
                <a:gd name="T87" fmla="*/ 251 h 471"/>
                <a:gd name="T88" fmla="*/ 166 w 301"/>
                <a:gd name="T89" fmla="*/ 255 h 471"/>
                <a:gd name="T90" fmla="*/ 181 w 301"/>
                <a:gd name="T91" fmla="*/ 265 h 471"/>
                <a:gd name="T92" fmla="*/ 193 w 301"/>
                <a:gd name="T93" fmla="*/ 280 h 471"/>
                <a:gd name="T94" fmla="*/ 198 w 301"/>
                <a:gd name="T95" fmla="*/ 290 h 471"/>
                <a:gd name="T96" fmla="*/ 200 w 301"/>
                <a:gd name="T97" fmla="*/ 308 h 471"/>
                <a:gd name="T98" fmla="*/ 196 w 301"/>
                <a:gd name="T99" fmla="*/ 326 h 471"/>
                <a:gd name="T100" fmla="*/ 186 w 301"/>
                <a:gd name="T101" fmla="*/ 341 h 471"/>
                <a:gd name="T102" fmla="*/ 188 w 301"/>
                <a:gd name="T103" fmla="*/ 364 h 471"/>
                <a:gd name="T104" fmla="*/ 196 w 301"/>
                <a:gd name="T105" fmla="*/ 361 h 471"/>
                <a:gd name="T106" fmla="*/ 215 w 301"/>
                <a:gd name="T107" fmla="*/ 361 h 471"/>
                <a:gd name="T108" fmla="*/ 232 w 301"/>
                <a:gd name="T109" fmla="*/ 369 h 471"/>
                <a:gd name="T110" fmla="*/ 246 w 301"/>
                <a:gd name="T111" fmla="*/ 381 h 471"/>
                <a:gd name="T112" fmla="*/ 252 w 301"/>
                <a:gd name="T113" fmla="*/ 389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1" h="471">
                  <a:moveTo>
                    <a:pt x="252" y="389"/>
                  </a:moveTo>
                  <a:lnTo>
                    <a:pt x="252" y="389"/>
                  </a:lnTo>
                  <a:lnTo>
                    <a:pt x="255" y="399"/>
                  </a:lnTo>
                  <a:lnTo>
                    <a:pt x="257" y="408"/>
                  </a:lnTo>
                  <a:lnTo>
                    <a:pt x="257" y="417"/>
                  </a:lnTo>
                  <a:lnTo>
                    <a:pt x="256" y="426"/>
                  </a:lnTo>
                  <a:lnTo>
                    <a:pt x="254" y="435"/>
                  </a:lnTo>
                  <a:lnTo>
                    <a:pt x="249" y="443"/>
                  </a:lnTo>
                  <a:lnTo>
                    <a:pt x="244" y="450"/>
                  </a:lnTo>
                  <a:lnTo>
                    <a:pt x="236" y="456"/>
                  </a:lnTo>
                  <a:lnTo>
                    <a:pt x="244" y="471"/>
                  </a:lnTo>
                  <a:lnTo>
                    <a:pt x="244" y="471"/>
                  </a:lnTo>
                  <a:lnTo>
                    <a:pt x="255" y="463"/>
                  </a:lnTo>
                  <a:lnTo>
                    <a:pt x="263" y="454"/>
                  </a:lnTo>
                  <a:lnTo>
                    <a:pt x="272" y="444"/>
                  </a:lnTo>
                  <a:lnTo>
                    <a:pt x="280" y="435"/>
                  </a:lnTo>
                  <a:lnTo>
                    <a:pt x="286" y="424"/>
                  </a:lnTo>
                  <a:lnTo>
                    <a:pt x="290" y="412"/>
                  </a:lnTo>
                  <a:lnTo>
                    <a:pt x="295" y="400"/>
                  </a:lnTo>
                  <a:lnTo>
                    <a:pt x="298" y="387"/>
                  </a:lnTo>
                  <a:lnTo>
                    <a:pt x="300" y="375"/>
                  </a:lnTo>
                  <a:lnTo>
                    <a:pt x="301" y="362"/>
                  </a:lnTo>
                  <a:lnTo>
                    <a:pt x="301" y="349"/>
                  </a:lnTo>
                  <a:lnTo>
                    <a:pt x="300" y="335"/>
                  </a:lnTo>
                  <a:lnTo>
                    <a:pt x="298" y="322"/>
                  </a:lnTo>
                  <a:lnTo>
                    <a:pt x="294" y="309"/>
                  </a:lnTo>
                  <a:lnTo>
                    <a:pt x="289" y="296"/>
                  </a:lnTo>
                  <a:lnTo>
                    <a:pt x="283" y="283"/>
                  </a:lnTo>
                  <a:lnTo>
                    <a:pt x="177" y="81"/>
                  </a:lnTo>
                  <a:lnTo>
                    <a:pt x="177" y="81"/>
                  </a:lnTo>
                  <a:lnTo>
                    <a:pt x="169" y="70"/>
                  </a:lnTo>
                  <a:lnTo>
                    <a:pt x="162" y="59"/>
                  </a:lnTo>
                  <a:lnTo>
                    <a:pt x="153" y="48"/>
                  </a:lnTo>
                  <a:lnTo>
                    <a:pt x="144" y="38"/>
                  </a:lnTo>
                  <a:lnTo>
                    <a:pt x="133" y="30"/>
                  </a:lnTo>
                  <a:lnTo>
                    <a:pt x="122" y="22"/>
                  </a:lnTo>
                  <a:lnTo>
                    <a:pt x="111" y="16"/>
                  </a:lnTo>
                  <a:lnTo>
                    <a:pt x="99" y="10"/>
                  </a:lnTo>
                  <a:lnTo>
                    <a:pt x="87" y="6"/>
                  </a:lnTo>
                  <a:lnTo>
                    <a:pt x="76" y="3"/>
                  </a:lnTo>
                  <a:lnTo>
                    <a:pt x="63" y="0"/>
                  </a:lnTo>
                  <a:lnTo>
                    <a:pt x="51" y="0"/>
                  </a:lnTo>
                  <a:lnTo>
                    <a:pt x="38" y="0"/>
                  </a:lnTo>
                  <a:lnTo>
                    <a:pt x="25" y="2"/>
                  </a:lnTo>
                  <a:lnTo>
                    <a:pt x="13" y="4"/>
                  </a:lnTo>
                  <a:lnTo>
                    <a:pt x="0" y="8"/>
                  </a:lnTo>
                  <a:lnTo>
                    <a:pt x="15" y="36"/>
                  </a:lnTo>
                  <a:lnTo>
                    <a:pt x="15" y="36"/>
                  </a:lnTo>
                  <a:lnTo>
                    <a:pt x="24" y="34"/>
                  </a:lnTo>
                  <a:lnTo>
                    <a:pt x="33" y="33"/>
                  </a:lnTo>
                  <a:lnTo>
                    <a:pt x="42" y="34"/>
                  </a:lnTo>
                  <a:lnTo>
                    <a:pt x="51" y="37"/>
                  </a:lnTo>
                  <a:lnTo>
                    <a:pt x="59" y="40"/>
                  </a:lnTo>
                  <a:lnTo>
                    <a:pt x="67" y="47"/>
                  </a:lnTo>
                  <a:lnTo>
                    <a:pt x="73" y="53"/>
                  </a:lnTo>
                  <a:lnTo>
                    <a:pt x="79" y="62"/>
                  </a:lnTo>
                  <a:lnTo>
                    <a:pt x="79" y="62"/>
                  </a:lnTo>
                  <a:lnTo>
                    <a:pt x="82" y="71"/>
                  </a:lnTo>
                  <a:lnTo>
                    <a:pt x="84" y="80"/>
                  </a:lnTo>
                  <a:lnTo>
                    <a:pt x="85" y="90"/>
                  </a:lnTo>
                  <a:lnTo>
                    <a:pt x="84" y="99"/>
                  </a:lnTo>
                  <a:lnTo>
                    <a:pt x="81" y="107"/>
                  </a:lnTo>
                  <a:lnTo>
                    <a:pt x="77" y="116"/>
                  </a:lnTo>
                  <a:lnTo>
                    <a:pt x="71" y="123"/>
                  </a:lnTo>
                  <a:lnTo>
                    <a:pt x="64" y="129"/>
                  </a:lnTo>
                  <a:lnTo>
                    <a:pt x="73" y="145"/>
                  </a:lnTo>
                  <a:lnTo>
                    <a:pt x="73" y="145"/>
                  </a:lnTo>
                  <a:lnTo>
                    <a:pt x="82" y="143"/>
                  </a:lnTo>
                  <a:lnTo>
                    <a:pt x="91" y="142"/>
                  </a:lnTo>
                  <a:lnTo>
                    <a:pt x="99" y="143"/>
                  </a:lnTo>
                  <a:lnTo>
                    <a:pt x="108" y="146"/>
                  </a:lnTo>
                  <a:lnTo>
                    <a:pt x="117" y="151"/>
                  </a:lnTo>
                  <a:lnTo>
                    <a:pt x="124" y="156"/>
                  </a:lnTo>
                  <a:lnTo>
                    <a:pt x="131" y="162"/>
                  </a:lnTo>
                  <a:lnTo>
                    <a:pt x="136" y="171"/>
                  </a:lnTo>
                  <a:lnTo>
                    <a:pt x="136" y="171"/>
                  </a:lnTo>
                  <a:lnTo>
                    <a:pt x="140" y="181"/>
                  </a:lnTo>
                  <a:lnTo>
                    <a:pt x="142" y="189"/>
                  </a:lnTo>
                  <a:lnTo>
                    <a:pt x="142" y="199"/>
                  </a:lnTo>
                  <a:lnTo>
                    <a:pt x="141" y="208"/>
                  </a:lnTo>
                  <a:lnTo>
                    <a:pt x="138" y="216"/>
                  </a:lnTo>
                  <a:lnTo>
                    <a:pt x="134" y="225"/>
                  </a:lnTo>
                  <a:lnTo>
                    <a:pt x="128" y="232"/>
                  </a:lnTo>
                  <a:lnTo>
                    <a:pt x="121" y="238"/>
                  </a:lnTo>
                  <a:lnTo>
                    <a:pt x="131" y="255"/>
                  </a:lnTo>
                  <a:lnTo>
                    <a:pt x="131" y="255"/>
                  </a:lnTo>
                  <a:lnTo>
                    <a:pt x="139" y="252"/>
                  </a:lnTo>
                  <a:lnTo>
                    <a:pt x="148" y="251"/>
                  </a:lnTo>
                  <a:lnTo>
                    <a:pt x="158" y="252"/>
                  </a:lnTo>
                  <a:lnTo>
                    <a:pt x="166" y="255"/>
                  </a:lnTo>
                  <a:lnTo>
                    <a:pt x="174" y="260"/>
                  </a:lnTo>
                  <a:lnTo>
                    <a:pt x="181" y="265"/>
                  </a:lnTo>
                  <a:lnTo>
                    <a:pt x="188" y="272"/>
                  </a:lnTo>
                  <a:lnTo>
                    <a:pt x="193" y="280"/>
                  </a:lnTo>
                  <a:lnTo>
                    <a:pt x="193" y="280"/>
                  </a:lnTo>
                  <a:lnTo>
                    <a:pt x="198" y="290"/>
                  </a:lnTo>
                  <a:lnTo>
                    <a:pt x="200" y="299"/>
                  </a:lnTo>
                  <a:lnTo>
                    <a:pt x="200" y="308"/>
                  </a:lnTo>
                  <a:lnTo>
                    <a:pt x="199" y="317"/>
                  </a:lnTo>
                  <a:lnTo>
                    <a:pt x="196" y="326"/>
                  </a:lnTo>
                  <a:lnTo>
                    <a:pt x="192" y="334"/>
                  </a:lnTo>
                  <a:lnTo>
                    <a:pt x="186" y="341"/>
                  </a:lnTo>
                  <a:lnTo>
                    <a:pt x="179" y="347"/>
                  </a:lnTo>
                  <a:lnTo>
                    <a:pt x="188" y="364"/>
                  </a:lnTo>
                  <a:lnTo>
                    <a:pt x="188" y="364"/>
                  </a:lnTo>
                  <a:lnTo>
                    <a:pt x="196" y="361"/>
                  </a:lnTo>
                  <a:lnTo>
                    <a:pt x="206" y="361"/>
                  </a:lnTo>
                  <a:lnTo>
                    <a:pt x="215" y="361"/>
                  </a:lnTo>
                  <a:lnTo>
                    <a:pt x="223" y="364"/>
                  </a:lnTo>
                  <a:lnTo>
                    <a:pt x="232" y="369"/>
                  </a:lnTo>
                  <a:lnTo>
                    <a:pt x="240" y="374"/>
                  </a:lnTo>
                  <a:lnTo>
                    <a:pt x="246" y="381"/>
                  </a:lnTo>
                  <a:lnTo>
                    <a:pt x="252" y="389"/>
                  </a:lnTo>
                  <a:lnTo>
                    <a:pt x="252" y="389"/>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17" name="Freeform 516"/>
            <p:cNvSpPr>
              <a:spLocks/>
            </p:cNvSpPr>
            <p:nvPr/>
          </p:nvSpPr>
          <p:spPr bwMode="auto">
            <a:xfrm>
              <a:off x="6842055" y="1190271"/>
              <a:ext cx="70530" cy="57366"/>
            </a:xfrm>
            <a:custGeom>
              <a:avLst/>
              <a:gdLst>
                <a:gd name="T0" fmla="*/ 141 w 163"/>
                <a:gd name="T1" fmla="*/ 86 h 138"/>
                <a:gd name="T2" fmla="*/ 141 w 163"/>
                <a:gd name="T3" fmla="*/ 86 h 138"/>
                <a:gd name="T4" fmla="*/ 148 w 163"/>
                <a:gd name="T5" fmla="*/ 82 h 138"/>
                <a:gd name="T6" fmla="*/ 154 w 163"/>
                <a:gd name="T7" fmla="*/ 75 h 138"/>
                <a:gd name="T8" fmla="*/ 158 w 163"/>
                <a:gd name="T9" fmla="*/ 68 h 138"/>
                <a:gd name="T10" fmla="*/ 162 w 163"/>
                <a:gd name="T11" fmla="*/ 60 h 138"/>
                <a:gd name="T12" fmla="*/ 163 w 163"/>
                <a:gd name="T13" fmla="*/ 51 h 138"/>
                <a:gd name="T14" fmla="*/ 163 w 163"/>
                <a:gd name="T15" fmla="*/ 43 h 138"/>
                <a:gd name="T16" fmla="*/ 161 w 163"/>
                <a:gd name="T17" fmla="*/ 34 h 138"/>
                <a:gd name="T18" fmla="*/ 157 w 163"/>
                <a:gd name="T19" fmla="*/ 25 h 138"/>
                <a:gd name="T20" fmla="*/ 157 w 163"/>
                <a:gd name="T21" fmla="*/ 25 h 138"/>
                <a:gd name="T22" fmla="*/ 155 w 163"/>
                <a:gd name="T23" fmla="*/ 21 h 138"/>
                <a:gd name="T24" fmla="*/ 155 w 163"/>
                <a:gd name="T25" fmla="*/ 21 h 138"/>
                <a:gd name="T26" fmla="*/ 154 w 163"/>
                <a:gd name="T27" fmla="*/ 19 h 138"/>
                <a:gd name="T28" fmla="*/ 154 w 163"/>
                <a:gd name="T29" fmla="*/ 19 h 138"/>
                <a:gd name="T30" fmla="*/ 153 w 163"/>
                <a:gd name="T31" fmla="*/ 18 h 138"/>
                <a:gd name="T32" fmla="*/ 153 w 163"/>
                <a:gd name="T33" fmla="*/ 18 h 138"/>
                <a:gd name="T34" fmla="*/ 153 w 163"/>
                <a:gd name="T35" fmla="*/ 18 h 138"/>
                <a:gd name="T36" fmla="*/ 153 w 163"/>
                <a:gd name="T37" fmla="*/ 18 h 138"/>
                <a:gd name="T38" fmla="*/ 148 w 163"/>
                <a:gd name="T39" fmla="*/ 12 h 138"/>
                <a:gd name="T40" fmla="*/ 141 w 163"/>
                <a:gd name="T41" fmla="*/ 7 h 138"/>
                <a:gd name="T42" fmla="*/ 135 w 163"/>
                <a:gd name="T43" fmla="*/ 4 h 138"/>
                <a:gd name="T44" fmla="*/ 127 w 163"/>
                <a:gd name="T45" fmla="*/ 1 h 138"/>
                <a:gd name="T46" fmla="*/ 119 w 163"/>
                <a:gd name="T47" fmla="*/ 0 h 138"/>
                <a:gd name="T48" fmla="*/ 112 w 163"/>
                <a:gd name="T49" fmla="*/ 0 h 138"/>
                <a:gd name="T50" fmla="*/ 104 w 163"/>
                <a:gd name="T51" fmla="*/ 2 h 138"/>
                <a:gd name="T52" fmla="*/ 98 w 163"/>
                <a:gd name="T53" fmla="*/ 5 h 138"/>
                <a:gd name="T54" fmla="*/ 0 w 163"/>
                <a:gd name="T55" fmla="*/ 56 h 138"/>
                <a:gd name="T56" fmla="*/ 43 w 163"/>
                <a:gd name="T57" fmla="*/ 138 h 138"/>
                <a:gd name="T58" fmla="*/ 141 w 163"/>
                <a:gd name="T59" fmla="*/ 8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3" h="138">
                  <a:moveTo>
                    <a:pt x="141" y="86"/>
                  </a:moveTo>
                  <a:lnTo>
                    <a:pt x="141" y="86"/>
                  </a:lnTo>
                  <a:lnTo>
                    <a:pt x="148" y="82"/>
                  </a:lnTo>
                  <a:lnTo>
                    <a:pt x="154" y="75"/>
                  </a:lnTo>
                  <a:lnTo>
                    <a:pt x="158" y="68"/>
                  </a:lnTo>
                  <a:lnTo>
                    <a:pt x="162" y="60"/>
                  </a:lnTo>
                  <a:lnTo>
                    <a:pt x="163" y="51"/>
                  </a:lnTo>
                  <a:lnTo>
                    <a:pt x="163" y="43"/>
                  </a:lnTo>
                  <a:lnTo>
                    <a:pt x="161" y="34"/>
                  </a:lnTo>
                  <a:lnTo>
                    <a:pt x="157" y="25"/>
                  </a:lnTo>
                  <a:lnTo>
                    <a:pt x="157" y="25"/>
                  </a:lnTo>
                  <a:lnTo>
                    <a:pt x="155" y="21"/>
                  </a:lnTo>
                  <a:lnTo>
                    <a:pt x="155" y="21"/>
                  </a:lnTo>
                  <a:lnTo>
                    <a:pt x="154" y="19"/>
                  </a:lnTo>
                  <a:lnTo>
                    <a:pt x="154" y="19"/>
                  </a:lnTo>
                  <a:lnTo>
                    <a:pt x="153" y="18"/>
                  </a:lnTo>
                  <a:lnTo>
                    <a:pt x="153" y="18"/>
                  </a:lnTo>
                  <a:lnTo>
                    <a:pt x="153" y="18"/>
                  </a:lnTo>
                  <a:lnTo>
                    <a:pt x="153" y="18"/>
                  </a:lnTo>
                  <a:lnTo>
                    <a:pt x="148" y="12"/>
                  </a:lnTo>
                  <a:lnTo>
                    <a:pt x="141" y="7"/>
                  </a:lnTo>
                  <a:lnTo>
                    <a:pt x="135" y="4"/>
                  </a:lnTo>
                  <a:lnTo>
                    <a:pt x="127" y="1"/>
                  </a:lnTo>
                  <a:lnTo>
                    <a:pt x="119" y="0"/>
                  </a:lnTo>
                  <a:lnTo>
                    <a:pt x="112" y="0"/>
                  </a:lnTo>
                  <a:lnTo>
                    <a:pt x="104" y="2"/>
                  </a:lnTo>
                  <a:lnTo>
                    <a:pt x="98" y="5"/>
                  </a:lnTo>
                  <a:lnTo>
                    <a:pt x="0" y="56"/>
                  </a:lnTo>
                  <a:lnTo>
                    <a:pt x="43" y="138"/>
                  </a:lnTo>
                  <a:lnTo>
                    <a:pt x="141" y="86"/>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18" name="Freeform 517"/>
            <p:cNvSpPr>
              <a:spLocks/>
            </p:cNvSpPr>
            <p:nvPr/>
          </p:nvSpPr>
          <p:spPr bwMode="auto">
            <a:xfrm>
              <a:off x="6867858" y="1235826"/>
              <a:ext cx="68811" cy="57366"/>
            </a:xfrm>
            <a:custGeom>
              <a:avLst/>
              <a:gdLst>
                <a:gd name="T0" fmla="*/ 0 w 163"/>
                <a:gd name="T1" fmla="*/ 56 h 137"/>
                <a:gd name="T2" fmla="*/ 35 w 163"/>
                <a:gd name="T3" fmla="*/ 123 h 137"/>
                <a:gd name="T4" fmla="*/ 35 w 163"/>
                <a:gd name="T5" fmla="*/ 123 h 137"/>
                <a:gd name="T6" fmla="*/ 43 w 163"/>
                <a:gd name="T7" fmla="*/ 137 h 137"/>
                <a:gd name="T8" fmla="*/ 141 w 163"/>
                <a:gd name="T9" fmla="*/ 85 h 137"/>
                <a:gd name="T10" fmla="*/ 141 w 163"/>
                <a:gd name="T11" fmla="*/ 85 h 137"/>
                <a:gd name="T12" fmla="*/ 148 w 163"/>
                <a:gd name="T13" fmla="*/ 81 h 137"/>
                <a:gd name="T14" fmla="*/ 154 w 163"/>
                <a:gd name="T15" fmla="*/ 74 h 137"/>
                <a:gd name="T16" fmla="*/ 159 w 163"/>
                <a:gd name="T17" fmla="*/ 68 h 137"/>
                <a:gd name="T18" fmla="*/ 162 w 163"/>
                <a:gd name="T19" fmla="*/ 59 h 137"/>
                <a:gd name="T20" fmla="*/ 163 w 163"/>
                <a:gd name="T21" fmla="*/ 50 h 137"/>
                <a:gd name="T22" fmla="*/ 163 w 163"/>
                <a:gd name="T23" fmla="*/ 42 h 137"/>
                <a:gd name="T24" fmla="*/ 161 w 163"/>
                <a:gd name="T25" fmla="*/ 33 h 137"/>
                <a:gd name="T26" fmla="*/ 158 w 163"/>
                <a:gd name="T27" fmla="*/ 24 h 137"/>
                <a:gd name="T28" fmla="*/ 158 w 163"/>
                <a:gd name="T29" fmla="*/ 24 h 137"/>
                <a:gd name="T30" fmla="*/ 155 w 163"/>
                <a:gd name="T31" fmla="*/ 21 h 137"/>
                <a:gd name="T32" fmla="*/ 155 w 163"/>
                <a:gd name="T33" fmla="*/ 21 h 137"/>
                <a:gd name="T34" fmla="*/ 154 w 163"/>
                <a:gd name="T35" fmla="*/ 19 h 137"/>
                <a:gd name="T36" fmla="*/ 154 w 163"/>
                <a:gd name="T37" fmla="*/ 19 h 137"/>
                <a:gd name="T38" fmla="*/ 153 w 163"/>
                <a:gd name="T39" fmla="*/ 18 h 137"/>
                <a:gd name="T40" fmla="*/ 153 w 163"/>
                <a:gd name="T41" fmla="*/ 18 h 137"/>
                <a:gd name="T42" fmla="*/ 153 w 163"/>
                <a:gd name="T43" fmla="*/ 18 h 137"/>
                <a:gd name="T44" fmla="*/ 153 w 163"/>
                <a:gd name="T45" fmla="*/ 18 h 137"/>
                <a:gd name="T46" fmla="*/ 148 w 163"/>
                <a:gd name="T47" fmla="*/ 11 h 137"/>
                <a:gd name="T48" fmla="*/ 141 w 163"/>
                <a:gd name="T49" fmla="*/ 7 h 137"/>
                <a:gd name="T50" fmla="*/ 135 w 163"/>
                <a:gd name="T51" fmla="*/ 3 h 137"/>
                <a:gd name="T52" fmla="*/ 127 w 163"/>
                <a:gd name="T53" fmla="*/ 1 h 137"/>
                <a:gd name="T54" fmla="*/ 120 w 163"/>
                <a:gd name="T55" fmla="*/ 0 h 137"/>
                <a:gd name="T56" fmla="*/ 112 w 163"/>
                <a:gd name="T57" fmla="*/ 0 h 137"/>
                <a:gd name="T58" fmla="*/ 105 w 163"/>
                <a:gd name="T59" fmla="*/ 1 h 137"/>
                <a:gd name="T60" fmla="*/ 98 w 163"/>
                <a:gd name="T61" fmla="*/ 4 h 137"/>
                <a:gd name="T62" fmla="*/ 0 w 163"/>
                <a:gd name="T63" fmla="*/ 5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3" h="137">
                  <a:moveTo>
                    <a:pt x="0" y="56"/>
                  </a:moveTo>
                  <a:lnTo>
                    <a:pt x="35" y="123"/>
                  </a:lnTo>
                  <a:lnTo>
                    <a:pt x="35" y="123"/>
                  </a:lnTo>
                  <a:lnTo>
                    <a:pt x="43" y="137"/>
                  </a:lnTo>
                  <a:lnTo>
                    <a:pt x="141" y="85"/>
                  </a:lnTo>
                  <a:lnTo>
                    <a:pt x="141" y="85"/>
                  </a:lnTo>
                  <a:lnTo>
                    <a:pt x="148" y="81"/>
                  </a:lnTo>
                  <a:lnTo>
                    <a:pt x="154" y="74"/>
                  </a:lnTo>
                  <a:lnTo>
                    <a:pt x="159" y="68"/>
                  </a:lnTo>
                  <a:lnTo>
                    <a:pt x="162" y="59"/>
                  </a:lnTo>
                  <a:lnTo>
                    <a:pt x="163" y="50"/>
                  </a:lnTo>
                  <a:lnTo>
                    <a:pt x="163" y="42"/>
                  </a:lnTo>
                  <a:lnTo>
                    <a:pt x="161" y="33"/>
                  </a:lnTo>
                  <a:lnTo>
                    <a:pt x="158" y="24"/>
                  </a:lnTo>
                  <a:lnTo>
                    <a:pt x="158" y="24"/>
                  </a:lnTo>
                  <a:lnTo>
                    <a:pt x="155" y="21"/>
                  </a:lnTo>
                  <a:lnTo>
                    <a:pt x="155" y="21"/>
                  </a:lnTo>
                  <a:lnTo>
                    <a:pt x="154" y="19"/>
                  </a:lnTo>
                  <a:lnTo>
                    <a:pt x="154" y="19"/>
                  </a:lnTo>
                  <a:lnTo>
                    <a:pt x="153" y="18"/>
                  </a:lnTo>
                  <a:lnTo>
                    <a:pt x="153" y="18"/>
                  </a:lnTo>
                  <a:lnTo>
                    <a:pt x="153" y="18"/>
                  </a:lnTo>
                  <a:lnTo>
                    <a:pt x="153" y="18"/>
                  </a:lnTo>
                  <a:lnTo>
                    <a:pt x="148" y="11"/>
                  </a:lnTo>
                  <a:lnTo>
                    <a:pt x="141" y="7"/>
                  </a:lnTo>
                  <a:lnTo>
                    <a:pt x="135" y="3"/>
                  </a:lnTo>
                  <a:lnTo>
                    <a:pt x="127" y="1"/>
                  </a:lnTo>
                  <a:lnTo>
                    <a:pt x="120" y="0"/>
                  </a:lnTo>
                  <a:lnTo>
                    <a:pt x="112" y="0"/>
                  </a:lnTo>
                  <a:lnTo>
                    <a:pt x="105" y="1"/>
                  </a:lnTo>
                  <a:lnTo>
                    <a:pt x="98" y="4"/>
                  </a:lnTo>
                  <a:lnTo>
                    <a:pt x="0" y="56"/>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19" name="Freeform 518"/>
            <p:cNvSpPr>
              <a:spLocks/>
            </p:cNvSpPr>
            <p:nvPr/>
          </p:nvSpPr>
          <p:spPr bwMode="auto">
            <a:xfrm>
              <a:off x="6891941" y="1281380"/>
              <a:ext cx="70530" cy="59052"/>
            </a:xfrm>
            <a:custGeom>
              <a:avLst/>
              <a:gdLst>
                <a:gd name="T0" fmla="*/ 0 w 163"/>
                <a:gd name="T1" fmla="*/ 56 h 138"/>
                <a:gd name="T2" fmla="*/ 36 w 163"/>
                <a:gd name="T3" fmla="*/ 123 h 138"/>
                <a:gd name="T4" fmla="*/ 36 w 163"/>
                <a:gd name="T5" fmla="*/ 123 h 138"/>
                <a:gd name="T6" fmla="*/ 43 w 163"/>
                <a:gd name="T7" fmla="*/ 138 h 138"/>
                <a:gd name="T8" fmla="*/ 140 w 163"/>
                <a:gd name="T9" fmla="*/ 86 h 138"/>
                <a:gd name="T10" fmla="*/ 140 w 163"/>
                <a:gd name="T11" fmla="*/ 86 h 138"/>
                <a:gd name="T12" fmla="*/ 148 w 163"/>
                <a:gd name="T13" fmla="*/ 81 h 138"/>
                <a:gd name="T14" fmla="*/ 155 w 163"/>
                <a:gd name="T15" fmla="*/ 75 h 138"/>
                <a:gd name="T16" fmla="*/ 159 w 163"/>
                <a:gd name="T17" fmla="*/ 68 h 138"/>
                <a:gd name="T18" fmla="*/ 162 w 163"/>
                <a:gd name="T19" fmla="*/ 60 h 138"/>
                <a:gd name="T20" fmla="*/ 163 w 163"/>
                <a:gd name="T21" fmla="*/ 51 h 138"/>
                <a:gd name="T22" fmla="*/ 163 w 163"/>
                <a:gd name="T23" fmla="*/ 43 h 138"/>
                <a:gd name="T24" fmla="*/ 161 w 163"/>
                <a:gd name="T25" fmla="*/ 33 h 138"/>
                <a:gd name="T26" fmla="*/ 158 w 163"/>
                <a:gd name="T27" fmla="*/ 24 h 138"/>
                <a:gd name="T28" fmla="*/ 158 w 163"/>
                <a:gd name="T29" fmla="*/ 24 h 138"/>
                <a:gd name="T30" fmla="*/ 156 w 163"/>
                <a:gd name="T31" fmla="*/ 21 h 138"/>
                <a:gd name="T32" fmla="*/ 156 w 163"/>
                <a:gd name="T33" fmla="*/ 21 h 138"/>
                <a:gd name="T34" fmla="*/ 155 w 163"/>
                <a:gd name="T35" fmla="*/ 19 h 138"/>
                <a:gd name="T36" fmla="*/ 155 w 163"/>
                <a:gd name="T37" fmla="*/ 19 h 138"/>
                <a:gd name="T38" fmla="*/ 153 w 163"/>
                <a:gd name="T39" fmla="*/ 18 h 138"/>
                <a:gd name="T40" fmla="*/ 153 w 163"/>
                <a:gd name="T41" fmla="*/ 18 h 138"/>
                <a:gd name="T42" fmla="*/ 153 w 163"/>
                <a:gd name="T43" fmla="*/ 18 h 138"/>
                <a:gd name="T44" fmla="*/ 153 w 163"/>
                <a:gd name="T45" fmla="*/ 18 h 138"/>
                <a:gd name="T46" fmla="*/ 148 w 163"/>
                <a:gd name="T47" fmla="*/ 11 h 138"/>
                <a:gd name="T48" fmla="*/ 142 w 163"/>
                <a:gd name="T49" fmla="*/ 7 h 138"/>
                <a:gd name="T50" fmla="*/ 135 w 163"/>
                <a:gd name="T51" fmla="*/ 3 h 138"/>
                <a:gd name="T52" fmla="*/ 128 w 163"/>
                <a:gd name="T53" fmla="*/ 1 h 138"/>
                <a:gd name="T54" fmla="*/ 120 w 163"/>
                <a:gd name="T55" fmla="*/ 0 h 138"/>
                <a:gd name="T56" fmla="*/ 112 w 163"/>
                <a:gd name="T57" fmla="*/ 0 h 138"/>
                <a:gd name="T58" fmla="*/ 105 w 163"/>
                <a:gd name="T59" fmla="*/ 2 h 138"/>
                <a:gd name="T60" fmla="*/ 98 w 163"/>
                <a:gd name="T61" fmla="*/ 4 h 138"/>
                <a:gd name="T62" fmla="*/ 0 w 163"/>
                <a:gd name="T63" fmla="*/ 5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3" h="138">
                  <a:moveTo>
                    <a:pt x="0" y="56"/>
                  </a:moveTo>
                  <a:lnTo>
                    <a:pt x="36" y="123"/>
                  </a:lnTo>
                  <a:lnTo>
                    <a:pt x="36" y="123"/>
                  </a:lnTo>
                  <a:lnTo>
                    <a:pt x="43" y="138"/>
                  </a:lnTo>
                  <a:lnTo>
                    <a:pt x="140" y="86"/>
                  </a:lnTo>
                  <a:lnTo>
                    <a:pt x="140" y="86"/>
                  </a:lnTo>
                  <a:lnTo>
                    <a:pt x="148" y="81"/>
                  </a:lnTo>
                  <a:lnTo>
                    <a:pt x="155" y="75"/>
                  </a:lnTo>
                  <a:lnTo>
                    <a:pt x="159" y="68"/>
                  </a:lnTo>
                  <a:lnTo>
                    <a:pt x="162" y="60"/>
                  </a:lnTo>
                  <a:lnTo>
                    <a:pt x="163" y="51"/>
                  </a:lnTo>
                  <a:lnTo>
                    <a:pt x="163" y="43"/>
                  </a:lnTo>
                  <a:lnTo>
                    <a:pt x="161" y="33"/>
                  </a:lnTo>
                  <a:lnTo>
                    <a:pt x="158" y="24"/>
                  </a:lnTo>
                  <a:lnTo>
                    <a:pt x="158" y="24"/>
                  </a:lnTo>
                  <a:lnTo>
                    <a:pt x="156" y="21"/>
                  </a:lnTo>
                  <a:lnTo>
                    <a:pt x="156" y="21"/>
                  </a:lnTo>
                  <a:lnTo>
                    <a:pt x="155" y="19"/>
                  </a:lnTo>
                  <a:lnTo>
                    <a:pt x="155" y="19"/>
                  </a:lnTo>
                  <a:lnTo>
                    <a:pt x="153" y="18"/>
                  </a:lnTo>
                  <a:lnTo>
                    <a:pt x="153" y="18"/>
                  </a:lnTo>
                  <a:lnTo>
                    <a:pt x="153" y="18"/>
                  </a:lnTo>
                  <a:lnTo>
                    <a:pt x="153" y="18"/>
                  </a:lnTo>
                  <a:lnTo>
                    <a:pt x="148" y="11"/>
                  </a:lnTo>
                  <a:lnTo>
                    <a:pt x="142" y="7"/>
                  </a:lnTo>
                  <a:lnTo>
                    <a:pt x="135" y="3"/>
                  </a:lnTo>
                  <a:lnTo>
                    <a:pt x="128" y="1"/>
                  </a:lnTo>
                  <a:lnTo>
                    <a:pt x="120" y="0"/>
                  </a:lnTo>
                  <a:lnTo>
                    <a:pt x="112" y="0"/>
                  </a:lnTo>
                  <a:lnTo>
                    <a:pt x="105" y="2"/>
                  </a:lnTo>
                  <a:lnTo>
                    <a:pt x="98" y="4"/>
                  </a:lnTo>
                  <a:lnTo>
                    <a:pt x="0" y="56"/>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20" name="Freeform 519"/>
            <p:cNvSpPr>
              <a:spLocks/>
            </p:cNvSpPr>
            <p:nvPr/>
          </p:nvSpPr>
          <p:spPr bwMode="auto">
            <a:xfrm>
              <a:off x="6916026" y="1326934"/>
              <a:ext cx="70530" cy="59052"/>
            </a:xfrm>
            <a:custGeom>
              <a:avLst/>
              <a:gdLst>
                <a:gd name="T0" fmla="*/ 158 w 163"/>
                <a:gd name="T1" fmla="*/ 26 h 138"/>
                <a:gd name="T2" fmla="*/ 158 w 163"/>
                <a:gd name="T3" fmla="*/ 26 h 138"/>
                <a:gd name="T4" fmla="*/ 156 w 163"/>
                <a:gd name="T5" fmla="*/ 21 h 138"/>
                <a:gd name="T6" fmla="*/ 156 w 163"/>
                <a:gd name="T7" fmla="*/ 21 h 138"/>
                <a:gd name="T8" fmla="*/ 154 w 163"/>
                <a:gd name="T9" fmla="*/ 20 h 138"/>
                <a:gd name="T10" fmla="*/ 154 w 163"/>
                <a:gd name="T11" fmla="*/ 20 h 138"/>
                <a:gd name="T12" fmla="*/ 154 w 163"/>
                <a:gd name="T13" fmla="*/ 18 h 138"/>
                <a:gd name="T14" fmla="*/ 154 w 163"/>
                <a:gd name="T15" fmla="*/ 18 h 138"/>
                <a:gd name="T16" fmla="*/ 154 w 163"/>
                <a:gd name="T17" fmla="*/ 18 h 138"/>
                <a:gd name="T18" fmla="*/ 154 w 163"/>
                <a:gd name="T19" fmla="*/ 18 h 138"/>
                <a:gd name="T20" fmla="*/ 148 w 163"/>
                <a:gd name="T21" fmla="*/ 13 h 138"/>
                <a:gd name="T22" fmla="*/ 142 w 163"/>
                <a:gd name="T23" fmla="*/ 7 h 138"/>
                <a:gd name="T24" fmla="*/ 135 w 163"/>
                <a:gd name="T25" fmla="*/ 4 h 138"/>
                <a:gd name="T26" fmla="*/ 128 w 163"/>
                <a:gd name="T27" fmla="*/ 2 h 138"/>
                <a:gd name="T28" fmla="*/ 120 w 163"/>
                <a:gd name="T29" fmla="*/ 0 h 138"/>
                <a:gd name="T30" fmla="*/ 113 w 163"/>
                <a:gd name="T31" fmla="*/ 0 h 138"/>
                <a:gd name="T32" fmla="*/ 105 w 163"/>
                <a:gd name="T33" fmla="*/ 2 h 138"/>
                <a:gd name="T34" fmla="*/ 99 w 163"/>
                <a:gd name="T35" fmla="*/ 5 h 138"/>
                <a:gd name="T36" fmla="*/ 0 w 163"/>
                <a:gd name="T37" fmla="*/ 56 h 138"/>
                <a:gd name="T38" fmla="*/ 44 w 163"/>
                <a:gd name="T39" fmla="*/ 138 h 138"/>
                <a:gd name="T40" fmla="*/ 141 w 163"/>
                <a:gd name="T41" fmla="*/ 86 h 138"/>
                <a:gd name="T42" fmla="*/ 141 w 163"/>
                <a:gd name="T43" fmla="*/ 86 h 138"/>
                <a:gd name="T44" fmla="*/ 148 w 163"/>
                <a:gd name="T45" fmla="*/ 82 h 138"/>
                <a:gd name="T46" fmla="*/ 155 w 163"/>
                <a:gd name="T47" fmla="*/ 75 h 138"/>
                <a:gd name="T48" fmla="*/ 159 w 163"/>
                <a:gd name="T49" fmla="*/ 68 h 138"/>
                <a:gd name="T50" fmla="*/ 161 w 163"/>
                <a:gd name="T51" fmla="*/ 60 h 138"/>
                <a:gd name="T52" fmla="*/ 163 w 163"/>
                <a:gd name="T53" fmla="*/ 51 h 138"/>
                <a:gd name="T54" fmla="*/ 163 w 163"/>
                <a:gd name="T55" fmla="*/ 43 h 138"/>
                <a:gd name="T56" fmla="*/ 161 w 163"/>
                <a:gd name="T57" fmla="*/ 34 h 138"/>
                <a:gd name="T58" fmla="*/ 158 w 163"/>
                <a:gd name="T59" fmla="*/ 26 h 138"/>
                <a:gd name="T60" fmla="*/ 158 w 163"/>
                <a:gd name="T61" fmla="*/ 2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3" h="138">
                  <a:moveTo>
                    <a:pt x="158" y="26"/>
                  </a:moveTo>
                  <a:lnTo>
                    <a:pt x="158" y="26"/>
                  </a:lnTo>
                  <a:lnTo>
                    <a:pt x="156" y="21"/>
                  </a:lnTo>
                  <a:lnTo>
                    <a:pt x="156" y="21"/>
                  </a:lnTo>
                  <a:lnTo>
                    <a:pt x="154" y="20"/>
                  </a:lnTo>
                  <a:lnTo>
                    <a:pt x="154" y="20"/>
                  </a:lnTo>
                  <a:lnTo>
                    <a:pt x="154" y="18"/>
                  </a:lnTo>
                  <a:lnTo>
                    <a:pt x="154" y="18"/>
                  </a:lnTo>
                  <a:lnTo>
                    <a:pt x="154" y="18"/>
                  </a:lnTo>
                  <a:lnTo>
                    <a:pt x="154" y="18"/>
                  </a:lnTo>
                  <a:lnTo>
                    <a:pt x="148" y="13"/>
                  </a:lnTo>
                  <a:lnTo>
                    <a:pt x="142" y="7"/>
                  </a:lnTo>
                  <a:lnTo>
                    <a:pt x="135" y="4"/>
                  </a:lnTo>
                  <a:lnTo>
                    <a:pt x="128" y="2"/>
                  </a:lnTo>
                  <a:lnTo>
                    <a:pt x="120" y="0"/>
                  </a:lnTo>
                  <a:lnTo>
                    <a:pt x="113" y="0"/>
                  </a:lnTo>
                  <a:lnTo>
                    <a:pt x="105" y="2"/>
                  </a:lnTo>
                  <a:lnTo>
                    <a:pt x="99" y="5"/>
                  </a:lnTo>
                  <a:lnTo>
                    <a:pt x="0" y="56"/>
                  </a:lnTo>
                  <a:lnTo>
                    <a:pt x="44" y="138"/>
                  </a:lnTo>
                  <a:lnTo>
                    <a:pt x="141" y="86"/>
                  </a:lnTo>
                  <a:lnTo>
                    <a:pt x="141" y="86"/>
                  </a:lnTo>
                  <a:lnTo>
                    <a:pt x="148" y="82"/>
                  </a:lnTo>
                  <a:lnTo>
                    <a:pt x="155" y="75"/>
                  </a:lnTo>
                  <a:lnTo>
                    <a:pt x="159" y="68"/>
                  </a:lnTo>
                  <a:lnTo>
                    <a:pt x="161" y="60"/>
                  </a:lnTo>
                  <a:lnTo>
                    <a:pt x="163" y="51"/>
                  </a:lnTo>
                  <a:lnTo>
                    <a:pt x="163" y="43"/>
                  </a:lnTo>
                  <a:lnTo>
                    <a:pt x="161" y="34"/>
                  </a:lnTo>
                  <a:lnTo>
                    <a:pt x="158" y="26"/>
                  </a:lnTo>
                  <a:lnTo>
                    <a:pt x="158" y="26"/>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21" name="Freeform 520"/>
            <p:cNvSpPr>
              <a:spLocks/>
            </p:cNvSpPr>
            <p:nvPr/>
          </p:nvSpPr>
          <p:spPr bwMode="auto">
            <a:xfrm>
              <a:off x="6821411" y="1203767"/>
              <a:ext cx="110096" cy="197405"/>
            </a:xfrm>
            <a:custGeom>
              <a:avLst/>
              <a:gdLst>
                <a:gd name="T0" fmla="*/ 0 w 256"/>
                <a:gd name="T1" fmla="*/ 6 h 467"/>
                <a:gd name="T2" fmla="*/ 243 w 256"/>
                <a:gd name="T3" fmla="*/ 467 h 467"/>
                <a:gd name="T4" fmla="*/ 256 w 256"/>
                <a:gd name="T5" fmla="*/ 461 h 467"/>
                <a:gd name="T6" fmla="*/ 13 w 256"/>
                <a:gd name="T7" fmla="*/ 0 h 467"/>
                <a:gd name="T8" fmla="*/ 0 w 256"/>
                <a:gd name="T9" fmla="*/ 6 h 467"/>
              </a:gdLst>
              <a:ahLst/>
              <a:cxnLst>
                <a:cxn ang="0">
                  <a:pos x="T0" y="T1"/>
                </a:cxn>
                <a:cxn ang="0">
                  <a:pos x="T2" y="T3"/>
                </a:cxn>
                <a:cxn ang="0">
                  <a:pos x="T4" y="T5"/>
                </a:cxn>
                <a:cxn ang="0">
                  <a:pos x="T6" y="T7"/>
                </a:cxn>
                <a:cxn ang="0">
                  <a:pos x="T8" y="T9"/>
                </a:cxn>
              </a:cxnLst>
              <a:rect l="0" t="0" r="r" b="b"/>
              <a:pathLst>
                <a:path w="256" h="467">
                  <a:moveTo>
                    <a:pt x="0" y="6"/>
                  </a:moveTo>
                  <a:lnTo>
                    <a:pt x="243" y="467"/>
                  </a:lnTo>
                  <a:lnTo>
                    <a:pt x="256" y="461"/>
                  </a:lnTo>
                  <a:lnTo>
                    <a:pt x="13" y="0"/>
                  </a:lnTo>
                  <a:lnTo>
                    <a:pt x="0" y="6"/>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22" name="Freeform 521"/>
            <p:cNvSpPr>
              <a:spLocks/>
            </p:cNvSpPr>
            <p:nvPr/>
          </p:nvSpPr>
          <p:spPr bwMode="auto">
            <a:xfrm>
              <a:off x="6752601" y="1235826"/>
              <a:ext cx="70530" cy="59052"/>
            </a:xfrm>
            <a:custGeom>
              <a:avLst/>
              <a:gdLst>
                <a:gd name="T0" fmla="*/ 36 w 163"/>
                <a:gd name="T1" fmla="*/ 123 h 137"/>
                <a:gd name="T2" fmla="*/ 43 w 163"/>
                <a:gd name="T3" fmla="*/ 137 h 137"/>
                <a:gd name="T4" fmla="*/ 142 w 163"/>
                <a:gd name="T5" fmla="*/ 86 h 137"/>
                <a:gd name="T6" fmla="*/ 142 w 163"/>
                <a:gd name="T7" fmla="*/ 86 h 137"/>
                <a:gd name="T8" fmla="*/ 149 w 163"/>
                <a:gd name="T9" fmla="*/ 81 h 137"/>
                <a:gd name="T10" fmla="*/ 155 w 163"/>
                <a:gd name="T11" fmla="*/ 74 h 137"/>
                <a:gd name="T12" fmla="*/ 159 w 163"/>
                <a:gd name="T13" fmla="*/ 68 h 137"/>
                <a:gd name="T14" fmla="*/ 162 w 163"/>
                <a:gd name="T15" fmla="*/ 59 h 137"/>
                <a:gd name="T16" fmla="*/ 163 w 163"/>
                <a:gd name="T17" fmla="*/ 52 h 137"/>
                <a:gd name="T18" fmla="*/ 163 w 163"/>
                <a:gd name="T19" fmla="*/ 42 h 137"/>
                <a:gd name="T20" fmla="*/ 162 w 163"/>
                <a:gd name="T21" fmla="*/ 33 h 137"/>
                <a:gd name="T22" fmla="*/ 158 w 163"/>
                <a:gd name="T23" fmla="*/ 25 h 137"/>
                <a:gd name="T24" fmla="*/ 158 w 163"/>
                <a:gd name="T25" fmla="*/ 25 h 137"/>
                <a:gd name="T26" fmla="*/ 156 w 163"/>
                <a:gd name="T27" fmla="*/ 21 h 137"/>
                <a:gd name="T28" fmla="*/ 156 w 163"/>
                <a:gd name="T29" fmla="*/ 21 h 137"/>
                <a:gd name="T30" fmla="*/ 155 w 163"/>
                <a:gd name="T31" fmla="*/ 19 h 137"/>
                <a:gd name="T32" fmla="*/ 155 w 163"/>
                <a:gd name="T33" fmla="*/ 19 h 137"/>
                <a:gd name="T34" fmla="*/ 154 w 163"/>
                <a:gd name="T35" fmla="*/ 18 h 137"/>
                <a:gd name="T36" fmla="*/ 154 w 163"/>
                <a:gd name="T37" fmla="*/ 18 h 137"/>
                <a:gd name="T38" fmla="*/ 154 w 163"/>
                <a:gd name="T39" fmla="*/ 18 h 137"/>
                <a:gd name="T40" fmla="*/ 154 w 163"/>
                <a:gd name="T41" fmla="*/ 18 h 137"/>
                <a:gd name="T42" fmla="*/ 148 w 163"/>
                <a:gd name="T43" fmla="*/ 12 h 137"/>
                <a:gd name="T44" fmla="*/ 142 w 163"/>
                <a:gd name="T45" fmla="*/ 7 h 137"/>
                <a:gd name="T46" fmla="*/ 135 w 163"/>
                <a:gd name="T47" fmla="*/ 3 h 137"/>
                <a:gd name="T48" fmla="*/ 128 w 163"/>
                <a:gd name="T49" fmla="*/ 1 h 137"/>
                <a:gd name="T50" fmla="*/ 121 w 163"/>
                <a:gd name="T51" fmla="*/ 0 h 137"/>
                <a:gd name="T52" fmla="*/ 114 w 163"/>
                <a:gd name="T53" fmla="*/ 0 h 137"/>
                <a:gd name="T54" fmla="*/ 106 w 163"/>
                <a:gd name="T55" fmla="*/ 1 h 137"/>
                <a:gd name="T56" fmla="*/ 98 w 163"/>
                <a:gd name="T57" fmla="*/ 4 h 137"/>
                <a:gd name="T58" fmla="*/ 0 w 163"/>
                <a:gd name="T59" fmla="*/ 56 h 137"/>
                <a:gd name="T60" fmla="*/ 36 w 163"/>
                <a:gd name="T61" fmla="*/ 123 h 137"/>
                <a:gd name="T62" fmla="*/ 36 w 163"/>
                <a:gd name="T63" fmla="*/ 12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3" h="137">
                  <a:moveTo>
                    <a:pt x="36" y="123"/>
                  </a:moveTo>
                  <a:lnTo>
                    <a:pt x="43" y="137"/>
                  </a:lnTo>
                  <a:lnTo>
                    <a:pt x="142" y="86"/>
                  </a:lnTo>
                  <a:lnTo>
                    <a:pt x="142" y="86"/>
                  </a:lnTo>
                  <a:lnTo>
                    <a:pt x="149" y="81"/>
                  </a:lnTo>
                  <a:lnTo>
                    <a:pt x="155" y="74"/>
                  </a:lnTo>
                  <a:lnTo>
                    <a:pt x="159" y="68"/>
                  </a:lnTo>
                  <a:lnTo>
                    <a:pt x="162" y="59"/>
                  </a:lnTo>
                  <a:lnTo>
                    <a:pt x="163" y="52"/>
                  </a:lnTo>
                  <a:lnTo>
                    <a:pt x="163" y="42"/>
                  </a:lnTo>
                  <a:lnTo>
                    <a:pt x="162" y="33"/>
                  </a:lnTo>
                  <a:lnTo>
                    <a:pt x="158" y="25"/>
                  </a:lnTo>
                  <a:lnTo>
                    <a:pt x="158" y="25"/>
                  </a:lnTo>
                  <a:lnTo>
                    <a:pt x="156" y="21"/>
                  </a:lnTo>
                  <a:lnTo>
                    <a:pt x="156" y="21"/>
                  </a:lnTo>
                  <a:lnTo>
                    <a:pt x="155" y="19"/>
                  </a:lnTo>
                  <a:lnTo>
                    <a:pt x="155" y="19"/>
                  </a:lnTo>
                  <a:lnTo>
                    <a:pt x="154" y="18"/>
                  </a:lnTo>
                  <a:lnTo>
                    <a:pt x="154" y="18"/>
                  </a:lnTo>
                  <a:lnTo>
                    <a:pt x="154" y="18"/>
                  </a:lnTo>
                  <a:lnTo>
                    <a:pt x="154" y="18"/>
                  </a:lnTo>
                  <a:lnTo>
                    <a:pt x="148" y="12"/>
                  </a:lnTo>
                  <a:lnTo>
                    <a:pt x="142" y="7"/>
                  </a:lnTo>
                  <a:lnTo>
                    <a:pt x="135" y="3"/>
                  </a:lnTo>
                  <a:lnTo>
                    <a:pt x="128" y="1"/>
                  </a:lnTo>
                  <a:lnTo>
                    <a:pt x="121" y="0"/>
                  </a:lnTo>
                  <a:lnTo>
                    <a:pt x="114" y="0"/>
                  </a:lnTo>
                  <a:lnTo>
                    <a:pt x="106" y="1"/>
                  </a:lnTo>
                  <a:lnTo>
                    <a:pt x="98" y="4"/>
                  </a:lnTo>
                  <a:lnTo>
                    <a:pt x="0" y="56"/>
                  </a:lnTo>
                  <a:lnTo>
                    <a:pt x="36" y="123"/>
                  </a:lnTo>
                  <a:lnTo>
                    <a:pt x="36" y="123"/>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23" name="Freeform 522"/>
            <p:cNvSpPr>
              <a:spLocks/>
            </p:cNvSpPr>
            <p:nvPr/>
          </p:nvSpPr>
          <p:spPr bwMode="auto">
            <a:xfrm>
              <a:off x="6778405" y="1281380"/>
              <a:ext cx="68811" cy="59052"/>
            </a:xfrm>
            <a:custGeom>
              <a:avLst/>
              <a:gdLst>
                <a:gd name="T0" fmla="*/ 99 w 163"/>
                <a:gd name="T1" fmla="*/ 4 h 138"/>
                <a:gd name="T2" fmla="*/ 0 w 163"/>
                <a:gd name="T3" fmla="*/ 56 h 138"/>
                <a:gd name="T4" fmla="*/ 44 w 163"/>
                <a:gd name="T5" fmla="*/ 138 h 138"/>
                <a:gd name="T6" fmla="*/ 142 w 163"/>
                <a:gd name="T7" fmla="*/ 86 h 138"/>
                <a:gd name="T8" fmla="*/ 142 w 163"/>
                <a:gd name="T9" fmla="*/ 86 h 138"/>
                <a:gd name="T10" fmla="*/ 149 w 163"/>
                <a:gd name="T11" fmla="*/ 82 h 138"/>
                <a:gd name="T12" fmla="*/ 155 w 163"/>
                <a:gd name="T13" fmla="*/ 75 h 138"/>
                <a:gd name="T14" fmla="*/ 159 w 163"/>
                <a:gd name="T15" fmla="*/ 68 h 138"/>
                <a:gd name="T16" fmla="*/ 162 w 163"/>
                <a:gd name="T17" fmla="*/ 60 h 138"/>
                <a:gd name="T18" fmla="*/ 163 w 163"/>
                <a:gd name="T19" fmla="*/ 52 h 138"/>
                <a:gd name="T20" fmla="*/ 163 w 163"/>
                <a:gd name="T21" fmla="*/ 43 h 138"/>
                <a:gd name="T22" fmla="*/ 161 w 163"/>
                <a:gd name="T23" fmla="*/ 34 h 138"/>
                <a:gd name="T24" fmla="*/ 158 w 163"/>
                <a:gd name="T25" fmla="*/ 26 h 138"/>
                <a:gd name="T26" fmla="*/ 158 w 163"/>
                <a:gd name="T27" fmla="*/ 26 h 138"/>
                <a:gd name="T28" fmla="*/ 156 w 163"/>
                <a:gd name="T29" fmla="*/ 21 h 138"/>
                <a:gd name="T30" fmla="*/ 156 w 163"/>
                <a:gd name="T31" fmla="*/ 21 h 138"/>
                <a:gd name="T32" fmla="*/ 155 w 163"/>
                <a:gd name="T33" fmla="*/ 20 h 138"/>
                <a:gd name="T34" fmla="*/ 155 w 163"/>
                <a:gd name="T35" fmla="*/ 20 h 138"/>
                <a:gd name="T36" fmla="*/ 154 w 163"/>
                <a:gd name="T37" fmla="*/ 18 h 138"/>
                <a:gd name="T38" fmla="*/ 154 w 163"/>
                <a:gd name="T39" fmla="*/ 18 h 138"/>
                <a:gd name="T40" fmla="*/ 154 w 163"/>
                <a:gd name="T41" fmla="*/ 18 h 138"/>
                <a:gd name="T42" fmla="*/ 154 w 163"/>
                <a:gd name="T43" fmla="*/ 18 h 138"/>
                <a:gd name="T44" fmla="*/ 148 w 163"/>
                <a:gd name="T45" fmla="*/ 13 h 138"/>
                <a:gd name="T46" fmla="*/ 142 w 163"/>
                <a:gd name="T47" fmla="*/ 7 h 138"/>
                <a:gd name="T48" fmla="*/ 135 w 163"/>
                <a:gd name="T49" fmla="*/ 4 h 138"/>
                <a:gd name="T50" fmla="*/ 128 w 163"/>
                <a:gd name="T51" fmla="*/ 1 h 138"/>
                <a:gd name="T52" fmla="*/ 121 w 163"/>
                <a:gd name="T53" fmla="*/ 0 h 138"/>
                <a:gd name="T54" fmla="*/ 114 w 163"/>
                <a:gd name="T55" fmla="*/ 0 h 138"/>
                <a:gd name="T56" fmla="*/ 106 w 163"/>
                <a:gd name="T57" fmla="*/ 2 h 138"/>
                <a:gd name="T58" fmla="*/ 99 w 163"/>
                <a:gd name="T59" fmla="*/ 4 h 138"/>
                <a:gd name="T60" fmla="*/ 99 w 163"/>
                <a:gd name="T61" fmla="*/ 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3" h="138">
                  <a:moveTo>
                    <a:pt x="99" y="4"/>
                  </a:moveTo>
                  <a:lnTo>
                    <a:pt x="0" y="56"/>
                  </a:lnTo>
                  <a:lnTo>
                    <a:pt x="44" y="138"/>
                  </a:lnTo>
                  <a:lnTo>
                    <a:pt x="142" y="86"/>
                  </a:lnTo>
                  <a:lnTo>
                    <a:pt x="142" y="86"/>
                  </a:lnTo>
                  <a:lnTo>
                    <a:pt x="149" y="82"/>
                  </a:lnTo>
                  <a:lnTo>
                    <a:pt x="155" y="75"/>
                  </a:lnTo>
                  <a:lnTo>
                    <a:pt x="159" y="68"/>
                  </a:lnTo>
                  <a:lnTo>
                    <a:pt x="162" y="60"/>
                  </a:lnTo>
                  <a:lnTo>
                    <a:pt x="163" y="52"/>
                  </a:lnTo>
                  <a:lnTo>
                    <a:pt x="163" y="43"/>
                  </a:lnTo>
                  <a:lnTo>
                    <a:pt x="161" y="34"/>
                  </a:lnTo>
                  <a:lnTo>
                    <a:pt x="158" y="26"/>
                  </a:lnTo>
                  <a:lnTo>
                    <a:pt x="158" y="26"/>
                  </a:lnTo>
                  <a:lnTo>
                    <a:pt x="156" y="21"/>
                  </a:lnTo>
                  <a:lnTo>
                    <a:pt x="156" y="21"/>
                  </a:lnTo>
                  <a:lnTo>
                    <a:pt x="155" y="20"/>
                  </a:lnTo>
                  <a:lnTo>
                    <a:pt x="155" y="20"/>
                  </a:lnTo>
                  <a:lnTo>
                    <a:pt x="154" y="18"/>
                  </a:lnTo>
                  <a:lnTo>
                    <a:pt x="154" y="18"/>
                  </a:lnTo>
                  <a:lnTo>
                    <a:pt x="154" y="18"/>
                  </a:lnTo>
                  <a:lnTo>
                    <a:pt x="154" y="18"/>
                  </a:lnTo>
                  <a:lnTo>
                    <a:pt x="148" y="13"/>
                  </a:lnTo>
                  <a:lnTo>
                    <a:pt x="142" y="7"/>
                  </a:lnTo>
                  <a:lnTo>
                    <a:pt x="135" y="4"/>
                  </a:lnTo>
                  <a:lnTo>
                    <a:pt x="128" y="1"/>
                  </a:lnTo>
                  <a:lnTo>
                    <a:pt x="121" y="0"/>
                  </a:lnTo>
                  <a:lnTo>
                    <a:pt x="114" y="0"/>
                  </a:lnTo>
                  <a:lnTo>
                    <a:pt x="106" y="2"/>
                  </a:lnTo>
                  <a:lnTo>
                    <a:pt x="99" y="4"/>
                  </a:lnTo>
                  <a:lnTo>
                    <a:pt x="99" y="4"/>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24" name="Freeform 523"/>
            <p:cNvSpPr>
              <a:spLocks/>
            </p:cNvSpPr>
            <p:nvPr/>
          </p:nvSpPr>
          <p:spPr bwMode="auto">
            <a:xfrm>
              <a:off x="6802489" y="1328623"/>
              <a:ext cx="70530" cy="57366"/>
            </a:xfrm>
            <a:custGeom>
              <a:avLst/>
              <a:gdLst>
                <a:gd name="T0" fmla="*/ 98 w 163"/>
                <a:gd name="T1" fmla="*/ 4 h 137"/>
                <a:gd name="T2" fmla="*/ 0 w 163"/>
                <a:gd name="T3" fmla="*/ 56 h 137"/>
                <a:gd name="T4" fmla="*/ 43 w 163"/>
                <a:gd name="T5" fmla="*/ 137 h 137"/>
                <a:gd name="T6" fmla="*/ 141 w 163"/>
                <a:gd name="T7" fmla="*/ 85 h 137"/>
                <a:gd name="T8" fmla="*/ 141 w 163"/>
                <a:gd name="T9" fmla="*/ 85 h 137"/>
                <a:gd name="T10" fmla="*/ 148 w 163"/>
                <a:gd name="T11" fmla="*/ 81 h 137"/>
                <a:gd name="T12" fmla="*/ 154 w 163"/>
                <a:gd name="T13" fmla="*/ 74 h 137"/>
                <a:gd name="T14" fmla="*/ 158 w 163"/>
                <a:gd name="T15" fmla="*/ 68 h 137"/>
                <a:gd name="T16" fmla="*/ 162 w 163"/>
                <a:gd name="T17" fmla="*/ 59 h 137"/>
                <a:gd name="T18" fmla="*/ 163 w 163"/>
                <a:gd name="T19" fmla="*/ 51 h 137"/>
                <a:gd name="T20" fmla="*/ 163 w 163"/>
                <a:gd name="T21" fmla="*/ 42 h 137"/>
                <a:gd name="T22" fmla="*/ 161 w 163"/>
                <a:gd name="T23" fmla="*/ 33 h 137"/>
                <a:gd name="T24" fmla="*/ 157 w 163"/>
                <a:gd name="T25" fmla="*/ 25 h 137"/>
                <a:gd name="T26" fmla="*/ 157 w 163"/>
                <a:gd name="T27" fmla="*/ 25 h 137"/>
                <a:gd name="T28" fmla="*/ 155 w 163"/>
                <a:gd name="T29" fmla="*/ 21 h 137"/>
                <a:gd name="T30" fmla="*/ 155 w 163"/>
                <a:gd name="T31" fmla="*/ 21 h 137"/>
                <a:gd name="T32" fmla="*/ 153 w 163"/>
                <a:gd name="T33" fmla="*/ 18 h 137"/>
                <a:gd name="T34" fmla="*/ 153 w 163"/>
                <a:gd name="T35" fmla="*/ 18 h 137"/>
                <a:gd name="T36" fmla="*/ 153 w 163"/>
                <a:gd name="T37" fmla="*/ 17 h 137"/>
                <a:gd name="T38" fmla="*/ 153 w 163"/>
                <a:gd name="T39" fmla="*/ 17 h 137"/>
                <a:gd name="T40" fmla="*/ 153 w 163"/>
                <a:gd name="T41" fmla="*/ 18 h 137"/>
                <a:gd name="T42" fmla="*/ 153 w 163"/>
                <a:gd name="T43" fmla="*/ 18 h 137"/>
                <a:gd name="T44" fmla="*/ 148 w 163"/>
                <a:gd name="T45" fmla="*/ 12 h 137"/>
                <a:gd name="T46" fmla="*/ 141 w 163"/>
                <a:gd name="T47" fmla="*/ 6 h 137"/>
                <a:gd name="T48" fmla="*/ 135 w 163"/>
                <a:gd name="T49" fmla="*/ 3 h 137"/>
                <a:gd name="T50" fmla="*/ 127 w 163"/>
                <a:gd name="T51" fmla="*/ 1 h 137"/>
                <a:gd name="T52" fmla="*/ 120 w 163"/>
                <a:gd name="T53" fmla="*/ 0 h 137"/>
                <a:gd name="T54" fmla="*/ 112 w 163"/>
                <a:gd name="T55" fmla="*/ 0 h 137"/>
                <a:gd name="T56" fmla="*/ 105 w 163"/>
                <a:gd name="T57" fmla="*/ 1 h 137"/>
                <a:gd name="T58" fmla="*/ 98 w 163"/>
                <a:gd name="T59" fmla="*/ 4 h 137"/>
                <a:gd name="T60" fmla="*/ 98 w 163"/>
                <a:gd name="T61" fmla="*/ 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3" h="137">
                  <a:moveTo>
                    <a:pt x="98" y="4"/>
                  </a:moveTo>
                  <a:lnTo>
                    <a:pt x="0" y="56"/>
                  </a:lnTo>
                  <a:lnTo>
                    <a:pt x="43" y="137"/>
                  </a:lnTo>
                  <a:lnTo>
                    <a:pt x="141" y="85"/>
                  </a:lnTo>
                  <a:lnTo>
                    <a:pt x="141" y="85"/>
                  </a:lnTo>
                  <a:lnTo>
                    <a:pt x="148" y="81"/>
                  </a:lnTo>
                  <a:lnTo>
                    <a:pt x="154" y="74"/>
                  </a:lnTo>
                  <a:lnTo>
                    <a:pt x="158" y="68"/>
                  </a:lnTo>
                  <a:lnTo>
                    <a:pt x="162" y="59"/>
                  </a:lnTo>
                  <a:lnTo>
                    <a:pt x="163" y="51"/>
                  </a:lnTo>
                  <a:lnTo>
                    <a:pt x="163" y="42"/>
                  </a:lnTo>
                  <a:lnTo>
                    <a:pt x="161" y="33"/>
                  </a:lnTo>
                  <a:lnTo>
                    <a:pt x="157" y="25"/>
                  </a:lnTo>
                  <a:lnTo>
                    <a:pt x="157" y="25"/>
                  </a:lnTo>
                  <a:lnTo>
                    <a:pt x="155" y="21"/>
                  </a:lnTo>
                  <a:lnTo>
                    <a:pt x="155" y="21"/>
                  </a:lnTo>
                  <a:lnTo>
                    <a:pt x="153" y="18"/>
                  </a:lnTo>
                  <a:lnTo>
                    <a:pt x="153" y="18"/>
                  </a:lnTo>
                  <a:lnTo>
                    <a:pt x="153" y="17"/>
                  </a:lnTo>
                  <a:lnTo>
                    <a:pt x="153" y="17"/>
                  </a:lnTo>
                  <a:lnTo>
                    <a:pt x="153" y="18"/>
                  </a:lnTo>
                  <a:lnTo>
                    <a:pt x="153" y="18"/>
                  </a:lnTo>
                  <a:lnTo>
                    <a:pt x="148" y="12"/>
                  </a:lnTo>
                  <a:lnTo>
                    <a:pt x="141" y="6"/>
                  </a:lnTo>
                  <a:lnTo>
                    <a:pt x="135" y="3"/>
                  </a:lnTo>
                  <a:lnTo>
                    <a:pt x="127" y="1"/>
                  </a:lnTo>
                  <a:lnTo>
                    <a:pt x="120" y="0"/>
                  </a:lnTo>
                  <a:lnTo>
                    <a:pt x="112" y="0"/>
                  </a:lnTo>
                  <a:lnTo>
                    <a:pt x="105" y="1"/>
                  </a:lnTo>
                  <a:lnTo>
                    <a:pt x="98" y="4"/>
                  </a:lnTo>
                  <a:lnTo>
                    <a:pt x="98" y="4"/>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25" name="Freeform 524"/>
            <p:cNvSpPr>
              <a:spLocks/>
            </p:cNvSpPr>
            <p:nvPr/>
          </p:nvSpPr>
          <p:spPr bwMode="auto">
            <a:xfrm>
              <a:off x="6826573" y="1374178"/>
              <a:ext cx="70530" cy="57366"/>
            </a:xfrm>
            <a:custGeom>
              <a:avLst/>
              <a:gdLst>
                <a:gd name="T0" fmla="*/ 155 w 163"/>
                <a:gd name="T1" fmla="*/ 21 h 138"/>
                <a:gd name="T2" fmla="*/ 155 w 163"/>
                <a:gd name="T3" fmla="*/ 21 h 138"/>
                <a:gd name="T4" fmla="*/ 154 w 163"/>
                <a:gd name="T5" fmla="*/ 19 h 138"/>
                <a:gd name="T6" fmla="*/ 154 w 163"/>
                <a:gd name="T7" fmla="*/ 19 h 138"/>
                <a:gd name="T8" fmla="*/ 153 w 163"/>
                <a:gd name="T9" fmla="*/ 18 h 138"/>
                <a:gd name="T10" fmla="*/ 153 w 163"/>
                <a:gd name="T11" fmla="*/ 18 h 138"/>
                <a:gd name="T12" fmla="*/ 153 w 163"/>
                <a:gd name="T13" fmla="*/ 18 h 138"/>
                <a:gd name="T14" fmla="*/ 153 w 163"/>
                <a:gd name="T15" fmla="*/ 18 h 138"/>
                <a:gd name="T16" fmla="*/ 148 w 163"/>
                <a:gd name="T17" fmla="*/ 12 h 138"/>
                <a:gd name="T18" fmla="*/ 141 w 163"/>
                <a:gd name="T19" fmla="*/ 7 h 138"/>
                <a:gd name="T20" fmla="*/ 135 w 163"/>
                <a:gd name="T21" fmla="*/ 3 h 138"/>
                <a:gd name="T22" fmla="*/ 127 w 163"/>
                <a:gd name="T23" fmla="*/ 1 h 138"/>
                <a:gd name="T24" fmla="*/ 120 w 163"/>
                <a:gd name="T25" fmla="*/ 0 h 138"/>
                <a:gd name="T26" fmla="*/ 112 w 163"/>
                <a:gd name="T27" fmla="*/ 0 h 138"/>
                <a:gd name="T28" fmla="*/ 105 w 163"/>
                <a:gd name="T29" fmla="*/ 1 h 138"/>
                <a:gd name="T30" fmla="*/ 98 w 163"/>
                <a:gd name="T31" fmla="*/ 4 h 138"/>
                <a:gd name="T32" fmla="*/ 0 w 163"/>
                <a:gd name="T33" fmla="*/ 56 h 138"/>
                <a:gd name="T34" fmla="*/ 36 w 163"/>
                <a:gd name="T35" fmla="*/ 123 h 138"/>
                <a:gd name="T36" fmla="*/ 36 w 163"/>
                <a:gd name="T37" fmla="*/ 123 h 138"/>
                <a:gd name="T38" fmla="*/ 43 w 163"/>
                <a:gd name="T39" fmla="*/ 138 h 138"/>
                <a:gd name="T40" fmla="*/ 141 w 163"/>
                <a:gd name="T41" fmla="*/ 86 h 138"/>
                <a:gd name="T42" fmla="*/ 141 w 163"/>
                <a:gd name="T43" fmla="*/ 86 h 138"/>
                <a:gd name="T44" fmla="*/ 148 w 163"/>
                <a:gd name="T45" fmla="*/ 81 h 138"/>
                <a:gd name="T46" fmla="*/ 154 w 163"/>
                <a:gd name="T47" fmla="*/ 75 h 138"/>
                <a:gd name="T48" fmla="*/ 159 w 163"/>
                <a:gd name="T49" fmla="*/ 68 h 138"/>
                <a:gd name="T50" fmla="*/ 162 w 163"/>
                <a:gd name="T51" fmla="*/ 60 h 138"/>
                <a:gd name="T52" fmla="*/ 163 w 163"/>
                <a:gd name="T53" fmla="*/ 52 h 138"/>
                <a:gd name="T54" fmla="*/ 163 w 163"/>
                <a:gd name="T55" fmla="*/ 43 h 138"/>
                <a:gd name="T56" fmla="*/ 161 w 163"/>
                <a:gd name="T57" fmla="*/ 33 h 138"/>
                <a:gd name="T58" fmla="*/ 158 w 163"/>
                <a:gd name="T59" fmla="*/ 25 h 138"/>
                <a:gd name="T60" fmla="*/ 158 w 163"/>
                <a:gd name="T61" fmla="*/ 25 h 138"/>
                <a:gd name="T62" fmla="*/ 155 w 163"/>
                <a:gd name="T63" fmla="*/ 21 h 138"/>
                <a:gd name="T64" fmla="*/ 155 w 163"/>
                <a:gd name="T65" fmla="*/ 21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3" h="138">
                  <a:moveTo>
                    <a:pt x="155" y="21"/>
                  </a:moveTo>
                  <a:lnTo>
                    <a:pt x="155" y="21"/>
                  </a:lnTo>
                  <a:lnTo>
                    <a:pt x="154" y="19"/>
                  </a:lnTo>
                  <a:lnTo>
                    <a:pt x="154" y="19"/>
                  </a:lnTo>
                  <a:lnTo>
                    <a:pt x="153" y="18"/>
                  </a:lnTo>
                  <a:lnTo>
                    <a:pt x="153" y="18"/>
                  </a:lnTo>
                  <a:lnTo>
                    <a:pt x="153" y="18"/>
                  </a:lnTo>
                  <a:lnTo>
                    <a:pt x="153" y="18"/>
                  </a:lnTo>
                  <a:lnTo>
                    <a:pt x="148" y="12"/>
                  </a:lnTo>
                  <a:lnTo>
                    <a:pt x="141" y="7"/>
                  </a:lnTo>
                  <a:lnTo>
                    <a:pt x="135" y="3"/>
                  </a:lnTo>
                  <a:lnTo>
                    <a:pt x="127" y="1"/>
                  </a:lnTo>
                  <a:lnTo>
                    <a:pt x="120" y="0"/>
                  </a:lnTo>
                  <a:lnTo>
                    <a:pt x="112" y="0"/>
                  </a:lnTo>
                  <a:lnTo>
                    <a:pt x="105" y="1"/>
                  </a:lnTo>
                  <a:lnTo>
                    <a:pt x="98" y="4"/>
                  </a:lnTo>
                  <a:lnTo>
                    <a:pt x="0" y="56"/>
                  </a:lnTo>
                  <a:lnTo>
                    <a:pt x="36" y="123"/>
                  </a:lnTo>
                  <a:lnTo>
                    <a:pt x="36" y="123"/>
                  </a:lnTo>
                  <a:lnTo>
                    <a:pt x="43" y="138"/>
                  </a:lnTo>
                  <a:lnTo>
                    <a:pt x="141" y="86"/>
                  </a:lnTo>
                  <a:lnTo>
                    <a:pt x="141" y="86"/>
                  </a:lnTo>
                  <a:lnTo>
                    <a:pt x="148" y="81"/>
                  </a:lnTo>
                  <a:lnTo>
                    <a:pt x="154" y="75"/>
                  </a:lnTo>
                  <a:lnTo>
                    <a:pt x="159" y="68"/>
                  </a:lnTo>
                  <a:lnTo>
                    <a:pt x="162" y="60"/>
                  </a:lnTo>
                  <a:lnTo>
                    <a:pt x="163" y="52"/>
                  </a:lnTo>
                  <a:lnTo>
                    <a:pt x="163" y="43"/>
                  </a:lnTo>
                  <a:lnTo>
                    <a:pt x="161" y="33"/>
                  </a:lnTo>
                  <a:lnTo>
                    <a:pt x="158" y="25"/>
                  </a:lnTo>
                  <a:lnTo>
                    <a:pt x="158" y="25"/>
                  </a:lnTo>
                  <a:lnTo>
                    <a:pt x="155" y="21"/>
                  </a:lnTo>
                  <a:lnTo>
                    <a:pt x="155" y="21"/>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26" name="Freeform 525"/>
            <p:cNvSpPr>
              <a:spLocks/>
            </p:cNvSpPr>
            <p:nvPr/>
          </p:nvSpPr>
          <p:spPr bwMode="auto">
            <a:xfrm>
              <a:off x="6731958" y="1249324"/>
              <a:ext cx="110096" cy="197405"/>
            </a:xfrm>
            <a:custGeom>
              <a:avLst/>
              <a:gdLst>
                <a:gd name="T0" fmla="*/ 0 w 256"/>
                <a:gd name="T1" fmla="*/ 7 h 469"/>
                <a:gd name="T2" fmla="*/ 243 w 256"/>
                <a:gd name="T3" fmla="*/ 469 h 469"/>
                <a:gd name="T4" fmla="*/ 256 w 256"/>
                <a:gd name="T5" fmla="*/ 461 h 469"/>
                <a:gd name="T6" fmla="*/ 13 w 256"/>
                <a:gd name="T7" fmla="*/ 0 h 469"/>
                <a:gd name="T8" fmla="*/ 0 w 256"/>
                <a:gd name="T9" fmla="*/ 7 h 469"/>
              </a:gdLst>
              <a:ahLst/>
              <a:cxnLst>
                <a:cxn ang="0">
                  <a:pos x="T0" y="T1"/>
                </a:cxn>
                <a:cxn ang="0">
                  <a:pos x="T2" y="T3"/>
                </a:cxn>
                <a:cxn ang="0">
                  <a:pos x="T4" y="T5"/>
                </a:cxn>
                <a:cxn ang="0">
                  <a:pos x="T6" y="T7"/>
                </a:cxn>
                <a:cxn ang="0">
                  <a:pos x="T8" y="T9"/>
                </a:cxn>
              </a:cxnLst>
              <a:rect l="0" t="0" r="r" b="b"/>
              <a:pathLst>
                <a:path w="256" h="469">
                  <a:moveTo>
                    <a:pt x="0" y="7"/>
                  </a:moveTo>
                  <a:lnTo>
                    <a:pt x="243" y="469"/>
                  </a:lnTo>
                  <a:lnTo>
                    <a:pt x="256" y="461"/>
                  </a:lnTo>
                  <a:lnTo>
                    <a:pt x="13" y="0"/>
                  </a:lnTo>
                  <a:lnTo>
                    <a:pt x="0" y="7"/>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27" name="Freeform 526"/>
            <p:cNvSpPr>
              <a:spLocks/>
            </p:cNvSpPr>
            <p:nvPr/>
          </p:nvSpPr>
          <p:spPr bwMode="auto">
            <a:xfrm>
              <a:off x="6663148" y="1283068"/>
              <a:ext cx="70530" cy="57366"/>
            </a:xfrm>
            <a:custGeom>
              <a:avLst/>
              <a:gdLst>
                <a:gd name="T0" fmla="*/ 34 w 163"/>
                <a:gd name="T1" fmla="*/ 123 h 138"/>
                <a:gd name="T2" fmla="*/ 43 w 163"/>
                <a:gd name="T3" fmla="*/ 138 h 138"/>
                <a:gd name="T4" fmla="*/ 140 w 163"/>
                <a:gd name="T5" fmla="*/ 86 h 138"/>
                <a:gd name="T6" fmla="*/ 140 w 163"/>
                <a:gd name="T7" fmla="*/ 86 h 138"/>
                <a:gd name="T8" fmla="*/ 148 w 163"/>
                <a:gd name="T9" fmla="*/ 82 h 138"/>
                <a:gd name="T10" fmla="*/ 153 w 163"/>
                <a:gd name="T11" fmla="*/ 75 h 138"/>
                <a:gd name="T12" fmla="*/ 159 w 163"/>
                <a:gd name="T13" fmla="*/ 68 h 138"/>
                <a:gd name="T14" fmla="*/ 161 w 163"/>
                <a:gd name="T15" fmla="*/ 60 h 138"/>
                <a:gd name="T16" fmla="*/ 163 w 163"/>
                <a:gd name="T17" fmla="*/ 52 h 138"/>
                <a:gd name="T18" fmla="*/ 163 w 163"/>
                <a:gd name="T19" fmla="*/ 43 h 138"/>
                <a:gd name="T20" fmla="*/ 161 w 163"/>
                <a:gd name="T21" fmla="*/ 34 h 138"/>
                <a:gd name="T22" fmla="*/ 157 w 163"/>
                <a:gd name="T23" fmla="*/ 26 h 138"/>
                <a:gd name="T24" fmla="*/ 157 w 163"/>
                <a:gd name="T25" fmla="*/ 26 h 138"/>
                <a:gd name="T26" fmla="*/ 154 w 163"/>
                <a:gd name="T27" fmla="*/ 21 h 138"/>
                <a:gd name="T28" fmla="*/ 154 w 163"/>
                <a:gd name="T29" fmla="*/ 21 h 138"/>
                <a:gd name="T30" fmla="*/ 153 w 163"/>
                <a:gd name="T31" fmla="*/ 20 h 138"/>
                <a:gd name="T32" fmla="*/ 153 w 163"/>
                <a:gd name="T33" fmla="*/ 20 h 138"/>
                <a:gd name="T34" fmla="*/ 152 w 163"/>
                <a:gd name="T35" fmla="*/ 18 h 138"/>
                <a:gd name="T36" fmla="*/ 152 w 163"/>
                <a:gd name="T37" fmla="*/ 18 h 138"/>
                <a:gd name="T38" fmla="*/ 152 w 163"/>
                <a:gd name="T39" fmla="*/ 18 h 138"/>
                <a:gd name="T40" fmla="*/ 152 w 163"/>
                <a:gd name="T41" fmla="*/ 18 h 138"/>
                <a:gd name="T42" fmla="*/ 147 w 163"/>
                <a:gd name="T43" fmla="*/ 13 h 138"/>
                <a:gd name="T44" fmla="*/ 141 w 163"/>
                <a:gd name="T45" fmla="*/ 7 h 138"/>
                <a:gd name="T46" fmla="*/ 134 w 163"/>
                <a:gd name="T47" fmla="*/ 4 h 138"/>
                <a:gd name="T48" fmla="*/ 127 w 163"/>
                <a:gd name="T49" fmla="*/ 2 h 138"/>
                <a:gd name="T50" fmla="*/ 120 w 163"/>
                <a:gd name="T51" fmla="*/ 0 h 138"/>
                <a:gd name="T52" fmla="*/ 112 w 163"/>
                <a:gd name="T53" fmla="*/ 1 h 138"/>
                <a:gd name="T54" fmla="*/ 105 w 163"/>
                <a:gd name="T55" fmla="*/ 2 h 138"/>
                <a:gd name="T56" fmla="*/ 97 w 163"/>
                <a:gd name="T57" fmla="*/ 5 h 138"/>
                <a:gd name="T58" fmla="*/ 0 w 163"/>
                <a:gd name="T59" fmla="*/ 56 h 138"/>
                <a:gd name="T60" fmla="*/ 34 w 163"/>
                <a:gd name="T61" fmla="*/ 123 h 138"/>
                <a:gd name="T62" fmla="*/ 34 w 163"/>
                <a:gd name="T63" fmla="*/ 12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3" h="138">
                  <a:moveTo>
                    <a:pt x="34" y="123"/>
                  </a:moveTo>
                  <a:lnTo>
                    <a:pt x="43" y="138"/>
                  </a:lnTo>
                  <a:lnTo>
                    <a:pt x="140" y="86"/>
                  </a:lnTo>
                  <a:lnTo>
                    <a:pt x="140" y="86"/>
                  </a:lnTo>
                  <a:lnTo>
                    <a:pt x="148" y="82"/>
                  </a:lnTo>
                  <a:lnTo>
                    <a:pt x="153" y="75"/>
                  </a:lnTo>
                  <a:lnTo>
                    <a:pt x="159" y="68"/>
                  </a:lnTo>
                  <a:lnTo>
                    <a:pt x="161" y="60"/>
                  </a:lnTo>
                  <a:lnTo>
                    <a:pt x="163" y="52"/>
                  </a:lnTo>
                  <a:lnTo>
                    <a:pt x="163" y="43"/>
                  </a:lnTo>
                  <a:lnTo>
                    <a:pt x="161" y="34"/>
                  </a:lnTo>
                  <a:lnTo>
                    <a:pt x="157" y="26"/>
                  </a:lnTo>
                  <a:lnTo>
                    <a:pt x="157" y="26"/>
                  </a:lnTo>
                  <a:lnTo>
                    <a:pt x="154" y="21"/>
                  </a:lnTo>
                  <a:lnTo>
                    <a:pt x="154" y="21"/>
                  </a:lnTo>
                  <a:lnTo>
                    <a:pt x="153" y="20"/>
                  </a:lnTo>
                  <a:lnTo>
                    <a:pt x="153" y="20"/>
                  </a:lnTo>
                  <a:lnTo>
                    <a:pt x="152" y="18"/>
                  </a:lnTo>
                  <a:lnTo>
                    <a:pt x="152" y="18"/>
                  </a:lnTo>
                  <a:lnTo>
                    <a:pt x="152" y="18"/>
                  </a:lnTo>
                  <a:lnTo>
                    <a:pt x="152" y="18"/>
                  </a:lnTo>
                  <a:lnTo>
                    <a:pt x="147" y="13"/>
                  </a:lnTo>
                  <a:lnTo>
                    <a:pt x="141" y="7"/>
                  </a:lnTo>
                  <a:lnTo>
                    <a:pt x="134" y="4"/>
                  </a:lnTo>
                  <a:lnTo>
                    <a:pt x="127" y="2"/>
                  </a:lnTo>
                  <a:lnTo>
                    <a:pt x="120" y="0"/>
                  </a:lnTo>
                  <a:lnTo>
                    <a:pt x="112" y="1"/>
                  </a:lnTo>
                  <a:lnTo>
                    <a:pt x="105" y="2"/>
                  </a:lnTo>
                  <a:lnTo>
                    <a:pt x="97" y="5"/>
                  </a:lnTo>
                  <a:lnTo>
                    <a:pt x="0" y="56"/>
                  </a:lnTo>
                  <a:lnTo>
                    <a:pt x="34" y="123"/>
                  </a:lnTo>
                  <a:lnTo>
                    <a:pt x="34" y="123"/>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28" name="Freeform 527"/>
            <p:cNvSpPr>
              <a:spLocks/>
            </p:cNvSpPr>
            <p:nvPr/>
          </p:nvSpPr>
          <p:spPr bwMode="auto">
            <a:xfrm>
              <a:off x="6688950" y="1328623"/>
              <a:ext cx="70530" cy="57366"/>
            </a:xfrm>
            <a:custGeom>
              <a:avLst/>
              <a:gdLst>
                <a:gd name="T0" fmla="*/ 97 w 163"/>
                <a:gd name="T1" fmla="*/ 4 h 137"/>
                <a:gd name="T2" fmla="*/ 0 w 163"/>
                <a:gd name="T3" fmla="*/ 56 h 137"/>
                <a:gd name="T4" fmla="*/ 42 w 163"/>
                <a:gd name="T5" fmla="*/ 137 h 137"/>
                <a:gd name="T6" fmla="*/ 140 w 163"/>
                <a:gd name="T7" fmla="*/ 86 h 137"/>
                <a:gd name="T8" fmla="*/ 140 w 163"/>
                <a:gd name="T9" fmla="*/ 86 h 137"/>
                <a:gd name="T10" fmla="*/ 148 w 163"/>
                <a:gd name="T11" fmla="*/ 81 h 137"/>
                <a:gd name="T12" fmla="*/ 153 w 163"/>
                <a:gd name="T13" fmla="*/ 74 h 137"/>
                <a:gd name="T14" fmla="*/ 158 w 163"/>
                <a:gd name="T15" fmla="*/ 68 h 137"/>
                <a:gd name="T16" fmla="*/ 161 w 163"/>
                <a:gd name="T17" fmla="*/ 59 h 137"/>
                <a:gd name="T18" fmla="*/ 163 w 163"/>
                <a:gd name="T19" fmla="*/ 52 h 137"/>
                <a:gd name="T20" fmla="*/ 162 w 163"/>
                <a:gd name="T21" fmla="*/ 42 h 137"/>
                <a:gd name="T22" fmla="*/ 161 w 163"/>
                <a:gd name="T23" fmla="*/ 33 h 137"/>
                <a:gd name="T24" fmla="*/ 157 w 163"/>
                <a:gd name="T25" fmla="*/ 25 h 137"/>
                <a:gd name="T26" fmla="*/ 157 w 163"/>
                <a:gd name="T27" fmla="*/ 25 h 137"/>
                <a:gd name="T28" fmla="*/ 154 w 163"/>
                <a:gd name="T29" fmla="*/ 21 h 137"/>
                <a:gd name="T30" fmla="*/ 154 w 163"/>
                <a:gd name="T31" fmla="*/ 21 h 137"/>
                <a:gd name="T32" fmla="*/ 153 w 163"/>
                <a:gd name="T33" fmla="*/ 19 h 137"/>
                <a:gd name="T34" fmla="*/ 153 w 163"/>
                <a:gd name="T35" fmla="*/ 19 h 137"/>
                <a:gd name="T36" fmla="*/ 152 w 163"/>
                <a:gd name="T37" fmla="*/ 18 h 137"/>
                <a:gd name="T38" fmla="*/ 152 w 163"/>
                <a:gd name="T39" fmla="*/ 18 h 137"/>
                <a:gd name="T40" fmla="*/ 152 w 163"/>
                <a:gd name="T41" fmla="*/ 18 h 137"/>
                <a:gd name="T42" fmla="*/ 152 w 163"/>
                <a:gd name="T43" fmla="*/ 18 h 137"/>
                <a:gd name="T44" fmla="*/ 147 w 163"/>
                <a:gd name="T45" fmla="*/ 12 h 137"/>
                <a:gd name="T46" fmla="*/ 142 w 163"/>
                <a:gd name="T47" fmla="*/ 7 h 137"/>
                <a:gd name="T48" fmla="*/ 134 w 163"/>
                <a:gd name="T49" fmla="*/ 3 h 137"/>
                <a:gd name="T50" fmla="*/ 127 w 163"/>
                <a:gd name="T51" fmla="*/ 1 h 137"/>
                <a:gd name="T52" fmla="*/ 120 w 163"/>
                <a:gd name="T53" fmla="*/ 0 h 137"/>
                <a:gd name="T54" fmla="*/ 112 w 163"/>
                <a:gd name="T55" fmla="*/ 0 h 137"/>
                <a:gd name="T56" fmla="*/ 105 w 163"/>
                <a:gd name="T57" fmla="*/ 1 h 137"/>
                <a:gd name="T58" fmla="*/ 97 w 163"/>
                <a:gd name="T59" fmla="*/ 4 h 137"/>
                <a:gd name="T60" fmla="*/ 97 w 163"/>
                <a:gd name="T61" fmla="*/ 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3" h="137">
                  <a:moveTo>
                    <a:pt x="97" y="4"/>
                  </a:moveTo>
                  <a:lnTo>
                    <a:pt x="0" y="56"/>
                  </a:lnTo>
                  <a:lnTo>
                    <a:pt x="42" y="137"/>
                  </a:lnTo>
                  <a:lnTo>
                    <a:pt x="140" y="86"/>
                  </a:lnTo>
                  <a:lnTo>
                    <a:pt x="140" y="86"/>
                  </a:lnTo>
                  <a:lnTo>
                    <a:pt x="148" y="81"/>
                  </a:lnTo>
                  <a:lnTo>
                    <a:pt x="153" y="74"/>
                  </a:lnTo>
                  <a:lnTo>
                    <a:pt x="158" y="68"/>
                  </a:lnTo>
                  <a:lnTo>
                    <a:pt x="161" y="59"/>
                  </a:lnTo>
                  <a:lnTo>
                    <a:pt x="163" y="52"/>
                  </a:lnTo>
                  <a:lnTo>
                    <a:pt x="162" y="42"/>
                  </a:lnTo>
                  <a:lnTo>
                    <a:pt x="161" y="33"/>
                  </a:lnTo>
                  <a:lnTo>
                    <a:pt x="157" y="25"/>
                  </a:lnTo>
                  <a:lnTo>
                    <a:pt x="157" y="25"/>
                  </a:lnTo>
                  <a:lnTo>
                    <a:pt x="154" y="21"/>
                  </a:lnTo>
                  <a:lnTo>
                    <a:pt x="154" y="21"/>
                  </a:lnTo>
                  <a:lnTo>
                    <a:pt x="153" y="19"/>
                  </a:lnTo>
                  <a:lnTo>
                    <a:pt x="153" y="19"/>
                  </a:lnTo>
                  <a:lnTo>
                    <a:pt x="152" y="18"/>
                  </a:lnTo>
                  <a:lnTo>
                    <a:pt x="152" y="18"/>
                  </a:lnTo>
                  <a:lnTo>
                    <a:pt x="152" y="18"/>
                  </a:lnTo>
                  <a:lnTo>
                    <a:pt x="152" y="18"/>
                  </a:lnTo>
                  <a:lnTo>
                    <a:pt x="147" y="12"/>
                  </a:lnTo>
                  <a:lnTo>
                    <a:pt x="142" y="7"/>
                  </a:lnTo>
                  <a:lnTo>
                    <a:pt x="134" y="3"/>
                  </a:lnTo>
                  <a:lnTo>
                    <a:pt x="127" y="1"/>
                  </a:lnTo>
                  <a:lnTo>
                    <a:pt x="120" y="0"/>
                  </a:lnTo>
                  <a:lnTo>
                    <a:pt x="112" y="0"/>
                  </a:lnTo>
                  <a:lnTo>
                    <a:pt x="105" y="1"/>
                  </a:lnTo>
                  <a:lnTo>
                    <a:pt x="97" y="4"/>
                  </a:lnTo>
                  <a:lnTo>
                    <a:pt x="97" y="4"/>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29" name="Freeform 528"/>
            <p:cNvSpPr>
              <a:spLocks/>
            </p:cNvSpPr>
            <p:nvPr/>
          </p:nvSpPr>
          <p:spPr bwMode="auto">
            <a:xfrm>
              <a:off x="6713035" y="1374178"/>
              <a:ext cx="70530" cy="59052"/>
            </a:xfrm>
            <a:custGeom>
              <a:avLst/>
              <a:gdLst>
                <a:gd name="T0" fmla="*/ 97 w 163"/>
                <a:gd name="T1" fmla="*/ 4 h 138"/>
                <a:gd name="T2" fmla="*/ 0 w 163"/>
                <a:gd name="T3" fmla="*/ 56 h 138"/>
                <a:gd name="T4" fmla="*/ 42 w 163"/>
                <a:gd name="T5" fmla="*/ 138 h 138"/>
                <a:gd name="T6" fmla="*/ 141 w 163"/>
                <a:gd name="T7" fmla="*/ 86 h 138"/>
                <a:gd name="T8" fmla="*/ 141 w 163"/>
                <a:gd name="T9" fmla="*/ 86 h 138"/>
                <a:gd name="T10" fmla="*/ 148 w 163"/>
                <a:gd name="T11" fmla="*/ 81 h 138"/>
                <a:gd name="T12" fmla="*/ 154 w 163"/>
                <a:gd name="T13" fmla="*/ 75 h 138"/>
                <a:gd name="T14" fmla="*/ 158 w 163"/>
                <a:gd name="T15" fmla="*/ 68 h 138"/>
                <a:gd name="T16" fmla="*/ 161 w 163"/>
                <a:gd name="T17" fmla="*/ 60 h 138"/>
                <a:gd name="T18" fmla="*/ 163 w 163"/>
                <a:gd name="T19" fmla="*/ 52 h 138"/>
                <a:gd name="T20" fmla="*/ 162 w 163"/>
                <a:gd name="T21" fmla="*/ 43 h 138"/>
                <a:gd name="T22" fmla="*/ 161 w 163"/>
                <a:gd name="T23" fmla="*/ 34 h 138"/>
                <a:gd name="T24" fmla="*/ 157 w 163"/>
                <a:gd name="T25" fmla="*/ 26 h 138"/>
                <a:gd name="T26" fmla="*/ 157 w 163"/>
                <a:gd name="T27" fmla="*/ 26 h 138"/>
                <a:gd name="T28" fmla="*/ 155 w 163"/>
                <a:gd name="T29" fmla="*/ 21 h 138"/>
                <a:gd name="T30" fmla="*/ 155 w 163"/>
                <a:gd name="T31" fmla="*/ 21 h 138"/>
                <a:gd name="T32" fmla="*/ 154 w 163"/>
                <a:gd name="T33" fmla="*/ 19 h 138"/>
                <a:gd name="T34" fmla="*/ 154 w 163"/>
                <a:gd name="T35" fmla="*/ 19 h 138"/>
                <a:gd name="T36" fmla="*/ 153 w 163"/>
                <a:gd name="T37" fmla="*/ 18 h 138"/>
                <a:gd name="T38" fmla="*/ 153 w 163"/>
                <a:gd name="T39" fmla="*/ 18 h 138"/>
                <a:gd name="T40" fmla="*/ 153 w 163"/>
                <a:gd name="T41" fmla="*/ 18 h 138"/>
                <a:gd name="T42" fmla="*/ 153 w 163"/>
                <a:gd name="T43" fmla="*/ 18 h 138"/>
                <a:gd name="T44" fmla="*/ 147 w 163"/>
                <a:gd name="T45" fmla="*/ 13 h 138"/>
                <a:gd name="T46" fmla="*/ 141 w 163"/>
                <a:gd name="T47" fmla="*/ 7 h 138"/>
                <a:gd name="T48" fmla="*/ 134 w 163"/>
                <a:gd name="T49" fmla="*/ 4 h 138"/>
                <a:gd name="T50" fmla="*/ 128 w 163"/>
                <a:gd name="T51" fmla="*/ 1 h 138"/>
                <a:gd name="T52" fmla="*/ 120 w 163"/>
                <a:gd name="T53" fmla="*/ 0 h 138"/>
                <a:gd name="T54" fmla="*/ 113 w 163"/>
                <a:gd name="T55" fmla="*/ 0 h 138"/>
                <a:gd name="T56" fmla="*/ 105 w 163"/>
                <a:gd name="T57" fmla="*/ 2 h 138"/>
                <a:gd name="T58" fmla="*/ 97 w 163"/>
                <a:gd name="T59" fmla="*/ 4 h 138"/>
                <a:gd name="T60" fmla="*/ 97 w 163"/>
                <a:gd name="T61" fmla="*/ 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3" h="138">
                  <a:moveTo>
                    <a:pt x="97" y="4"/>
                  </a:moveTo>
                  <a:lnTo>
                    <a:pt x="0" y="56"/>
                  </a:lnTo>
                  <a:lnTo>
                    <a:pt x="42" y="138"/>
                  </a:lnTo>
                  <a:lnTo>
                    <a:pt x="141" y="86"/>
                  </a:lnTo>
                  <a:lnTo>
                    <a:pt x="141" y="86"/>
                  </a:lnTo>
                  <a:lnTo>
                    <a:pt x="148" y="81"/>
                  </a:lnTo>
                  <a:lnTo>
                    <a:pt x="154" y="75"/>
                  </a:lnTo>
                  <a:lnTo>
                    <a:pt x="158" y="68"/>
                  </a:lnTo>
                  <a:lnTo>
                    <a:pt x="161" y="60"/>
                  </a:lnTo>
                  <a:lnTo>
                    <a:pt x="163" y="52"/>
                  </a:lnTo>
                  <a:lnTo>
                    <a:pt x="162" y="43"/>
                  </a:lnTo>
                  <a:lnTo>
                    <a:pt x="161" y="34"/>
                  </a:lnTo>
                  <a:lnTo>
                    <a:pt x="157" y="26"/>
                  </a:lnTo>
                  <a:lnTo>
                    <a:pt x="157" y="26"/>
                  </a:lnTo>
                  <a:lnTo>
                    <a:pt x="155" y="21"/>
                  </a:lnTo>
                  <a:lnTo>
                    <a:pt x="155" y="21"/>
                  </a:lnTo>
                  <a:lnTo>
                    <a:pt x="154" y="19"/>
                  </a:lnTo>
                  <a:lnTo>
                    <a:pt x="154" y="19"/>
                  </a:lnTo>
                  <a:lnTo>
                    <a:pt x="153" y="18"/>
                  </a:lnTo>
                  <a:lnTo>
                    <a:pt x="153" y="18"/>
                  </a:lnTo>
                  <a:lnTo>
                    <a:pt x="153" y="18"/>
                  </a:lnTo>
                  <a:lnTo>
                    <a:pt x="153" y="18"/>
                  </a:lnTo>
                  <a:lnTo>
                    <a:pt x="147" y="13"/>
                  </a:lnTo>
                  <a:lnTo>
                    <a:pt x="141" y="7"/>
                  </a:lnTo>
                  <a:lnTo>
                    <a:pt x="134" y="4"/>
                  </a:lnTo>
                  <a:lnTo>
                    <a:pt x="128" y="1"/>
                  </a:lnTo>
                  <a:lnTo>
                    <a:pt x="120" y="0"/>
                  </a:lnTo>
                  <a:lnTo>
                    <a:pt x="113" y="0"/>
                  </a:lnTo>
                  <a:lnTo>
                    <a:pt x="105" y="2"/>
                  </a:lnTo>
                  <a:lnTo>
                    <a:pt x="97" y="4"/>
                  </a:lnTo>
                  <a:lnTo>
                    <a:pt x="97" y="4"/>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30" name="Freeform 529"/>
            <p:cNvSpPr>
              <a:spLocks/>
            </p:cNvSpPr>
            <p:nvPr/>
          </p:nvSpPr>
          <p:spPr bwMode="auto">
            <a:xfrm>
              <a:off x="6737119" y="1419732"/>
              <a:ext cx="70530" cy="59052"/>
            </a:xfrm>
            <a:custGeom>
              <a:avLst/>
              <a:gdLst>
                <a:gd name="T0" fmla="*/ 156 w 164"/>
                <a:gd name="T1" fmla="*/ 20 h 137"/>
                <a:gd name="T2" fmla="*/ 156 w 164"/>
                <a:gd name="T3" fmla="*/ 20 h 137"/>
                <a:gd name="T4" fmla="*/ 155 w 164"/>
                <a:gd name="T5" fmla="*/ 19 h 137"/>
                <a:gd name="T6" fmla="*/ 155 w 164"/>
                <a:gd name="T7" fmla="*/ 19 h 137"/>
                <a:gd name="T8" fmla="*/ 154 w 164"/>
                <a:gd name="T9" fmla="*/ 17 h 137"/>
                <a:gd name="T10" fmla="*/ 154 w 164"/>
                <a:gd name="T11" fmla="*/ 17 h 137"/>
                <a:gd name="T12" fmla="*/ 154 w 164"/>
                <a:gd name="T13" fmla="*/ 18 h 137"/>
                <a:gd name="T14" fmla="*/ 154 w 164"/>
                <a:gd name="T15" fmla="*/ 18 h 137"/>
                <a:gd name="T16" fmla="*/ 148 w 164"/>
                <a:gd name="T17" fmla="*/ 12 h 137"/>
                <a:gd name="T18" fmla="*/ 142 w 164"/>
                <a:gd name="T19" fmla="*/ 6 h 137"/>
                <a:gd name="T20" fmla="*/ 135 w 164"/>
                <a:gd name="T21" fmla="*/ 3 h 137"/>
                <a:gd name="T22" fmla="*/ 129 w 164"/>
                <a:gd name="T23" fmla="*/ 1 h 137"/>
                <a:gd name="T24" fmla="*/ 121 w 164"/>
                <a:gd name="T25" fmla="*/ 0 h 137"/>
                <a:gd name="T26" fmla="*/ 114 w 164"/>
                <a:gd name="T27" fmla="*/ 0 h 137"/>
                <a:gd name="T28" fmla="*/ 106 w 164"/>
                <a:gd name="T29" fmla="*/ 1 h 137"/>
                <a:gd name="T30" fmla="*/ 99 w 164"/>
                <a:gd name="T31" fmla="*/ 4 h 137"/>
                <a:gd name="T32" fmla="*/ 0 w 164"/>
                <a:gd name="T33" fmla="*/ 56 h 137"/>
                <a:gd name="T34" fmla="*/ 36 w 164"/>
                <a:gd name="T35" fmla="*/ 122 h 137"/>
                <a:gd name="T36" fmla="*/ 36 w 164"/>
                <a:gd name="T37" fmla="*/ 122 h 137"/>
                <a:gd name="T38" fmla="*/ 44 w 164"/>
                <a:gd name="T39" fmla="*/ 137 h 137"/>
                <a:gd name="T40" fmla="*/ 142 w 164"/>
                <a:gd name="T41" fmla="*/ 85 h 137"/>
                <a:gd name="T42" fmla="*/ 142 w 164"/>
                <a:gd name="T43" fmla="*/ 85 h 137"/>
                <a:gd name="T44" fmla="*/ 149 w 164"/>
                <a:gd name="T45" fmla="*/ 81 h 137"/>
                <a:gd name="T46" fmla="*/ 155 w 164"/>
                <a:gd name="T47" fmla="*/ 74 h 137"/>
                <a:gd name="T48" fmla="*/ 159 w 164"/>
                <a:gd name="T49" fmla="*/ 68 h 137"/>
                <a:gd name="T50" fmla="*/ 162 w 164"/>
                <a:gd name="T51" fmla="*/ 59 h 137"/>
                <a:gd name="T52" fmla="*/ 164 w 164"/>
                <a:gd name="T53" fmla="*/ 51 h 137"/>
                <a:gd name="T54" fmla="*/ 164 w 164"/>
                <a:gd name="T55" fmla="*/ 42 h 137"/>
                <a:gd name="T56" fmla="*/ 162 w 164"/>
                <a:gd name="T57" fmla="*/ 33 h 137"/>
                <a:gd name="T58" fmla="*/ 158 w 164"/>
                <a:gd name="T59" fmla="*/ 25 h 137"/>
                <a:gd name="T60" fmla="*/ 158 w 164"/>
                <a:gd name="T61" fmla="*/ 25 h 137"/>
                <a:gd name="T62" fmla="*/ 156 w 164"/>
                <a:gd name="T63" fmla="*/ 20 h 137"/>
                <a:gd name="T64" fmla="*/ 156 w 164"/>
                <a:gd name="T65" fmla="*/ 2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4" h="137">
                  <a:moveTo>
                    <a:pt x="156" y="20"/>
                  </a:moveTo>
                  <a:lnTo>
                    <a:pt x="156" y="20"/>
                  </a:lnTo>
                  <a:lnTo>
                    <a:pt x="155" y="19"/>
                  </a:lnTo>
                  <a:lnTo>
                    <a:pt x="155" y="19"/>
                  </a:lnTo>
                  <a:lnTo>
                    <a:pt x="154" y="17"/>
                  </a:lnTo>
                  <a:lnTo>
                    <a:pt x="154" y="17"/>
                  </a:lnTo>
                  <a:lnTo>
                    <a:pt x="154" y="18"/>
                  </a:lnTo>
                  <a:lnTo>
                    <a:pt x="154" y="18"/>
                  </a:lnTo>
                  <a:lnTo>
                    <a:pt x="148" y="12"/>
                  </a:lnTo>
                  <a:lnTo>
                    <a:pt x="142" y="6"/>
                  </a:lnTo>
                  <a:lnTo>
                    <a:pt x="135" y="3"/>
                  </a:lnTo>
                  <a:lnTo>
                    <a:pt x="129" y="1"/>
                  </a:lnTo>
                  <a:lnTo>
                    <a:pt x="121" y="0"/>
                  </a:lnTo>
                  <a:lnTo>
                    <a:pt x="114" y="0"/>
                  </a:lnTo>
                  <a:lnTo>
                    <a:pt x="106" y="1"/>
                  </a:lnTo>
                  <a:lnTo>
                    <a:pt x="99" y="4"/>
                  </a:lnTo>
                  <a:lnTo>
                    <a:pt x="0" y="56"/>
                  </a:lnTo>
                  <a:lnTo>
                    <a:pt x="36" y="122"/>
                  </a:lnTo>
                  <a:lnTo>
                    <a:pt x="36" y="122"/>
                  </a:lnTo>
                  <a:lnTo>
                    <a:pt x="44" y="137"/>
                  </a:lnTo>
                  <a:lnTo>
                    <a:pt x="142" y="85"/>
                  </a:lnTo>
                  <a:lnTo>
                    <a:pt x="142" y="85"/>
                  </a:lnTo>
                  <a:lnTo>
                    <a:pt x="149" y="81"/>
                  </a:lnTo>
                  <a:lnTo>
                    <a:pt x="155" y="74"/>
                  </a:lnTo>
                  <a:lnTo>
                    <a:pt x="159" y="68"/>
                  </a:lnTo>
                  <a:lnTo>
                    <a:pt x="162" y="59"/>
                  </a:lnTo>
                  <a:lnTo>
                    <a:pt x="164" y="51"/>
                  </a:lnTo>
                  <a:lnTo>
                    <a:pt x="164" y="42"/>
                  </a:lnTo>
                  <a:lnTo>
                    <a:pt x="162" y="33"/>
                  </a:lnTo>
                  <a:lnTo>
                    <a:pt x="158" y="25"/>
                  </a:lnTo>
                  <a:lnTo>
                    <a:pt x="158" y="25"/>
                  </a:lnTo>
                  <a:lnTo>
                    <a:pt x="156" y="20"/>
                  </a:lnTo>
                  <a:lnTo>
                    <a:pt x="156" y="20"/>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31" name="Freeform 530"/>
            <p:cNvSpPr>
              <a:spLocks/>
            </p:cNvSpPr>
            <p:nvPr/>
          </p:nvSpPr>
          <p:spPr bwMode="auto">
            <a:xfrm>
              <a:off x="6642504" y="1296567"/>
              <a:ext cx="110096" cy="195718"/>
            </a:xfrm>
            <a:custGeom>
              <a:avLst/>
              <a:gdLst>
                <a:gd name="T0" fmla="*/ 0 w 256"/>
                <a:gd name="T1" fmla="*/ 7 h 468"/>
                <a:gd name="T2" fmla="*/ 243 w 256"/>
                <a:gd name="T3" fmla="*/ 468 h 468"/>
                <a:gd name="T4" fmla="*/ 256 w 256"/>
                <a:gd name="T5" fmla="*/ 461 h 468"/>
                <a:gd name="T6" fmla="*/ 13 w 256"/>
                <a:gd name="T7" fmla="*/ 0 h 468"/>
                <a:gd name="T8" fmla="*/ 0 w 256"/>
                <a:gd name="T9" fmla="*/ 7 h 468"/>
              </a:gdLst>
              <a:ahLst/>
              <a:cxnLst>
                <a:cxn ang="0">
                  <a:pos x="T0" y="T1"/>
                </a:cxn>
                <a:cxn ang="0">
                  <a:pos x="T2" y="T3"/>
                </a:cxn>
                <a:cxn ang="0">
                  <a:pos x="T4" y="T5"/>
                </a:cxn>
                <a:cxn ang="0">
                  <a:pos x="T6" y="T7"/>
                </a:cxn>
                <a:cxn ang="0">
                  <a:pos x="T8" y="T9"/>
                </a:cxn>
              </a:cxnLst>
              <a:rect l="0" t="0" r="r" b="b"/>
              <a:pathLst>
                <a:path w="256" h="468">
                  <a:moveTo>
                    <a:pt x="0" y="7"/>
                  </a:moveTo>
                  <a:lnTo>
                    <a:pt x="243" y="468"/>
                  </a:lnTo>
                  <a:lnTo>
                    <a:pt x="256" y="461"/>
                  </a:lnTo>
                  <a:lnTo>
                    <a:pt x="13" y="0"/>
                  </a:lnTo>
                  <a:lnTo>
                    <a:pt x="0" y="7"/>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32" name="Freeform 531"/>
            <p:cNvSpPr>
              <a:spLocks/>
            </p:cNvSpPr>
            <p:nvPr/>
          </p:nvSpPr>
          <p:spPr bwMode="auto">
            <a:xfrm>
              <a:off x="6374147" y="1434919"/>
              <a:ext cx="110096" cy="197405"/>
            </a:xfrm>
            <a:custGeom>
              <a:avLst/>
              <a:gdLst>
                <a:gd name="T0" fmla="*/ 0 w 257"/>
                <a:gd name="T1" fmla="*/ 7 h 468"/>
                <a:gd name="T2" fmla="*/ 244 w 257"/>
                <a:gd name="T3" fmla="*/ 468 h 468"/>
                <a:gd name="T4" fmla="*/ 257 w 257"/>
                <a:gd name="T5" fmla="*/ 462 h 468"/>
                <a:gd name="T6" fmla="*/ 13 w 257"/>
                <a:gd name="T7" fmla="*/ 0 h 468"/>
                <a:gd name="T8" fmla="*/ 0 w 257"/>
                <a:gd name="T9" fmla="*/ 7 h 468"/>
              </a:gdLst>
              <a:ahLst/>
              <a:cxnLst>
                <a:cxn ang="0">
                  <a:pos x="T0" y="T1"/>
                </a:cxn>
                <a:cxn ang="0">
                  <a:pos x="T2" y="T3"/>
                </a:cxn>
                <a:cxn ang="0">
                  <a:pos x="T4" y="T5"/>
                </a:cxn>
                <a:cxn ang="0">
                  <a:pos x="T6" y="T7"/>
                </a:cxn>
                <a:cxn ang="0">
                  <a:pos x="T8" y="T9"/>
                </a:cxn>
              </a:cxnLst>
              <a:rect l="0" t="0" r="r" b="b"/>
              <a:pathLst>
                <a:path w="257" h="468">
                  <a:moveTo>
                    <a:pt x="0" y="7"/>
                  </a:moveTo>
                  <a:lnTo>
                    <a:pt x="244" y="468"/>
                  </a:lnTo>
                  <a:lnTo>
                    <a:pt x="257" y="462"/>
                  </a:lnTo>
                  <a:lnTo>
                    <a:pt x="13" y="0"/>
                  </a:lnTo>
                  <a:lnTo>
                    <a:pt x="0" y="7"/>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33" name="Freeform 532"/>
            <p:cNvSpPr>
              <a:spLocks/>
            </p:cNvSpPr>
            <p:nvPr/>
          </p:nvSpPr>
          <p:spPr bwMode="auto">
            <a:xfrm>
              <a:off x="6308441" y="1471399"/>
              <a:ext cx="70531" cy="57366"/>
            </a:xfrm>
            <a:custGeom>
              <a:avLst/>
              <a:gdLst>
                <a:gd name="T0" fmla="*/ 141 w 163"/>
                <a:gd name="T1" fmla="*/ 87 h 137"/>
                <a:gd name="T2" fmla="*/ 141 w 163"/>
                <a:gd name="T3" fmla="*/ 87 h 137"/>
                <a:gd name="T4" fmla="*/ 148 w 163"/>
                <a:gd name="T5" fmla="*/ 81 h 137"/>
                <a:gd name="T6" fmla="*/ 155 w 163"/>
                <a:gd name="T7" fmla="*/ 75 h 137"/>
                <a:gd name="T8" fmla="*/ 159 w 163"/>
                <a:gd name="T9" fmla="*/ 68 h 137"/>
                <a:gd name="T10" fmla="*/ 162 w 163"/>
                <a:gd name="T11" fmla="*/ 60 h 137"/>
                <a:gd name="T12" fmla="*/ 163 w 163"/>
                <a:gd name="T13" fmla="*/ 52 h 137"/>
                <a:gd name="T14" fmla="*/ 163 w 163"/>
                <a:gd name="T15" fmla="*/ 42 h 137"/>
                <a:gd name="T16" fmla="*/ 161 w 163"/>
                <a:gd name="T17" fmla="*/ 34 h 137"/>
                <a:gd name="T18" fmla="*/ 158 w 163"/>
                <a:gd name="T19" fmla="*/ 25 h 137"/>
                <a:gd name="T20" fmla="*/ 158 w 163"/>
                <a:gd name="T21" fmla="*/ 25 h 137"/>
                <a:gd name="T22" fmla="*/ 156 w 163"/>
                <a:gd name="T23" fmla="*/ 22 h 137"/>
                <a:gd name="T24" fmla="*/ 156 w 163"/>
                <a:gd name="T25" fmla="*/ 22 h 137"/>
                <a:gd name="T26" fmla="*/ 155 w 163"/>
                <a:gd name="T27" fmla="*/ 20 h 137"/>
                <a:gd name="T28" fmla="*/ 155 w 163"/>
                <a:gd name="T29" fmla="*/ 20 h 137"/>
                <a:gd name="T30" fmla="*/ 153 w 163"/>
                <a:gd name="T31" fmla="*/ 19 h 137"/>
                <a:gd name="T32" fmla="*/ 153 w 163"/>
                <a:gd name="T33" fmla="*/ 19 h 137"/>
                <a:gd name="T34" fmla="*/ 153 w 163"/>
                <a:gd name="T35" fmla="*/ 19 h 137"/>
                <a:gd name="T36" fmla="*/ 153 w 163"/>
                <a:gd name="T37" fmla="*/ 19 h 137"/>
                <a:gd name="T38" fmla="*/ 148 w 163"/>
                <a:gd name="T39" fmla="*/ 12 h 137"/>
                <a:gd name="T40" fmla="*/ 142 w 163"/>
                <a:gd name="T41" fmla="*/ 8 h 137"/>
                <a:gd name="T42" fmla="*/ 135 w 163"/>
                <a:gd name="T43" fmla="*/ 4 h 137"/>
                <a:gd name="T44" fmla="*/ 128 w 163"/>
                <a:gd name="T45" fmla="*/ 1 h 137"/>
                <a:gd name="T46" fmla="*/ 120 w 163"/>
                <a:gd name="T47" fmla="*/ 0 h 137"/>
                <a:gd name="T48" fmla="*/ 112 w 163"/>
                <a:gd name="T49" fmla="*/ 0 h 137"/>
                <a:gd name="T50" fmla="*/ 105 w 163"/>
                <a:gd name="T51" fmla="*/ 1 h 137"/>
                <a:gd name="T52" fmla="*/ 98 w 163"/>
                <a:gd name="T53" fmla="*/ 5 h 137"/>
                <a:gd name="T54" fmla="*/ 0 w 163"/>
                <a:gd name="T55" fmla="*/ 56 h 137"/>
                <a:gd name="T56" fmla="*/ 43 w 163"/>
                <a:gd name="T57" fmla="*/ 137 h 137"/>
                <a:gd name="T58" fmla="*/ 141 w 163"/>
                <a:gd name="T59" fmla="*/ 8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3" h="137">
                  <a:moveTo>
                    <a:pt x="141" y="87"/>
                  </a:moveTo>
                  <a:lnTo>
                    <a:pt x="141" y="87"/>
                  </a:lnTo>
                  <a:lnTo>
                    <a:pt x="148" y="81"/>
                  </a:lnTo>
                  <a:lnTo>
                    <a:pt x="155" y="75"/>
                  </a:lnTo>
                  <a:lnTo>
                    <a:pt x="159" y="68"/>
                  </a:lnTo>
                  <a:lnTo>
                    <a:pt x="162" y="60"/>
                  </a:lnTo>
                  <a:lnTo>
                    <a:pt x="163" y="52"/>
                  </a:lnTo>
                  <a:lnTo>
                    <a:pt x="163" y="42"/>
                  </a:lnTo>
                  <a:lnTo>
                    <a:pt x="161" y="34"/>
                  </a:lnTo>
                  <a:lnTo>
                    <a:pt x="158" y="25"/>
                  </a:lnTo>
                  <a:lnTo>
                    <a:pt x="158" y="25"/>
                  </a:lnTo>
                  <a:lnTo>
                    <a:pt x="156" y="22"/>
                  </a:lnTo>
                  <a:lnTo>
                    <a:pt x="156" y="22"/>
                  </a:lnTo>
                  <a:lnTo>
                    <a:pt x="155" y="20"/>
                  </a:lnTo>
                  <a:lnTo>
                    <a:pt x="155" y="20"/>
                  </a:lnTo>
                  <a:lnTo>
                    <a:pt x="153" y="19"/>
                  </a:lnTo>
                  <a:lnTo>
                    <a:pt x="153" y="19"/>
                  </a:lnTo>
                  <a:lnTo>
                    <a:pt x="153" y="19"/>
                  </a:lnTo>
                  <a:lnTo>
                    <a:pt x="153" y="19"/>
                  </a:lnTo>
                  <a:lnTo>
                    <a:pt x="148" y="12"/>
                  </a:lnTo>
                  <a:lnTo>
                    <a:pt x="142" y="8"/>
                  </a:lnTo>
                  <a:lnTo>
                    <a:pt x="135" y="4"/>
                  </a:lnTo>
                  <a:lnTo>
                    <a:pt x="128" y="1"/>
                  </a:lnTo>
                  <a:lnTo>
                    <a:pt x="120" y="0"/>
                  </a:lnTo>
                  <a:lnTo>
                    <a:pt x="112" y="0"/>
                  </a:lnTo>
                  <a:lnTo>
                    <a:pt x="105" y="1"/>
                  </a:lnTo>
                  <a:lnTo>
                    <a:pt x="98" y="5"/>
                  </a:lnTo>
                  <a:lnTo>
                    <a:pt x="0" y="56"/>
                  </a:lnTo>
                  <a:lnTo>
                    <a:pt x="43" y="137"/>
                  </a:lnTo>
                  <a:lnTo>
                    <a:pt x="141" y="87"/>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34" name="Freeform 533"/>
            <p:cNvSpPr>
              <a:spLocks/>
            </p:cNvSpPr>
            <p:nvPr/>
          </p:nvSpPr>
          <p:spPr bwMode="auto">
            <a:xfrm>
              <a:off x="6331139" y="1514215"/>
              <a:ext cx="68811" cy="57366"/>
            </a:xfrm>
            <a:custGeom>
              <a:avLst/>
              <a:gdLst>
                <a:gd name="T0" fmla="*/ 99 w 163"/>
                <a:gd name="T1" fmla="*/ 5 h 139"/>
                <a:gd name="T2" fmla="*/ 0 w 163"/>
                <a:gd name="T3" fmla="*/ 56 h 139"/>
                <a:gd name="T4" fmla="*/ 44 w 163"/>
                <a:gd name="T5" fmla="*/ 139 h 139"/>
                <a:gd name="T6" fmla="*/ 141 w 163"/>
                <a:gd name="T7" fmla="*/ 87 h 139"/>
                <a:gd name="T8" fmla="*/ 141 w 163"/>
                <a:gd name="T9" fmla="*/ 87 h 139"/>
                <a:gd name="T10" fmla="*/ 148 w 163"/>
                <a:gd name="T11" fmla="*/ 81 h 139"/>
                <a:gd name="T12" fmla="*/ 155 w 163"/>
                <a:gd name="T13" fmla="*/ 76 h 139"/>
                <a:gd name="T14" fmla="*/ 159 w 163"/>
                <a:gd name="T15" fmla="*/ 68 h 139"/>
                <a:gd name="T16" fmla="*/ 161 w 163"/>
                <a:gd name="T17" fmla="*/ 61 h 139"/>
                <a:gd name="T18" fmla="*/ 163 w 163"/>
                <a:gd name="T19" fmla="*/ 52 h 139"/>
                <a:gd name="T20" fmla="*/ 163 w 163"/>
                <a:gd name="T21" fmla="*/ 44 h 139"/>
                <a:gd name="T22" fmla="*/ 161 w 163"/>
                <a:gd name="T23" fmla="*/ 35 h 139"/>
                <a:gd name="T24" fmla="*/ 158 w 163"/>
                <a:gd name="T25" fmla="*/ 26 h 139"/>
                <a:gd name="T26" fmla="*/ 158 w 163"/>
                <a:gd name="T27" fmla="*/ 26 h 139"/>
                <a:gd name="T28" fmla="*/ 156 w 163"/>
                <a:gd name="T29" fmla="*/ 22 h 139"/>
                <a:gd name="T30" fmla="*/ 156 w 163"/>
                <a:gd name="T31" fmla="*/ 22 h 139"/>
                <a:gd name="T32" fmla="*/ 155 w 163"/>
                <a:gd name="T33" fmla="*/ 21 h 139"/>
                <a:gd name="T34" fmla="*/ 155 w 163"/>
                <a:gd name="T35" fmla="*/ 21 h 139"/>
                <a:gd name="T36" fmla="*/ 153 w 163"/>
                <a:gd name="T37" fmla="*/ 19 h 139"/>
                <a:gd name="T38" fmla="*/ 153 w 163"/>
                <a:gd name="T39" fmla="*/ 19 h 139"/>
                <a:gd name="T40" fmla="*/ 153 w 163"/>
                <a:gd name="T41" fmla="*/ 19 h 139"/>
                <a:gd name="T42" fmla="*/ 153 w 163"/>
                <a:gd name="T43" fmla="*/ 19 h 139"/>
                <a:gd name="T44" fmla="*/ 147 w 163"/>
                <a:gd name="T45" fmla="*/ 13 h 139"/>
                <a:gd name="T46" fmla="*/ 142 w 163"/>
                <a:gd name="T47" fmla="*/ 8 h 139"/>
                <a:gd name="T48" fmla="*/ 135 w 163"/>
                <a:gd name="T49" fmla="*/ 5 h 139"/>
                <a:gd name="T50" fmla="*/ 128 w 163"/>
                <a:gd name="T51" fmla="*/ 1 h 139"/>
                <a:gd name="T52" fmla="*/ 120 w 163"/>
                <a:gd name="T53" fmla="*/ 0 h 139"/>
                <a:gd name="T54" fmla="*/ 113 w 163"/>
                <a:gd name="T55" fmla="*/ 0 h 139"/>
                <a:gd name="T56" fmla="*/ 105 w 163"/>
                <a:gd name="T57" fmla="*/ 2 h 139"/>
                <a:gd name="T58" fmla="*/ 99 w 163"/>
                <a:gd name="T59" fmla="*/ 5 h 139"/>
                <a:gd name="T60" fmla="*/ 99 w 163"/>
                <a:gd name="T61" fmla="*/ 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3" h="139">
                  <a:moveTo>
                    <a:pt x="99" y="5"/>
                  </a:moveTo>
                  <a:lnTo>
                    <a:pt x="0" y="56"/>
                  </a:lnTo>
                  <a:lnTo>
                    <a:pt x="44" y="139"/>
                  </a:lnTo>
                  <a:lnTo>
                    <a:pt x="141" y="87"/>
                  </a:lnTo>
                  <a:lnTo>
                    <a:pt x="141" y="87"/>
                  </a:lnTo>
                  <a:lnTo>
                    <a:pt x="148" y="81"/>
                  </a:lnTo>
                  <a:lnTo>
                    <a:pt x="155" y="76"/>
                  </a:lnTo>
                  <a:lnTo>
                    <a:pt x="159" y="68"/>
                  </a:lnTo>
                  <a:lnTo>
                    <a:pt x="161" y="61"/>
                  </a:lnTo>
                  <a:lnTo>
                    <a:pt x="163" y="52"/>
                  </a:lnTo>
                  <a:lnTo>
                    <a:pt x="163" y="44"/>
                  </a:lnTo>
                  <a:lnTo>
                    <a:pt x="161" y="35"/>
                  </a:lnTo>
                  <a:lnTo>
                    <a:pt x="158" y="26"/>
                  </a:lnTo>
                  <a:lnTo>
                    <a:pt x="158" y="26"/>
                  </a:lnTo>
                  <a:lnTo>
                    <a:pt x="156" y="22"/>
                  </a:lnTo>
                  <a:lnTo>
                    <a:pt x="156" y="22"/>
                  </a:lnTo>
                  <a:lnTo>
                    <a:pt x="155" y="21"/>
                  </a:lnTo>
                  <a:lnTo>
                    <a:pt x="155" y="21"/>
                  </a:lnTo>
                  <a:lnTo>
                    <a:pt x="153" y="19"/>
                  </a:lnTo>
                  <a:lnTo>
                    <a:pt x="153" y="19"/>
                  </a:lnTo>
                  <a:lnTo>
                    <a:pt x="153" y="19"/>
                  </a:lnTo>
                  <a:lnTo>
                    <a:pt x="153" y="19"/>
                  </a:lnTo>
                  <a:lnTo>
                    <a:pt x="147" y="13"/>
                  </a:lnTo>
                  <a:lnTo>
                    <a:pt x="142" y="8"/>
                  </a:lnTo>
                  <a:lnTo>
                    <a:pt x="135" y="5"/>
                  </a:lnTo>
                  <a:lnTo>
                    <a:pt x="128" y="1"/>
                  </a:lnTo>
                  <a:lnTo>
                    <a:pt x="120" y="0"/>
                  </a:lnTo>
                  <a:lnTo>
                    <a:pt x="113" y="0"/>
                  </a:lnTo>
                  <a:lnTo>
                    <a:pt x="105" y="2"/>
                  </a:lnTo>
                  <a:lnTo>
                    <a:pt x="99" y="5"/>
                  </a:lnTo>
                  <a:lnTo>
                    <a:pt x="99" y="5"/>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35" name="Freeform 534"/>
            <p:cNvSpPr>
              <a:spLocks/>
            </p:cNvSpPr>
            <p:nvPr/>
          </p:nvSpPr>
          <p:spPr bwMode="auto">
            <a:xfrm>
              <a:off x="6355223" y="1559772"/>
              <a:ext cx="70531" cy="57366"/>
            </a:xfrm>
            <a:custGeom>
              <a:avLst/>
              <a:gdLst>
                <a:gd name="T0" fmla="*/ 97 w 163"/>
                <a:gd name="T1" fmla="*/ 5 h 138"/>
                <a:gd name="T2" fmla="*/ 0 w 163"/>
                <a:gd name="T3" fmla="*/ 57 h 138"/>
                <a:gd name="T4" fmla="*/ 43 w 163"/>
                <a:gd name="T5" fmla="*/ 138 h 138"/>
                <a:gd name="T6" fmla="*/ 140 w 163"/>
                <a:gd name="T7" fmla="*/ 86 h 138"/>
                <a:gd name="T8" fmla="*/ 140 w 163"/>
                <a:gd name="T9" fmla="*/ 86 h 138"/>
                <a:gd name="T10" fmla="*/ 148 w 163"/>
                <a:gd name="T11" fmla="*/ 81 h 138"/>
                <a:gd name="T12" fmla="*/ 153 w 163"/>
                <a:gd name="T13" fmla="*/ 75 h 138"/>
                <a:gd name="T14" fmla="*/ 158 w 163"/>
                <a:gd name="T15" fmla="*/ 68 h 138"/>
                <a:gd name="T16" fmla="*/ 161 w 163"/>
                <a:gd name="T17" fmla="*/ 60 h 138"/>
                <a:gd name="T18" fmla="*/ 163 w 163"/>
                <a:gd name="T19" fmla="*/ 51 h 138"/>
                <a:gd name="T20" fmla="*/ 163 w 163"/>
                <a:gd name="T21" fmla="*/ 43 h 138"/>
                <a:gd name="T22" fmla="*/ 161 w 163"/>
                <a:gd name="T23" fmla="*/ 34 h 138"/>
                <a:gd name="T24" fmla="*/ 157 w 163"/>
                <a:gd name="T25" fmla="*/ 25 h 138"/>
                <a:gd name="T26" fmla="*/ 157 w 163"/>
                <a:gd name="T27" fmla="*/ 25 h 138"/>
                <a:gd name="T28" fmla="*/ 155 w 163"/>
                <a:gd name="T29" fmla="*/ 21 h 138"/>
                <a:gd name="T30" fmla="*/ 155 w 163"/>
                <a:gd name="T31" fmla="*/ 21 h 138"/>
                <a:gd name="T32" fmla="*/ 153 w 163"/>
                <a:gd name="T33" fmla="*/ 20 h 138"/>
                <a:gd name="T34" fmla="*/ 153 w 163"/>
                <a:gd name="T35" fmla="*/ 20 h 138"/>
                <a:gd name="T36" fmla="*/ 152 w 163"/>
                <a:gd name="T37" fmla="*/ 18 h 138"/>
                <a:gd name="T38" fmla="*/ 152 w 163"/>
                <a:gd name="T39" fmla="*/ 18 h 138"/>
                <a:gd name="T40" fmla="*/ 152 w 163"/>
                <a:gd name="T41" fmla="*/ 18 h 138"/>
                <a:gd name="T42" fmla="*/ 152 w 163"/>
                <a:gd name="T43" fmla="*/ 18 h 138"/>
                <a:gd name="T44" fmla="*/ 146 w 163"/>
                <a:gd name="T45" fmla="*/ 12 h 138"/>
                <a:gd name="T46" fmla="*/ 141 w 163"/>
                <a:gd name="T47" fmla="*/ 7 h 138"/>
                <a:gd name="T48" fmla="*/ 134 w 163"/>
                <a:gd name="T49" fmla="*/ 4 h 138"/>
                <a:gd name="T50" fmla="*/ 127 w 163"/>
                <a:gd name="T51" fmla="*/ 1 h 138"/>
                <a:gd name="T52" fmla="*/ 119 w 163"/>
                <a:gd name="T53" fmla="*/ 0 h 138"/>
                <a:gd name="T54" fmla="*/ 112 w 163"/>
                <a:gd name="T55" fmla="*/ 0 h 138"/>
                <a:gd name="T56" fmla="*/ 104 w 163"/>
                <a:gd name="T57" fmla="*/ 1 h 138"/>
                <a:gd name="T58" fmla="*/ 97 w 163"/>
                <a:gd name="T59" fmla="*/ 5 h 138"/>
                <a:gd name="T60" fmla="*/ 97 w 163"/>
                <a:gd name="T61" fmla="*/ 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3" h="138">
                  <a:moveTo>
                    <a:pt x="97" y="5"/>
                  </a:moveTo>
                  <a:lnTo>
                    <a:pt x="0" y="57"/>
                  </a:lnTo>
                  <a:lnTo>
                    <a:pt x="43" y="138"/>
                  </a:lnTo>
                  <a:lnTo>
                    <a:pt x="140" y="86"/>
                  </a:lnTo>
                  <a:lnTo>
                    <a:pt x="140" y="86"/>
                  </a:lnTo>
                  <a:lnTo>
                    <a:pt x="148" y="81"/>
                  </a:lnTo>
                  <a:lnTo>
                    <a:pt x="153" y="75"/>
                  </a:lnTo>
                  <a:lnTo>
                    <a:pt x="158" y="68"/>
                  </a:lnTo>
                  <a:lnTo>
                    <a:pt x="161" y="60"/>
                  </a:lnTo>
                  <a:lnTo>
                    <a:pt x="163" y="51"/>
                  </a:lnTo>
                  <a:lnTo>
                    <a:pt x="163" y="43"/>
                  </a:lnTo>
                  <a:lnTo>
                    <a:pt x="161" y="34"/>
                  </a:lnTo>
                  <a:lnTo>
                    <a:pt x="157" y="25"/>
                  </a:lnTo>
                  <a:lnTo>
                    <a:pt x="157" y="25"/>
                  </a:lnTo>
                  <a:lnTo>
                    <a:pt x="155" y="21"/>
                  </a:lnTo>
                  <a:lnTo>
                    <a:pt x="155" y="21"/>
                  </a:lnTo>
                  <a:lnTo>
                    <a:pt x="153" y="20"/>
                  </a:lnTo>
                  <a:lnTo>
                    <a:pt x="153" y="20"/>
                  </a:lnTo>
                  <a:lnTo>
                    <a:pt x="152" y="18"/>
                  </a:lnTo>
                  <a:lnTo>
                    <a:pt x="152" y="18"/>
                  </a:lnTo>
                  <a:lnTo>
                    <a:pt x="152" y="18"/>
                  </a:lnTo>
                  <a:lnTo>
                    <a:pt x="152" y="18"/>
                  </a:lnTo>
                  <a:lnTo>
                    <a:pt x="146" y="12"/>
                  </a:lnTo>
                  <a:lnTo>
                    <a:pt x="141" y="7"/>
                  </a:lnTo>
                  <a:lnTo>
                    <a:pt x="134" y="4"/>
                  </a:lnTo>
                  <a:lnTo>
                    <a:pt x="127" y="1"/>
                  </a:lnTo>
                  <a:lnTo>
                    <a:pt x="119" y="0"/>
                  </a:lnTo>
                  <a:lnTo>
                    <a:pt x="112" y="0"/>
                  </a:lnTo>
                  <a:lnTo>
                    <a:pt x="104" y="1"/>
                  </a:lnTo>
                  <a:lnTo>
                    <a:pt x="97" y="5"/>
                  </a:lnTo>
                  <a:lnTo>
                    <a:pt x="97" y="5"/>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36" name="Freeform 535"/>
            <p:cNvSpPr>
              <a:spLocks/>
            </p:cNvSpPr>
            <p:nvPr/>
          </p:nvSpPr>
          <p:spPr bwMode="auto">
            <a:xfrm>
              <a:off x="6379307" y="1605326"/>
              <a:ext cx="70531" cy="57366"/>
            </a:xfrm>
            <a:custGeom>
              <a:avLst/>
              <a:gdLst>
                <a:gd name="T0" fmla="*/ 154 w 163"/>
                <a:gd name="T1" fmla="*/ 22 h 139"/>
                <a:gd name="T2" fmla="*/ 154 w 163"/>
                <a:gd name="T3" fmla="*/ 22 h 139"/>
                <a:gd name="T4" fmla="*/ 153 w 163"/>
                <a:gd name="T5" fmla="*/ 20 h 139"/>
                <a:gd name="T6" fmla="*/ 153 w 163"/>
                <a:gd name="T7" fmla="*/ 20 h 139"/>
                <a:gd name="T8" fmla="*/ 152 w 163"/>
                <a:gd name="T9" fmla="*/ 19 h 139"/>
                <a:gd name="T10" fmla="*/ 152 w 163"/>
                <a:gd name="T11" fmla="*/ 19 h 139"/>
                <a:gd name="T12" fmla="*/ 152 w 163"/>
                <a:gd name="T13" fmla="*/ 19 h 139"/>
                <a:gd name="T14" fmla="*/ 152 w 163"/>
                <a:gd name="T15" fmla="*/ 19 h 139"/>
                <a:gd name="T16" fmla="*/ 147 w 163"/>
                <a:gd name="T17" fmla="*/ 12 h 139"/>
                <a:gd name="T18" fmla="*/ 141 w 163"/>
                <a:gd name="T19" fmla="*/ 8 h 139"/>
                <a:gd name="T20" fmla="*/ 134 w 163"/>
                <a:gd name="T21" fmla="*/ 4 h 139"/>
                <a:gd name="T22" fmla="*/ 127 w 163"/>
                <a:gd name="T23" fmla="*/ 1 h 139"/>
                <a:gd name="T24" fmla="*/ 120 w 163"/>
                <a:gd name="T25" fmla="*/ 0 h 139"/>
                <a:gd name="T26" fmla="*/ 112 w 163"/>
                <a:gd name="T27" fmla="*/ 0 h 139"/>
                <a:gd name="T28" fmla="*/ 105 w 163"/>
                <a:gd name="T29" fmla="*/ 1 h 139"/>
                <a:gd name="T30" fmla="*/ 97 w 163"/>
                <a:gd name="T31" fmla="*/ 5 h 139"/>
                <a:gd name="T32" fmla="*/ 0 w 163"/>
                <a:gd name="T33" fmla="*/ 57 h 139"/>
                <a:gd name="T34" fmla="*/ 34 w 163"/>
                <a:gd name="T35" fmla="*/ 124 h 139"/>
                <a:gd name="T36" fmla="*/ 34 w 163"/>
                <a:gd name="T37" fmla="*/ 124 h 139"/>
                <a:gd name="T38" fmla="*/ 42 w 163"/>
                <a:gd name="T39" fmla="*/ 139 h 139"/>
                <a:gd name="T40" fmla="*/ 140 w 163"/>
                <a:gd name="T41" fmla="*/ 87 h 139"/>
                <a:gd name="T42" fmla="*/ 140 w 163"/>
                <a:gd name="T43" fmla="*/ 87 h 139"/>
                <a:gd name="T44" fmla="*/ 148 w 163"/>
                <a:gd name="T45" fmla="*/ 81 h 139"/>
                <a:gd name="T46" fmla="*/ 153 w 163"/>
                <a:gd name="T47" fmla="*/ 76 h 139"/>
                <a:gd name="T48" fmla="*/ 158 w 163"/>
                <a:gd name="T49" fmla="*/ 68 h 139"/>
                <a:gd name="T50" fmla="*/ 161 w 163"/>
                <a:gd name="T51" fmla="*/ 61 h 139"/>
                <a:gd name="T52" fmla="*/ 163 w 163"/>
                <a:gd name="T53" fmla="*/ 52 h 139"/>
                <a:gd name="T54" fmla="*/ 162 w 163"/>
                <a:gd name="T55" fmla="*/ 44 h 139"/>
                <a:gd name="T56" fmla="*/ 161 w 163"/>
                <a:gd name="T57" fmla="*/ 34 h 139"/>
                <a:gd name="T58" fmla="*/ 158 w 163"/>
                <a:gd name="T59" fmla="*/ 25 h 139"/>
                <a:gd name="T60" fmla="*/ 158 w 163"/>
                <a:gd name="T61" fmla="*/ 25 h 139"/>
                <a:gd name="T62" fmla="*/ 154 w 163"/>
                <a:gd name="T63" fmla="*/ 22 h 139"/>
                <a:gd name="T64" fmla="*/ 154 w 163"/>
                <a:gd name="T65" fmla="*/ 2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3" h="139">
                  <a:moveTo>
                    <a:pt x="154" y="22"/>
                  </a:moveTo>
                  <a:lnTo>
                    <a:pt x="154" y="22"/>
                  </a:lnTo>
                  <a:lnTo>
                    <a:pt x="153" y="20"/>
                  </a:lnTo>
                  <a:lnTo>
                    <a:pt x="153" y="20"/>
                  </a:lnTo>
                  <a:lnTo>
                    <a:pt x="152" y="19"/>
                  </a:lnTo>
                  <a:lnTo>
                    <a:pt x="152" y="19"/>
                  </a:lnTo>
                  <a:lnTo>
                    <a:pt x="152" y="19"/>
                  </a:lnTo>
                  <a:lnTo>
                    <a:pt x="152" y="19"/>
                  </a:lnTo>
                  <a:lnTo>
                    <a:pt x="147" y="12"/>
                  </a:lnTo>
                  <a:lnTo>
                    <a:pt x="141" y="8"/>
                  </a:lnTo>
                  <a:lnTo>
                    <a:pt x="134" y="4"/>
                  </a:lnTo>
                  <a:lnTo>
                    <a:pt x="127" y="1"/>
                  </a:lnTo>
                  <a:lnTo>
                    <a:pt x="120" y="0"/>
                  </a:lnTo>
                  <a:lnTo>
                    <a:pt x="112" y="0"/>
                  </a:lnTo>
                  <a:lnTo>
                    <a:pt x="105" y="1"/>
                  </a:lnTo>
                  <a:lnTo>
                    <a:pt x="97" y="5"/>
                  </a:lnTo>
                  <a:lnTo>
                    <a:pt x="0" y="57"/>
                  </a:lnTo>
                  <a:lnTo>
                    <a:pt x="34" y="124"/>
                  </a:lnTo>
                  <a:lnTo>
                    <a:pt x="34" y="124"/>
                  </a:lnTo>
                  <a:lnTo>
                    <a:pt x="42" y="139"/>
                  </a:lnTo>
                  <a:lnTo>
                    <a:pt x="140" y="87"/>
                  </a:lnTo>
                  <a:lnTo>
                    <a:pt x="140" y="87"/>
                  </a:lnTo>
                  <a:lnTo>
                    <a:pt x="148" y="81"/>
                  </a:lnTo>
                  <a:lnTo>
                    <a:pt x="153" y="76"/>
                  </a:lnTo>
                  <a:lnTo>
                    <a:pt x="158" y="68"/>
                  </a:lnTo>
                  <a:lnTo>
                    <a:pt x="161" y="61"/>
                  </a:lnTo>
                  <a:lnTo>
                    <a:pt x="163" y="52"/>
                  </a:lnTo>
                  <a:lnTo>
                    <a:pt x="162" y="44"/>
                  </a:lnTo>
                  <a:lnTo>
                    <a:pt x="161" y="34"/>
                  </a:lnTo>
                  <a:lnTo>
                    <a:pt x="158" y="25"/>
                  </a:lnTo>
                  <a:lnTo>
                    <a:pt x="158" y="25"/>
                  </a:lnTo>
                  <a:lnTo>
                    <a:pt x="154" y="22"/>
                  </a:lnTo>
                  <a:lnTo>
                    <a:pt x="154" y="22"/>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37" name="Freeform 536"/>
            <p:cNvSpPr>
              <a:spLocks/>
            </p:cNvSpPr>
            <p:nvPr/>
          </p:nvSpPr>
          <p:spPr bwMode="auto">
            <a:xfrm>
              <a:off x="6284694" y="1480472"/>
              <a:ext cx="110096" cy="197405"/>
            </a:xfrm>
            <a:custGeom>
              <a:avLst/>
              <a:gdLst>
                <a:gd name="T0" fmla="*/ 0 w 255"/>
                <a:gd name="T1" fmla="*/ 7 h 468"/>
                <a:gd name="T2" fmla="*/ 243 w 255"/>
                <a:gd name="T3" fmla="*/ 468 h 468"/>
                <a:gd name="T4" fmla="*/ 255 w 255"/>
                <a:gd name="T5" fmla="*/ 461 h 468"/>
                <a:gd name="T6" fmla="*/ 12 w 255"/>
                <a:gd name="T7" fmla="*/ 0 h 468"/>
                <a:gd name="T8" fmla="*/ 0 w 255"/>
                <a:gd name="T9" fmla="*/ 7 h 468"/>
              </a:gdLst>
              <a:ahLst/>
              <a:cxnLst>
                <a:cxn ang="0">
                  <a:pos x="T0" y="T1"/>
                </a:cxn>
                <a:cxn ang="0">
                  <a:pos x="T2" y="T3"/>
                </a:cxn>
                <a:cxn ang="0">
                  <a:pos x="T4" y="T5"/>
                </a:cxn>
                <a:cxn ang="0">
                  <a:pos x="T6" y="T7"/>
                </a:cxn>
                <a:cxn ang="0">
                  <a:pos x="T8" y="T9"/>
                </a:cxn>
              </a:cxnLst>
              <a:rect l="0" t="0" r="r" b="b"/>
              <a:pathLst>
                <a:path w="255" h="468">
                  <a:moveTo>
                    <a:pt x="0" y="7"/>
                  </a:moveTo>
                  <a:lnTo>
                    <a:pt x="243" y="468"/>
                  </a:lnTo>
                  <a:lnTo>
                    <a:pt x="255" y="461"/>
                  </a:lnTo>
                  <a:lnTo>
                    <a:pt x="12" y="0"/>
                  </a:lnTo>
                  <a:lnTo>
                    <a:pt x="0" y="7"/>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38" name="Freeform 537"/>
            <p:cNvSpPr>
              <a:spLocks/>
            </p:cNvSpPr>
            <p:nvPr/>
          </p:nvSpPr>
          <p:spPr bwMode="auto">
            <a:xfrm>
              <a:off x="6215883" y="1514215"/>
              <a:ext cx="70531" cy="57366"/>
            </a:xfrm>
            <a:custGeom>
              <a:avLst/>
              <a:gdLst>
                <a:gd name="T0" fmla="*/ 141 w 163"/>
                <a:gd name="T1" fmla="*/ 87 h 139"/>
                <a:gd name="T2" fmla="*/ 141 w 163"/>
                <a:gd name="T3" fmla="*/ 87 h 139"/>
                <a:gd name="T4" fmla="*/ 148 w 163"/>
                <a:gd name="T5" fmla="*/ 82 h 139"/>
                <a:gd name="T6" fmla="*/ 154 w 163"/>
                <a:gd name="T7" fmla="*/ 76 h 139"/>
                <a:gd name="T8" fmla="*/ 158 w 163"/>
                <a:gd name="T9" fmla="*/ 68 h 139"/>
                <a:gd name="T10" fmla="*/ 162 w 163"/>
                <a:gd name="T11" fmla="*/ 61 h 139"/>
                <a:gd name="T12" fmla="*/ 163 w 163"/>
                <a:gd name="T13" fmla="*/ 52 h 139"/>
                <a:gd name="T14" fmla="*/ 163 w 163"/>
                <a:gd name="T15" fmla="*/ 44 h 139"/>
                <a:gd name="T16" fmla="*/ 161 w 163"/>
                <a:gd name="T17" fmla="*/ 35 h 139"/>
                <a:gd name="T18" fmla="*/ 157 w 163"/>
                <a:gd name="T19" fmla="*/ 26 h 139"/>
                <a:gd name="T20" fmla="*/ 157 w 163"/>
                <a:gd name="T21" fmla="*/ 26 h 139"/>
                <a:gd name="T22" fmla="*/ 155 w 163"/>
                <a:gd name="T23" fmla="*/ 22 h 139"/>
                <a:gd name="T24" fmla="*/ 155 w 163"/>
                <a:gd name="T25" fmla="*/ 22 h 139"/>
                <a:gd name="T26" fmla="*/ 154 w 163"/>
                <a:gd name="T27" fmla="*/ 21 h 139"/>
                <a:gd name="T28" fmla="*/ 154 w 163"/>
                <a:gd name="T29" fmla="*/ 21 h 139"/>
                <a:gd name="T30" fmla="*/ 153 w 163"/>
                <a:gd name="T31" fmla="*/ 19 h 139"/>
                <a:gd name="T32" fmla="*/ 153 w 163"/>
                <a:gd name="T33" fmla="*/ 19 h 139"/>
                <a:gd name="T34" fmla="*/ 153 w 163"/>
                <a:gd name="T35" fmla="*/ 19 h 139"/>
                <a:gd name="T36" fmla="*/ 153 w 163"/>
                <a:gd name="T37" fmla="*/ 19 h 139"/>
                <a:gd name="T38" fmla="*/ 148 w 163"/>
                <a:gd name="T39" fmla="*/ 13 h 139"/>
                <a:gd name="T40" fmla="*/ 141 w 163"/>
                <a:gd name="T41" fmla="*/ 8 h 139"/>
                <a:gd name="T42" fmla="*/ 135 w 163"/>
                <a:gd name="T43" fmla="*/ 5 h 139"/>
                <a:gd name="T44" fmla="*/ 127 w 163"/>
                <a:gd name="T45" fmla="*/ 3 h 139"/>
                <a:gd name="T46" fmla="*/ 120 w 163"/>
                <a:gd name="T47" fmla="*/ 0 h 139"/>
                <a:gd name="T48" fmla="*/ 112 w 163"/>
                <a:gd name="T49" fmla="*/ 1 h 139"/>
                <a:gd name="T50" fmla="*/ 106 w 163"/>
                <a:gd name="T51" fmla="*/ 3 h 139"/>
                <a:gd name="T52" fmla="*/ 98 w 163"/>
                <a:gd name="T53" fmla="*/ 6 h 139"/>
                <a:gd name="T54" fmla="*/ 0 w 163"/>
                <a:gd name="T55" fmla="*/ 57 h 139"/>
                <a:gd name="T56" fmla="*/ 43 w 163"/>
                <a:gd name="T57" fmla="*/ 139 h 139"/>
                <a:gd name="T58" fmla="*/ 141 w 163"/>
                <a:gd name="T59" fmla="*/ 8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3" h="139">
                  <a:moveTo>
                    <a:pt x="141" y="87"/>
                  </a:moveTo>
                  <a:lnTo>
                    <a:pt x="141" y="87"/>
                  </a:lnTo>
                  <a:lnTo>
                    <a:pt x="148" y="82"/>
                  </a:lnTo>
                  <a:lnTo>
                    <a:pt x="154" y="76"/>
                  </a:lnTo>
                  <a:lnTo>
                    <a:pt x="158" y="68"/>
                  </a:lnTo>
                  <a:lnTo>
                    <a:pt x="162" y="61"/>
                  </a:lnTo>
                  <a:lnTo>
                    <a:pt x="163" y="52"/>
                  </a:lnTo>
                  <a:lnTo>
                    <a:pt x="163" y="44"/>
                  </a:lnTo>
                  <a:lnTo>
                    <a:pt x="161" y="35"/>
                  </a:lnTo>
                  <a:lnTo>
                    <a:pt x="157" y="26"/>
                  </a:lnTo>
                  <a:lnTo>
                    <a:pt x="157" y="26"/>
                  </a:lnTo>
                  <a:lnTo>
                    <a:pt x="155" y="22"/>
                  </a:lnTo>
                  <a:lnTo>
                    <a:pt x="155" y="22"/>
                  </a:lnTo>
                  <a:lnTo>
                    <a:pt x="154" y="21"/>
                  </a:lnTo>
                  <a:lnTo>
                    <a:pt x="154" y="21"/>
                  </a:lnTo>
                  <a:lnTo>
                    <a:pt x="153" y="19"/>
                  </a:lnTo>
                  <a:lnTo>
                    <a:pt x="153" y="19"/>
                  </a:lnTo>
                  <a:lnTo>
                    <a:pt x="153" y="19"/>
                  </a:lnTo>
                  <a:lnTo>
                    <a:pt x="153" y="19"/>
                  </a:lnTo>
                  <a:lnTo>
                    <a:pt x="148" y="13"/>
                  </a:lnTo>
                  <a:lnTo>
                    <a:pt x="141" y="8"/>
                  </a:lnTo>
                  <a:lnTo>
                    <a:pt x="135" y="5"/>
                  </a:lnTo>
                  <a:lnTo>
                    <a:pt x="127" y="3"/>
                  </a:lnTo>
                  <a:lnTo>
                    <a:pt x="120" y="0"/>
                  </a:lnTo>
                  <a:lnTo>
                    <a:pt x="112" y="1"/>
                  </a:lnTo>
                  <a:lnTo>
                    <a:pt x="106" y="3"/>
                  </a:lnTo>
                  <a:lnTo>
                    <a:pt x="98" y="6"/>
                  </a:lnTo>
                  <a:lnTo>
                    <a:pt x="0" y="57"/>
                  </a:lnTo>
                  <a:lnTo>
                    <a:pt x="43" y="139"/>
                  </a:lnTo>
                  <a:lnTo>
                    <a:pt x="141" y="87"/>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39" name="Freeform 538"/>
            <p:cNvSpPr>
              <a:spLocks/>
            </p:cNvSpPr>
            <p:nvPr/>
          </p:nvSpPr>
          <p:spPr bwMode="auto">
            <a:xfrm>
              <a:off x="6239967" y="1559772"/>
              <a:ext cx="70531" cy="57366"/>
            </a:xfrm>
            <a:custGeom>
              <a:avLst/>
              <a:gdLst>
                <a:gd name="T0" fmla="*/ 98 w 163"/>
                <a:gd name="T1" fmla="*/ 5 h 138"/>
                <a:gd name="T2" fmla="*/ 0 w 163"/>
                <a:gd name="T3" fmla="*/ 57 h 138"/>
                <a:gd name="T4" fmla="*/ 36 w 163"/>
                <a:gd name="T5" fmla="*/ 124 h 138"/>
                <a:gd name="T6" fmla="*/ 36 w 163"/>
                <a:gd name="T7" fmla="*/ 124 h 138"/>
                <a:gd name="T8" fmla="*/ 43 w 163"/>
                <a:gd name="T9" fmla="*/ 138 h 138"/>
                <a:gd name="T10" fmla="*/ 141 w 163"/>
                <a:gd name="T11" fmla="*/ 87 h 138"/>
                <a:gd name="T12" fmla="*/ 141 w 163"/>
                <a:gd name="T13" fmla="*/ 87 h 138"/>
                <a:gd name="T14" fmla="*/ 148 w 163"/>
                <a:gd name="T15" fmla="*/ 81 h 138"/>
                <a:gd name="T16" fmla="*/ 154 w 163"/>
                <a:gd name="T17" fmla="*/ 75 h 138"/>
                <a:gd name="T18" fmla="*/ 159 w 163"/>
                <a:gd name="T19" fmla="*/ 69 h 138"/>
                <a:gd name="T20" fmla="*/ 162 w 163"/>
                <a:gd name="T21" fmla="*/ 60 h 138"/>
                <a:gd name="T22" fmla="*/ 163 w 163"/>
                <a:gd name="T23" fmla="*/ 52 h 138"/>
                <a:gd name="T24" fmla="*/ 163 w 163"/>
                <a:gd name="T25" fmla="*/ 43 h 138"/>
                <a:gd name="T26" fmla="*/ 161 w 163"/>
                <a:gd name="T27" fmla="*/ 34 h 138"/>
                <a:gd name="T28" fmla="*/ 158 w 163"/>
                <a:gd name="T29" fmla="*/ 25 h 138"/>
                <a:gd name="T30" fmla="*/ 158 w 163"/>
                <a:gd name="T31" fmla="*/ 25 h 138"/>
                <a:gd name="T32" fmla="*/ 155 w 163"/>
                <a:gd name="T33" fmla="*/ 22 h 138"/>
                <a:gd name="T34" fmla="*/ 155 w 163"/>
                <a:gd name="T35" fmla="*/ 22 h 138"/>
                <a:gd name="T36" fmla="*/ 154 w 163"/>
                <a:gd name="T37" fmla="*/ 20 h 138"/>
                <a:gd name="T38" fmla="*/ 154 w 163"/>
                <a:gd name="T39" fmla="*/ 20 h 138"/>
                <a:gd name="T40" fmla="*/ 153 w 163"/>
                <a:gd name="T41" fmla="*/ 19 h 138"/>
                <a:gd name="T42" fmla="*/ 153 w 163"/>
                <a:gd name="T43" fmla="*/ 19 h 138"/>
                <a:gd name="T44" fmla="*/ 153 w 163"/>
                <a:gd name="T45" fmla="*/ 19 h 138"/>
                <a:gd name="T46" fmla="*/ 153 w 163"/>
                <a:gd name="T47" fmla="*/ 19 h 138"/>
                <a:gd name="T48" fmla="*/ 148 w 163"/>
                <a:gd name="T49" fmla="*/ 12 h 138"/>
                <a:gd name="T50" fmla="*/ 141 w 163"/>
                <a:gd name="T51" fmla="*/ 8 h 138"/>
                <a:gd name="T52" fmla="*/ 135 w 163"/>
                <a:gd name="T53" fmla="*/ 4 h 138"/>
                <a:gd name="T54" fmla="*/ 127 w 163"/>
                <a:gd name="T55" fmla="*/ 2 h 138"/>
                <a:gd name="T56" fmla="*/ 120 w 163"/>
                <a:gd name="T57" fmla="*/ 0 h 138"/>
                <a:gd name="T58" fmla="*/ 112 w 163"/>
                <a:gd name="T59" fmla="*/ 0 h 138"/>
                <a:gd name="T60" fmla="*/ 105 w 163"/>
                <a:gd name="T61" fmla="*/ 2 h 138"/>
                <a:gd name="T62" fmla="*/ 98 w 163"/>
                <a:gd name="T63" fmla="*/ 5 h 138"/>
                <a:gd name="T64" fmla="*/ 98 w 163"/>
                <a:gd name="T65" fmla="*/ 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3" h="138">
                  <a:moveTo>
                    <a:pt x="98" y="5"/>
                  </a:moveTo>
                  <a:lnTo>
                    <a:pt x="0" y="57"/>
                  </a:lnTo>
                  <a:lnTo>
                    <a:pt x="36" y="124"/>
                  </a:lnTo>
                  <a:lnTo>
                    <a:pt x="36" y="124"/>
                  </a:lnTo>
                  <a:lnTo>
                    <a:pt x="43" y="138"/>
                  </a:lnTo>
                  <a:lnTo>
                    <a:pt x="141" y="87"/>
                  </a:lnTo>
                  <a:lnTo>
                    <a:pt x="141" y="87"/>
                  </a:lnTo>
                  <a:lnTo>
                    <a:pt x="148" y="81"/>
                  </a:lnTo>
                  <a:lnTo>
                    <a:pt x="154" y="75"/>
                  </a:lnTo>
                  <a:lnTo>
                    <a:pt x="159" y="69"/>
                  </a:lnTo>
                  <a:lnTo>
                    <a:pt x="162" y="60"/>
                  </a:lnTo>
                  <a:lnTo>
                    <a:pt x="163" y="52"/>
                  </a:lnTo>
                  <a:lnTo>
                    <a:pt x="163" y="43"/>
                  </a:lnTo>
                  <a:lnTo>
                    <a:pt x="161" y="34"/>
                  </a:lnTo>
                  <a:lnTo>
                    <a:pt x="158" y="25"/>
                  </a:lnTo>
                  <a:lnTo>
                    <a:pt x="158" y="25"/>
                  </a:lnTo>
                  <a:lnTo>
                    <a:pt x="155" y="22"/>
                  </a:lnTo>
                  <a:lnTo>
                    <a:pt x="155" y="22"/>
                  </a:lnTo>
                  <a:lnTo>
                    <a:pt x="154" y="20"/>
                  </a:lnTo>
                  <a:lnTo>
                    <a:pt x="154" y="20"/>
                  </a:lnTo>
                  <a:lnTo>
                    <a:pt x="153" y="19"/>
                  </a:lnTo>
                  <a:lnTo>
                    <a:pt x="153" y="19"/>
                  </a:lnTo>
                  <a:lnTo>
                    <a:pt x="153" y="19"/>
                  </a:lnTo>
                  <a:lnTo>
                    <a:pt x="153" y="19"/>
                  </a:lnTo>
                  <a:lnTo>
                    <a:pt x="148" y="12"/>
                  </a:lnTo>
                  <a:lnTo>
                    <a:pt x="141" y="8"/>
                  </a:lnTo>
                  <a:lnTo>
                    <a:pt x="135" y="4"/>
                  </a:lnTo>
                  <a:lnTo>
                    <a:pt x="127" y="2"/>
                  </a:lnTo>
                  <a:lnTo>
                    <a:pt x="120" y="0"/>
                  </a:lnTo>
                  <a:lnTo>
                    <a:pt x="112" y="0"/>
                  </a:lnTo>
                  <a:lnTo>
                    <a:pt x="105" y="2"/>
                  </a:lnTo>
                  <a:lnTo>
                    <a:pt x="98" y="5"/>
                  </a:lnTo>
                  <a:lnTo>
                    <a:pt x="98" y="5"/>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40" name="Freeform 539"/>
            <p:cNvSpPr>
              <a:spLocks/>
            </p:cNvSpPr>
            <p:nvPr/>
          </p:nvSpPr>
          <p:spPr bwMode="auto">
            <a:xfrm>
              <a:off x="6265770" y="1605326"/>
              <a:ext cx="70531" cy="59053"/>
            </a:xfrm>
            <a:custGeom>
              <a:avLst/>
              <a:gdLst>
                <a:gd name="T0" fmla="*/ 98 w 163"/>
                <a:gd name="T1" fmla="*/ 5 h 139"/>
                <a:gd name="T2" fmla="*/ 0 w 163"/>
                <a:gd name="T3" fmla="*/ 57 h 139"/>
                <a:gd name="T4" fmla="*/ 43 w 163"/>
                <a:gd name="T5" fmla="*/ 139 h 139"/>
                <a:gd name="T6" fmla="*/ 142 w 163"/>
                <a:gd name="T7" fmla="*/ 87 h 139"/>
                <a:gd name="T8" fmla="*/ 142 w 163"/>
                <a:gd name="T9" fmla="*/ 87 h 139"/>
                <a:gd name="T10" fmla="*/ 148 w 163"/>
                <a:gd name="T11" fmla="*/ 81 h 139"/>
                <a:gd name="T12" fmla="*/ 155 w 163"/>
                <a:gd name="T13" fmla="*/ 76 h 139"/>
                <a:gd name="T14" fmla="*/ 159 w 163"/>
                <a:gd name="T15" fmla="*/ 69 h 139"/>
                <a:gd name="T16" fmla="*/ 162 w 163"/>
                <a:gd name="T17" fmla="*/ 61 h 139"/>
                <a:gd name="T18" fmla="*/ 163 w 163"/>
                <a:gd name="T19" fmla="*/ 52 h 139"/>
                <a:gd name="T20" fmla="*/ 163 w 163"/>
                <a:gd name="T21" fmla="*/ 44 h 139"/>
                <a:gd name="T22" fmla="*/ 161 w 163"/>
                <a:gd name="T23" fmla="*/ 35 h 139"/>
                <a:gd name="T24" fmla="*/ 158 w 163"/>
                <a:gd name="T25" fmla="*/ 26 h 139"/>
                <a:gd name="T26" fmla="*/ 158 w 163"/>
                <a:gd name="T27" fmla="*/ 26 h 139"/>
                <a:gd name="T28" fmla="*/ 156 w 163"/>
                <a:gd name="T29" fmla="*/ 22 h 139"/>
                <a:gd name="T30" fmla="*/ 156 w 163"/>
                <a:gd name="T31" fmla="*/ 22 h 139"/>
                <a:gd name="T32" fmla="*/ 155 w 163"/>
                <a:gd name="T33" fmla="*/ 20 h 139"/>
                <a:gd name="T34" fmla="*/ 155 w 163"/>
                <a:gd name="T35" fmla="*/ 20 h 139"/>
                <a:gd name="T36" fmla="*/ 154 w 163"/>
                <a:gd name="T37" fmla="*/ 19 h 139"/>
                <a:gd name="T38" fmla="*/ 154 w 163"/>
                <a:gd name="T39" fmla="*/ 19 h 139"/>
                <a:gd name="T40" fmla="*/ 154 w 163"/>
                <a:gd name="T41" fmla="*/ 19 h 139"/>
                <a:gd name="T42" fmla="*/ 154 w 163"/>
                <a:gd name="T43" fmla="*/ 19 h 139"/>
                <a:gd name="T44" fmla="*/ 148 w 163"/>
                <a:gd name="T45" fmla="*/ 13 h 139"/>
                <a:gd name="T46" fmla="*/ 142 w 163"/>
                <a:gd name="T47" fmla="*/ 8 h 139"/>
                <a:gd name="T48" fmla="*/ 135 w 163"/>
                <a:gd name="T49" fmla="*/ 5 h 139"/>
                <a:gd name="T50" fmla="*/ 128 w 163"/>
                <a:gd name="T51" fmla="*/ 2 h 139"/>
                <a:gd name="T52" fmla="*/ 120 w 163"/>
                <a:gd name="T53" fmla="*/ 0 h 139"/>
                <a:gd name="T54" fmla="*/ 112 w 163"/>
                <a:gd name="T55" fmla="*/ 0 h 139"/>
                <a:gd name="T56" fmla="*/ 105 w 163"/>
                <a:gd name="T57" fmla="*/ 3 h 139"/>
                <a:gd name="T58" fmla="*/ 98 w 163"/>
                <a:gd name="T59" fmla="*/ 5 h 139"/>
                <a:gd name="T60" fmla="*/ 98 w 163"/>
                <a:gd name="T61" fmla="*/ 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3" h="139">
                  <a:moveTo>
                    <a:pt x="98" y="5"/>
                  </a:moveTo>
                  <a:lnTo>
                    <a:pt x="0" y="57"/>
                  </a:lnTo>
                  <a:lnTo>
                    <a:pt x="43" y="139"/>
                  </a:lnTo>
                  <a:lnTo>
                    <a:pt x="142" y="87"/>
                  </a:lnTo>
                  <a:lnTo>
                    <a:pt x="142" y="87"/>
                  </a:lnTo>
                  <a:lnTo>
                    <a:pt x="148" y="81"/>
                  </a:lnTo>
                  <a:lnTo>
                    <a:pt x="155" y="76"/>
                  </a:lnTo>
                  <a:lnTo>
                    <a:pt x="159" y="69"/>
                  </a:lnTo>
                  <a:lnTo>
                    <a:pt x="162" y="61"/>
                  </a:lnTo>
                  <a:lnTo>
                    <a:pt x="163" y="52"/>
                  </a:lnTo>
                  <a:lnTo>
                    <a:pt x="163" y="44"/>
                  </a:lnTo>
                  <a:lnTo>
                    <a:pt x="161" y="35"/>
                  </a:lnTo>
                  <a:lnTo>
                    <a:pt x="158" y="26"/>
                  </a:lnTo>
                  <a:lnTo>
                    <a:pt x="158" y="26"/>
                  </a:lnTo>
                  <a:lnTo>
                    <a:pt x="156" y="22"/>
                  </a:lnTo>
                  <a:lnTo>
                    <a:pt x="156" y="22"/>
                  </a:lnTo>
                  <a:lnTo>
                    <a:pt x="155" y="20"/>
                  </a:lnTo>
                  <a:lnTo>
                    <a:pt x="155" y="20"/>
                  </a:lnTo>
                  <a:lnTo>
                    <a:pt x="154" y="19"/>
                  </a:lnTo>
                  <a:lnTo>
                    <a:pt x="154" y="19"/>
                  </a:lnTo>
                  <a:lnTo>
                    <a:pt x="154" y="19"/>
                  </a:lnTo>
                  <a:lnTo>
                    <a:pt x="154" y="19"/>
                  </a:lnTo>
                  <a:lnTo>
                    <a:pt x="148" y="13"/>
                  </a:lnTo>
                  <a:lnTo>
                    <a:pt x="142" y="8"/>
                  </a:lnTo>
                  <a:lnTo>
                    <a:pt x="135" y="5"/>
                  </a:lnTo>
                  <a:lnTo>
                    <a:pt x="128" y="2"/>
                  </a:lnTo>
                  <a:lnTo>
                    <a:pt x="120" y="0"/>
                  </a:lnTo>
                  <a:lnTo>
                    <a:pt x="112" y="0"/>
                  </a:lnTo>
                  <a:lnTo>
                    <a:pt x="105" y="3"/>
                  </a:lnTo>
                  <a:lnTo>
                    <a:pt x="98" y="5"/>
                  </a:lnTo>
                  <a:lnTo>
                    <a:pt x="98" y="5"/>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41" name="Freeform 540"/>
            <p:cNvSpPr>
              <a:spLocks/>
            </p:cNvSpPr>
            <p:nvPr/>
          </p:nvSpPr>
          <p:spPr bwMode="auto">
            <a:xfrm>
              <a:off x="6289854" y="1650881"/>
              <a:ext cx="70531" cy="59053"/>
            </a:xfrm>
            <a:custGeom>
              <a:avLst/>
              <a:gdLst>
                <a:gd name="T0" fmla="*/ 156 w 163"/>
                <a:gd name="T1" fmla="*/ 20 h 137"/>
                <a:gd name="T2" fmla="*/ 156 w 163"/>
                <a:gd name="T3" fmla="*/ 20 h 137"/>
                <a:gd name="T4" fmla="*/ 154 w 163"/>
                <a:gd name="T5" fmla="*/ 19 h 137"/>
                <a:gd name="T6" fmla="*/ 154 w 163"/>
                <a:gd name="T7" fmla="*/ 19 h 137"/>
                <a:gd name="T8" fmla="*/ 154 w 163"/>
                <a:gd name="T9" fmla="*/ 17 h 137"/>
                <a:gd name="T10" fmla="*/ 154 w 163"/>
                <a:gd name="T11" fmla="*/ 17 h 137"/>
                <a:gd name="T12" fmla="*/ 154 w 163"/>
                <a:gd name="T13" fmla="*/ 17 h 137"/>
                <a:gd name="T14" fmla="*/ 154 w 163"/>
                <a:gd name="T15" fmla="*/ 17 h 137"/>
                <a:gd name="T16" fmla="*/ 148 w 163"/>
                <a:gd name="T17" fmla="*/ 11 h 137"/>
                <a:gd name="T18" fmla="*/ 142 w 163"/>
                <a:gd name="T19" fmla="*/ 6 h 137"/>
                <a:gd name="T20" fmla="*/ 135 w 163"/>
                <a:gd name="T21" fmla="*/ 3 h 137"/>
                <a:gd name="T22" fmla="*/ 128 w 163"/>
                <a:gd name="T23" fmla="*/ 1 h 137"/>
                <a:gd name="T24" fmla="*/ 120 w 163"/>
                <a:gd name="T25" fmla="*/ 0 h 137"/>
                <a:gd name="T26" fmla="*/ 113 w 163"/>
                <a:gd name="T27" fmla="*/ 0 h 137"/>
                <a:gd name="T28" fmla="*/ 105 w 163"/>
                <a:gd name="T29" fmla="*/ 1 h 137"/>
                <a:gd name="T30" fmla="*/ 99 w 163"/>
                <a:gd name="T31" fmla="*/ 4 h 137"/>
                <a:gd name="T32" fmla="*/ 0 w 163"/>
                <a:gd name="T33" fmla="*/ 56 h 137"/>
                <a:gd name="T34" fmla="*/ 44 w 163"/>
                <a:gd name="T35" fmla="*/ 137 h 137"/>
                <a:gd name="T36" fmla="*/ 141 w 163"/>
                <a:gd name="T37" fmla="*/ 85 h 137"/>
                <a:gd name="T38" fmla="*/ 141 w 163"/>
                <a:gd name="T39" fmla="*/ 85 h 137"/>
                <a:gd name="T40" fmla="*/ 148 w 163"/>
                <a:gd name="T41" fmla="*/ 81 h 137"/>
                <a:gd name="T42" fmla="*/ 155 w 163"/>
                <a:gd name="T43" fmla="*/ 74 h 137"/>
                <a:gd name="T44" fmla="*/ 159 w 163"/>
                <a:gd name="T45" fmla="*/ 67 h 137"/>
                <a:gd name="T46" fmla="*/ 162 w 163"/>
                <a:gd name="T47" fmla="*/ 59 h 137"/>
                <a:gd name="T48" fmla="*/ 163 w 163"/>
                <a:gd name="T49" fmla="*/ 50 h 137"/>
                <a:gd name="T50" fmla="*/ 163 w 163"/>
                <a:gd name="T51" fmla="*/ 42 h 137"/>
                <a:gd name="T52" fmla="*/ 161 w 163"/>
                <a:gd name="T53" fmla="*/ 33 h 137"/>
                <a:gd name="T54" fmla="*/ 158 w 163"/>
                <a:gd name="T55" fmla="*/ 24 h 137"/>
                <a:gd name="T56" fmla="*/ 158 w 163"/>
                <a:gd name="T57" fmla="*/ 24 h 137"/>
                <a:gd name="T58" fmla="*/ 156 w 163"/>
                <a:gd name="T59" fmla="*/ 20 h 137"/>
                <a:gd name="T60" fmla="*/ 156 w 163"/>
                <a:gd name="T61" fmla="*/ 2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3" h="137">
                  <a:moveTo>
                    <a:pt x="156" y="20"/>
                  </a:moveTo>
                  <a:lnTo>
                    <a:pt x="156" y="20"/>
                  </a:lnTo>
                  <a:lnTo>
                    <a:pt x="154" y="19"/>
                  </a:lnTo>
                  <a:lnTo>
                    <a:pt x="154" y="19"/>
                  </a:lnTo>
                  <a:lnTo>
                    <a:pt x="154" y="17"/>
                  </a:lnTo>
                  <a:lnTo>
                    <a:pt x="154" y="17"/>
                  </a:lnTo>
                  <a:lnTo>
                    <a:pt x="154" y="17"/>
                  </a:lnTo>
                  <a:lnTo>
                    <a:pt x="154" y="17"/>
                  </a:lnTo>
                  <a:lnTo>
                    <a:pt x="148" y="11"/>
                  </a:lnTo>
                  <a:lnTo>
                    <a:pt x="142" y="6"/>
                  </a:lnTo>
                  <a:lnTo>
                    <a:pt x="135" y="3"/>
                  </a:lnTo>
                  <a:lnTo>
                    <a:pt x="128" y="1"/>
                  </a:lnTo>
                  <a:lnTo>
                    <a:pt x="120" y="0"/>
                  </a:lnTo>
                  <a:lnTo>
                    <a:pt x="113" y="0"/>
                  </a:lnTo>
                  <a:lnTo>
                    <a:pt x="105" y="1"/>
                  </a:lnTo>
                  <a:lnTo>
                    <a:pt x="99" y="4"/>
                  </a:lnTo>
                  <a:lnTo>
                    <a:pt x="0" y="56"/>
                  </a:lnTo>
                  <a:lnTo>
                    <a:pt x="44" y="137"/>
                  </a:lnTo>
                  <a:lnTo>
                    <a:pt x="141" y="85"/>
                  </a:lnTo>
                  <a:lnTo>
                    <a:pt x="141" y="85"/>
                  </a:lnTo>
                  <a:lnTo>
                    <a:pt x="148" y="81"/>
                  </a:lnTo>
                  <a:lnTo>
                    <a:pt x="155" y="74"/>
                  </a:lnTo>
                  <a:lnTo>
                    <a:pt x="159" y="67"/>
                  </a:lnTo>
                  <a:lnTo>
                    <a:pt x="162" y="59"/>
                  </a:lnTo>
                  <a:lnTo>
                    <a:pt x="163" y="50"/>
                  </a:lnTo>
                  <a:lnTo>
                    <a:pt x="163" y="42"/>
                  </a:lnTo>
                  <a:lnTo>
                    <a:pt x="161" y="33"/>
                  </a:lnTo>
                  <a:lnTo>
                    <a:pt x="158" y="24"/>
                  </a:lnTo>
                  <a:lnTo>
                    <a:pt x="158" y="24"/>
                  </a:lnTo>
                  <a:lnTo>
                    <a:pt x="156" y="20"/>
                  </a:lnTo>
                  <a:lnTo>
                    <a:pt x="156" y="20"/>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42" name="Freeform 541"/>
            <p:cNvSpPr>
              <a:spLocks/>
            </p:cNvSpPr>
            <p:nvPr/>
          </p:nvSpPr>
          <p:spPr bwMode="auto">
            <a:xfrm>
              <a:off x="6195240" y="1527714"/>
              <a:ext cx="110096" cy="197405"/>
            </a:xfrm>
            <a:custGeom>
              <a:avLst/>
              <a:gdLst>
                <a:gd name="T0" fmla="*/ 0 w 256"/>
                <a:gd name="T1" fmla="*/ 6 h 467"/>
                <a:gd name="T2" fmla="*/ 243 w 256"/>
                <a:gd name="T3" fmla="*/ 467 h 467"/>
                <a:gd name="T4" fmla="*/ 256 w 256"/>
                <a:gd name="T5" fmla="*/ 461 h 467"/>
                <a:gd name="T6" fmla="*/ 13 w 256"/>
                <a:gd name="T7" fmla="*/ 0 h 467"/>
                <a:gd name="T8" fmla="*/ 0 w 256"/>
                <a:gd name="T9" fmla="*/ 6 h 467"/>
              </a:gdLst>
              <a:ahLst/>
              <a:cxnLst>
                <a:cxn ang="0">
                  <a:pos x="T0" y="T1"/>
                </a:cxn>
                <a:cxn ang="0">
                  <a:pos x="T2" y="T3"/>
                </a:cxn>
                <a:cxn ang="0">
                  <a:pos x="T4" y="T5"/>
                </a:cxn>
                <a:cxn ang="0">
                  <a:pos x="T6" y="T7"/>
                </a:cxn>
                <a:cxn ang="0">
                  <a:pos x="T8" y="T9"/>
                </a:cxn>
              </a:cxnLst>
              <a:rect l="0" t="0" r="r" b="b"/>
              <a:pathLst>
                <a:path w="256" h="467">
                  <a:moveTo>
                    <a:pt x="0" y="6"/>
                  </a:moveTo>
                  <a:lnTo>
                    <a:pt x="243" y="467"/>
                  </a:lnTo>
                  <a:lnTo>
                    <a:pt x="256" y="461"/>
                  </a:lnTo>
                  <a:lnTo>
                    <a:pt x="13" y="0"/>
                  </a:lnTo>
                  <a:lnTo>
                    <a:pt x="0" y="6"/>
                  </a:lnTo>
                  <a:close/>
                </a:path>
              </a:pathLst>
            </a:custGeom>
            <a:solidFill>
              <a:sysClr val="window" lastClr="FFFFFF">
                <a:lumMod val="9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43" name="Freeform 542"/>
            <p:cNvSpPr>
              <a:spLocks/>
            </p:cNvSpPr>
            <p:nvPr/>
          </p:nvSpPr>
          <p:spPr bwMode="auto">
            <a:xfrm>
              <a:off x="2138572" y="2532250"/>
              <a:ext cx="540160" cy="357689"/>
            </a:xfrm>
            <a:custGeom>
              <a:avLst/>
              <a:gdLst>
                <a:gd name="T0" fmla="*/ 138 w 1256"/>
                <a:gd name="T1" fmla="*/ 45 h 849"/>
                <a:gd name="T2" fmla="*/ 138 w 1256"/>
                <a:gd name="T3" fmla="*/ 45 h 849"/>
                <a:gd name="T4" fmla="*/ 123 w 1256"/>
                <a:gd name="T5" fmla="*/ 47 h 849"/>
                <a:gd name="T6" fmla="*/ 109 w 1256"/>
                <a:gd name="T7" fmla="*/ 49 h 849"/>
                <a:gd name="T8" fmla="*/ 95 w 1256"/>
                <a:gd name="T9" fmla="*/ 54 h 849"/>
                <a:gd name="T10" fmla="*/ 82 w 1256"/>
                <a:gd name="T11" fmla="*/ 59 h 849"/>
                <a:gd name="T12" fmla="*/ 70 w 1256"/>
                <a:gd name="T13" fmla="*/ 66 h 849"/>
                <a:gd name="T14" fmla="*/ 58 w 1256"/>
                <a:gd name="T15" fmla="*/ 73 h 849"/>
                <a:gd name="T16" fmla="*/ 47 w 1256"/>
                <a:gd name="T17" fmla="*/ 82 h 849"/>
                <a:gd name="T18" fmla="*/ 38 w 1256"/>
                <a:gd name="T19" fmla="*/ 92 h 849"/>
                <a:gd name="T20" fmla="*/ 29 w 1256"/>
                <a:gd name="T21" fmla="*/ 102 h 849"/>
                <a:gd name="T22" fmla="*/ 21 w 1256"/>
                <a:gd name="T23" fmla="*/ 114 h 849"/>
                <a:gd name="T24" fmla="*/ 15 w 1256"/>
                <a:gd name="T25" fmla="*/ 126 h 849"/>
                <a:gd name="T26" fmla="*/ 8 w 1256"/>
                <a:gd name="T27" fmla="*/ 139 h 849"/>
                <a:gd name="T28" fmla="*/ 4 w 1256"/>
                <a:gd name="T29" fmla="*/ 152 h 849"/>
                <a:gd name="T30" fmla="*/ 2 w 1256"/>
                <a:gd name="T31" fmla="*/ 166 h 849"/>
                <a:gd name="T32" fmla="*/ 0 w 1256"/>
                <a:gd name="T33" fmla="*/ 180 h 849"/>
                <a:gd name="T34" fmla="*/ 0 w 1256"/>
                <a:gd name="T35" fmla="*/ 195 h 849"/>
                <a:gd name="T36" fmla="*/ 21 w 1256"/>
                <a:gd name="T37" fmla="*/ 712 h 849"/>
                <a:gd name="T38" fmla="*/ 21 w 1256"/>
                <a:gd name="T39" fmla="*/ 712 h 849"/>
                <a:gd name="T40" fmla="*/ 22 w 1256"/>
                <a:gd name="T41" fmla="*/ 726 h 849"/>
                <a:gd name="T42" fmla="*/ 26 w 1256"/>
                <a:gd name="T43" fmla="*/ 740 h 849"/>
                <a:gd name="T44" fmla="*/ 30 w 1256"/>
                <a:gd name="T45" fmla="*/ 754 h 849"/>
                <a:gd name="T46" fmla="*/ 35 w 1256"/>
                <a:gd name="T47" fmla="*/ 767 h 849"/>
                <a:gd name="T48" fmla="*/ 42 w 1256"/>
                <a:gd name="T49" fmla="*/ 778 h 849"/>
                <a:gd name="T50" fmla="*/ 49 w 1256"/>
                <a:gd name="T51" fmla="*/ 790 h 849"/>
                <a:gd name="T52" fmla="*/ 58 w 1256"/>
                <a:gd name="T53" fmla="*/ 801 h 849"/>
                <a:gd name="T54" fmla="*/ 68 w 1256"/>
                <a:gd name="T55" fmla="*/ 811 h 849"/>
                <a:gd name="T56" fmla="*/ 79 w 1256"/>
                <a:gd name="T57" fmla="*/ 820 h 849"/>
                <a:gd name="T58" fmla="*/ 89 w 1256"/>
                <a:gd name="T59" fmla="*/ 828 h 849"/>
                <a:gd name="T60" fmla="*/ 102 w 1256"/>
                <a:gd name="T61" fmla="*/ 835 h 849"/>
                <a:gd name="T62" fmla="*/ 115 w 1256"/>
                <a:gd name="T63" fmla="*/ 840 h 849"/>
                <a:gd name="T64" fmla="*/ 128 w 1256"/>
                <a:gd name="T65" fmla="*/ 844 h 849"/>
                <a:gd name="T66" fmla="*/ 142 w 1256"/>
                <a:gd name="T67" fmla="*/ 848 h 849"/>
                <a:gd name="T68" fmla="*/ 156 w 1256"/>
                <a:gd name="T69" fmla="*/ 849 h 849"/>
                <a:gd name="T70" fmla="*/ 172 w 1256"/>
                <a:gd name="T71" fmla="*/ 849 h 849"/>
                <a:gd name="T72" fmla="*/ 1256 w 1256"/>
                <a:gd name="T73" fmla="*/ 803 h 849"/>
                <a:gd name="T74" fmla="*/ 1222 w 1256"/>
                <a:gd name="T75" fmla="*/ 0 h 849"/>
                <a:gd name="T76" fmla="*/ 138 w 1256"/>
                <a:gd name="T77" fmla="*/ 4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56" h="849">
                  <a:moveTo>
                    <a:pt x="138" y="45"/>
                  </a:moveTo>
                  <a:lnTo>
                    <a:pt x="138" y="45"/>
                  </a:lnTo>
                  <a:lnTo>
                    <a:pt x="123" y="47"/>
                  </a:lnTo>
                  <a:lnTo>
                    <a:pt x="109" y="49"/>
                  </a:lnTo>
                  <a:lnTo>
                    <a:pt x="95" y="54"/>
                  </a:lnTo>
                  <a:lnTo>
                    <a:pt x="82" y="59"/>
                  </a:lnTo>
                  <a:lnTo>
                    <a:pt x="70" y="66"/>
                  </a:lnTo>
                  <a:lnTo>
                    <a:pt x="58" y="73"/>
                  </a:lnTo>
                  <a:lnTo>
                    <a:pt x="47" y="82"/>
                  </a:lnTo>
                  <a:lnTo>
                    <a:pt x="38" y="92"/>
                  </a:lnTo>
                  <a:lnTo>
                    <a:pt x="29" y="102"/>
                  </a:lnTo>
                  <a:lnTo>
                    <a:pt x="21" y="114"/>
                  </a:lnTo>
                  <a:lnTo>
                    <a:pt x="15" y="126"/>
                  </a:lnTo>
                  <a:lnTo>
                    <a:pt x="8" y="139"/>
                  </a:lnTo>
                  <a:lnTo>
                    <a:pt x="4" y="152"/>
                  </a:lnTo>
                  <a:lnTo>
                    <a:pt x="2" y="166"/>
                  </a:lnTo>
                  <a:lnTo>
                    <a:pt x="0" y="180"/>
                  </a:lnTo>
                  <a:lnTo>
                    <a:pt x="0" y="195"/>
                  </a:lnTo>
                  <a:lnTo>
                    <a:pt x="21" y="712"/>
                  </a:lnTo>
                  <a:lnTo>
                    <a:pt x="21" y="712"/>
                  </a:lnTo>
                  <a:lnTo>
                    <a:pt x="22" y="726"/>
                  </a:lnTo>
                  <a:lnTo>
                    <a:pt x="26" y="740"/>
                  </a:lnTo>
                  <a:lnTo>
                    <a:pt x="30" y="754"/>
                  </a:lnTo>
                  <a:lnTo>
                    <a:pt x="35" y="767"/>
                  </a:lnTo>
                  <a:lnTo>
                    <a:pt x="42" y="778"/>
                  </a:lnTo>
                  <a:lnTo>
                    <a:pt x="49" y="790"/>
                  </a:lnTo>
                  <a:lnTo>
                    <a:pt x="58" y="801"/>
                  </a:lnTo>
                  <a:lnTo>
                    <a:pt x="68" y="811"/>
                  </a:lnTo>
                  <a:lnTo>
                    <a:pt x="79" y="820"/>
                  </a:lnTo>
                  <a:lnTo>
                    <a:pt x="89" y="828"/>
                  </a:lnTo>
                  <a:lnTo>
                    <a:pt x="102" y="835"/>
                  </a:lnTo>
                  <a:lnTo>
                    <a:pt x="115" y="840"/>
                  </a:lnTo>
                  <a:lnTo>
                    <a:pt x="128" y="844"/>
                  </a:lnTo>
                  <a:lnTo>
                    <a:pt x="142" y="848"/>
                  </a:lnTo>
                  <a:lnTo>
                    <a:pt x="156" y="849"/>
                  </a:lnTo>
                  <a:lnTo>
                    <a:pt x="172" y="849"/>
                  </a:lnTo>
                  <a:lnTo>
                    <a:pt x="1256" y="803"/>
                  </a:lnTo>
                  <a:lnTo>
                    <a:pt x="1222" y="0"/>
                  </a:lnTo>
                  <a:lnTo>
                    <a:pt x="138" y="45"/>
                  </a:lnTo>
                  <a:close/>
                </a:path>
              </a:pathLst>
            </a:custGeom>
            <a:solidFill>
              <a:srgbClr val="E5E8E8">
                <a:lumMod val="9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44" name="Freeform 543"/>
            <p:cNvSpPr>
              <a:spLocks/>
            </p:cNvSpPr>
            <p:nvPr/>
          </p:nvSpPr>
          <p:spPr bwMode="auto">
            <a:xfrm>
              <a:off x="2155775" y="2565994"/>
              <a:ext cx="80854" cy="307074"/>
            </a:xfrm>
            <a:custGeom>
              <a:avLst/>
              <a:gdLst>
                <a:gd name="T0" fmla="*/ 124 w 185"/>
                <a:gd name="T1" fmla="*/ 2 h 725"/>
                <a:gd name="T2" fmla="*/ 124 w 185"/>
                <a:gd name="T3" fmla="*/ 2 h 725"/>
                <a:gd name="T4" fmla="*/ 110 w 185"/>
                <a:gd name="T5" fmla="*/ 3 h 725"/>
                <a:gd name="T6" fmla="*/ 98 w 185"/>
                <a:gd name="T7" fmla="*/ 5 h 725"/>
                <a:gd name="T8" fmla="*/ 85 w 185"/>
                <a:gd name="T9" fmla="*/ 9 h 725"/>
                <a:gd name="T10" fmla="*/ 73 w 185"/>
                <a:gd name="T11" fmla="*/ 14 h 725"/>
                <a:gd name="T12" fmla="*/ 62 w 185"/>
                <a:gd name="T13" fmla="*/ 19 h 725"/>
                <a:gd name="T14" fmla="*/ 53 w 185"/>
                <a:gd name="T15" fmla="*/ 27 h 725"/>
                <a:gd name="T16" fmla="*/ 43 w 185"/>
                <a:gd name="T17" fmla="*/ 35 h 725"/>
                <a:gd name="T18" fmla="*/ 34 w 185"/>
                <a:gd name="T19" fmla="*/ 43 h 725"/>
                <a:gd name="T20" fmla="*/ 26 w 185"/>
                <a:gd name="T21" fmla="*/ 53 h 725"/>
                <a:gd name="T22" fmla="*/ 19 w 185"/>
                <a:gd name="T23" fmla="*/ 64 h 725"/>
                <a:gd name="T24" fmla="*/ 13 w 185"/>
                <a:gd name="T25" fmla="*/ 74 h 725"/>
                <a:gd name="T26" fmla="*/ 7 w 185"/>
                <a:gd name="T27" fmla="*/ 85 h 725"/>
                <a:gd name="T28" fmla="*/ 4 w 185"/>
                <a:gd name="T29" fmla="*/ 97 h 725"/>
                <a:gd name="T30" fmla="*/ 1 w 185"/>
                <a:gd name="T31" fmla="*/ 110 h 725"/>
                <a:gd name="T32" fmla="*/ 0 w 185"/>
                <a:gd name="T33" fmla="*/ 123 h 725"/>
                <a:gd name="T34" fmla="*/ 0 w 185"/>
                <a:gd name="T35" fmla="*/ 136 h 725"/>
                <a:gd name="T36" fmla="*/ 19 w 185"/>
                <a:gd name="T37" fmla="*/ 600 h 725"/>
                <a:gd name="T38" fmla="*/ 19 w 185"/>
                <a:gd name="T39" fmla="*/ 600 h 725"/>
                <a:gd name="T40" fmla="*/ 20 w 185"/>
                <a:gd name="T41" fmla="*/ 614 h 725"/>
                <a:gd name="T42" fmla="*/ 23 w 185"/>
                <a:gd name="T43" fmla="*/ 626 h 725"/>
                <a:gd name="T44" fmla="*/ 27 w 185"/>
                <a:gd name="T45" fmla="*/ 639 h 725"/>
                <a:gd name="T46" fmla="*/ 31 w 185"/>
                <a:gd name="T47" fmla="*/ 651 h 725"/>
                <a:gd name="T48" fmla="*/ 37 w 185"/>
                <a:gd name="T49" fmla="*/ 662 h 725"/>
                <a:gd name="T50" fmla="*/ 44 w 185"/>
                <a:gd name="T51" fmla="*/ 672 h 725"/>
                <a:gd name="T52" fmla="*/ 53 w 185"/>
                <a:gd name="T53" fmla="*/ 681 h 725"/>
                <a:gd name="T54" fmla="*/ 61 w 185"/>
                <a:gd name="T55" fmla="*/ 691 h 725"/>
                <a:gd name="T56" fmla="*/ 70 w 185"/>
                <a:gd name="T57" fmla="*/ 699 h 725"/>
                <a:gd name="T58" fmla="*/ 81 w 185"/>
                <a:gd name="T59" fmla="*/ 705 h 725"/>
                <a:gd name="T60" fmla="*/ 91 w 185"/>
                <a:gd name="T61" fmla="*/ 712 h 725"/>
                <a:gd name="T62" fmla="*/ 103 w 185"/>
                <a:gd name="T63" fmla="*/ 717 h 725"/>
                <a:gd name="T64" fmla="*/ 115 w 185"/>
                <a:gd name="T65" fmla="*/ 720 h 725"/>
                <a:gd name="T66" fmla="*/ 128 w 185"/>
                <a:gd name="T67" fmla="*/ 724 h 725"/>
                <a:gd name="T68" fmla="*/ 140 w 185"/>
                <a:gd name="T69" fmla="*/ 725 h 725"/>
                <a:gd name="T70" fmla="*/ 154 w 185"/>
                <a:gd name="T71" fmla="*/ 725 h 725"/>
                <a:gd name="T72" fmla="*/ 185 w 185"/>
                <a:gd name="T73" fmla="*/ 724 h 725"/>
                <a:gd name="T74" fmla="*/ 154 w 185"/>
                <a:gd name="T75" fmla="*/ 0 h 725"/>
                <a:gd name="T76" fmla="*/ 124 w 185"/>
                <a:gd name="T77" fmla="*/ 2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5" h="725">
                  <a:moveTo>
                    <a:pt x="124" y="2"/>
                  </a:moveTo>
                  <a:lnTo>
                    <a:pt x="124" y="2"/>
                  </a:lnTo>
                  <a:lnTo>
                    <a:pt x="110" y="3"/>
                  </a:lnTo>
                  <a:lnTo>
                    <a:pt x="98" y="5"/>
                  </a:lnTo>
                  <a:lnTo>
                    <a:pt x="85" y="9"/>
                  </a:lnTo>
                  <a:lnTo>
                    <a:pt x="73" y="14"/>
                  </a:lnTo>
                  <a:lnTo>
                    <a:pt x="62" y="19"/>
                  </a:lnTo>
                  <a:lnTo>
                    <a:pt x="53" y="27"/>
                  </a:lnTo>
                  <a:lnTo>
                    <a:pt x="43" y="35"/>
                  </a:lnTo>
                  <a:lnTo>
                    <a:pt x="34" y="43"/>
                  </a:lnTo>
                  <a:lnTo>
                    <a:pt x="26" y="53"/>
                  </a:lnTo>
                  <a:lnTo>
                    <a:pt x="19" y="64"/>
                  </a:lnTo>
                  <a:lnTo>
                    <a:pt x="13" y="74"/>
                  </a:lnTo>
                  <a:lnTo>
                    <a:pt x="7" y="85"/>
                  </a:lnTo>
                  <a:lnTo>
                    <a:pt x="4" y="97"/>
                  </a:lnTo>
                  <a:lnTo>
                    <a:pt x="1" y="110"/>
                  </a:lnTo>
                  <a:lnTo>
                    <a:pt x="0" y="123"/>
                  </a:lnTo>
                  <a:lnTo>
                    <a:pt x="0" y="136"/>
                  </a:lnTo>
                  <a:lnTo>
                    <a:pt x="19" y="600"/>
                  </a:lnTo>
                  <a:lnTo>
                    <a:pt x="19" y="600"/>
                  </a:lnTo>
                  <a:lnTo>
                    <a:pt x="20" y="614"/>
                  </a:lnTo>
                  <a:lnTo>
                    <a:pt x="23" y="626"/>
                  </a:lnTo>
                  <a:lnTo>
                    <a:pt x="27" y="639"/>
                  </a:lnTo>
                  <a:lnTo>
                    <a:pt x="31" y="651"/>
                  </a:lnTo>
                  <a:lnTo>
                    <a:pt x="37" y="662"/>
                  </a:lnTo>
                  <a:lnTo>
                    <a:pt x="44" y="672"/>
                  </a:lnTo>
                  <a:lnTo>
                    <a:pt x="53" y="681"/>
                  </a:lnTo>
                  <a:lnTo>
                    <a:pt x="61" y="691"/>
                  </a:lnTo>
                  <a:lnTo>
                    <a:pt x="70" y="699"/>
                  </a:lnTo>
                  <a:lnTo>
                    <a:pt x="81" y="705"/>
                  </a:lnTo>
                  <a:lnTo>
                    <a:pt x="91" y="712"/>
                  </a:lnTo>
                  <a:lnTo>
                    <a:pt x="103" y="717"/>
                  </a:lnTo>
                  <a:lnTo>
                    <a:pt x="115" y="720"/>
                  </a:lnTo>
                  <a:lnTo>
                    <a:pt x="128" y="724"/>
                  </a:lnTo>
                  <a:lnTo>
                    <a:pt x="140" y="725"/>
                  </a:lnTo>
                  <a:lnTo>
                    <a:pt x="154" y="725"/>
                  </a:lnTo>
                  <a:lnTo>
                    <a:pt x="185" y="724"/>
                  </a:lnTo>
                  <a:lnTo>
                    <a:pt x="154" y="0"/>
                  </a:lnTo>
                  <a:lnTo>
                    <a:pt x="124" y="2"/>
                  </a:lnTo>
                  <a:close/>
                </a:path>
              </a:pathLst>
            </a:custGeom>
            <a:solidFill>
              <a:sysClr val="windowText" lastClr="000000">
                <a:lumMod val="50000"/>
                <a:lumOff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45" name="Freeform 544"/>
            <p:cNvSpPr>
              <a:spLocks/>
            </p:cNvSpPr>
            <p:nvPr/>
          </p:nvSpPr>
          <p:spPr bwMode="auto">
            <a:xfrm>
              <a:off x="2262430" y="2825827"/>
              <a:ext cx="87734" cy="40492"/>
            </a:xfrm>
            <a:custGeom>
              <a:avLst/>
              <a:gdLst>
                <a:gd name="T0" fmla="*/ 0 w 204"/>
                <a:gd name="T1" fmla="*/ 29 h 94"/>
                <a:gd name="T2" fmla="*/ 2 w 204"/>
                <a:gd name="T3" fmla="*/ 73 h 94"/>
                <a:gd name="T4" fmla="*/ 2 w 204"/>
                <a:gd name="T5" fmla="*/ 73 h 94"/>
                <a:gd name="T6" fmla="*/ 3 w 204"/>
                <a:gd name="T7" fmla="*/ 77 h 94"/>
                <a:gd name="T8" fmla="*/ 4 w 204"/>
                <a:gd name="T9" fmla="*/ 82 h 94"/>
                <a:gd name="T10" fmla="*/ 6 w 204"/>
                <a:gd name="T11" fmla="*/ 85 h 94"/>
                <a:gd name="T12" fmla="*/ 9 w 204"/>
                <a:gd name="T13" fmla="*/ 88 h 94"/>
                <a:gd name="T14" fmla="*/ 13 w 204"/>
                <a:gd name="T15" fmla="*/ 91 h 94"/>
                <a:gd name="T16" fmla="*/ 16 w 204"/>
                <a:gd name="T17" fmla="*/ 92 h 94"/>
                <a:gd name="T18" fmla="*/ 21 w 204"/>
                <a:gd name="T19" fmla="*/ 94 h 94"/>
                <a:gd name="T20" fmla="*/ 25 w 204"/>
                <a:gd name="T21" fmla="*/ 94 h 94"/>
                <a:gd name="T22" fmla="*/ 184 w 204"/>
                <a:gd name="T23" fmla="*/ 87 h 94"/>
                <a:gd name="T24" fmla="*/ 184 w 204"/>
                <a:gd name="T25" fmla="*/ 87 h 94"/>
                <a:gd name="T26" fmla="*/ 188 w 204"/>
                <a:gd name="T27" fmla="*/ 87 h 94"/>
                <a:gd name="T28" fmla="*/ 191 w 204"/>
                <a:gd name="T29" fmla="*/ 85 h 94"/>
                <a:gd name="T30" fmla="*/ 195 w 204"/>
                <a:gd name="T31" fmla="*/ 83 h 94"/>
                <a:gd name="T32" fmla="*/ 198 w 204"/>
                <a:gd name="T33" fmla="*/ 81 h 94"/>
                <a:gd name="T34" fmla="*/ 201 w 204"/>
                <a:gd name="T35" fmla="*/ 77 h 94"/>
                <a:gd name="T36" fmla="*/ 202 w 204"/>
                <a:gd name="T37" fmla="*/ 73 h 94"/>
                <a:gd name="T38" fmla="*/ 203 w 204"/>
                <a:gd name="T39" fmla="*/ 70 h 94"/>
                <a:gd name="T40" fmla="*/ 204 w 204"/>
                <a:gd name="T41" fmla="*/ 64 h 94"/>
                <a:gd name="T42" fmla="*/ 202 w 204"/>
                <a:gd name="T43" fmla="*/ 21 h 94"/>
                <a:gd name="T44" fmla="*/ 202 w 204"/>
                <a:gd name="T45" fmla="*/ 21 h 94"/>
                <a:gd name="T46" fmla="*/ 201 w 204"/>
                <a:gd name="T47" fmla="*/ 17 h 94"/>
                <a:gd name="T48" fmla="*/ 200 w 204"/>
                <a:gd name="T49" fmla="*/ 13 h 94"/>
                <a:gd name="T50" fmla="*/ 198 w 204"/>
                <a:gd name="T51" fmla="*/ 9 h 94"/>
                <a:gd name="T52" fmla="*/ 195 w 204"/>
                <a:gd name="T53" fmla="*/ 6 h 94"/>
                <a:gd name="T54" fmla="*/ 191 w 204"/>
                <a:gd name="T55" fmla="*/ 3 h 94"/>
                <a:gd name="T56" fmla="*/ 188 w 204"/>
                <a:gd name="T57" fmla="*/ 2 h 94"/>
                <a:gd name="T58" fmla="*/ 184 w 204"/>
                <a:gd name="T59" fmla="*/ 1 h 94"/>
                <a:gd name="T60" fmla="*/ 179 w 204"/>
                <a:gd name="T61" fmla="*/ 0 h 94"/>
                <a:gd name="T62" fmla="*/ 21 w 204"/>
                <a:gd name="T63" fmla="*/ 7 h 94"/>
                <a:gd name="T64" fmla="*/ 21 w 204"/>
                <a:gd name="T65" fmla="*/ 7 h 94"/>
                <a:gd name="T66" fmla="*/ 16 w 204"/>
                <a:gd name="T67" fmla="*/ 7 h 94"/>
                <a:gd name="T68" fmla="*/ 13 w 204"/>
                <a:gd name="T69" fmla="*/ 8 h 94"/>
                <a:gd name="T70" fmla="*/ 9 w 204"/>
                <a:gd name="T71" fmla="*/ 10 h 94"/>
                <a:gd name="T72" fmla="*/ 6 w 204"/>
                <a:gd name="T73" fmla="*/ 14 h 94"/>
                <a:gd name="T74" fmla="*/ 3 w 204"/>
                <a:gd name="T75" fmla="*/ 17 h 94"/>
                <a:gd name="T76" fmla="*/ 2 w 204"/>
                <a:gd name="T77" fmla="*/ 21 h 94"/>
                <a:gd name="T78" fmla="*/ 1 w 204"/>
                <a:gd name="T79" fmla="*/ 24 h 94"/>
                <a:gd name="T80" fmla="*/ 0 w 204"/>
                <a:gd name="T81" fmla="*/ 29 h 94"/>
                <a:gd name="T82" fmla="*/ 0 w 204"/>
                <a:gd name="T83" fmla="*/ 2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4" h="94">
                  <a:moveTo>
                    <a:pt x="0" y="29"/>
                  </a:moveTo>
                  <a:lnTo>
                    <a:pt x="2" y="73"/>
                  </a:lnTo>
                  <a:lnTo>
                    <a:pt x="2" y="73"/>
                  </a:lnTo>
                  <a:lnTo>
                    <a:pt x="3" y="77"/>
                  </a:lnTo>
                  <a:lnTo>
                    <a:pt x="4" y="82"/>
                  </a:lnTo>
                  <a:lnTo>
                    <a:pt x="6" y="85"/>
                  </a:lnTo>
                  <a:lnTo>
                    <a:pt x="9" y="88"/>
                  </a:lnTo>
                  <a:lnTo>
                    <a:pt x="13" y="91"/>
                  </a:lnTo>
                  <a:lnTo>
                    <a:pt x="16" y="92"/>
                  </a:lnTo>
                  <a:lnTo>
                    <a:pt x="21" y="94"/>
                  </a:lnTo>
                  <a:lnTo>
                    <a:pt x="25" y="94"/>
                  </a:lnTo>
                  <a:lnTo>
                    <a:pt x="184" y="87"/>
                  </a:lnTo>
                  <a:lnTo>
                    <a:pt x="184" y="87"/>
                  </a:lnTo>
                  <a:lnTo>
                    <a:pt x="188" y="87"/>
                  </a:lnTo>
                  <a:lnTo>
                    <a:pt x="191" y="85"/>
                  </a:lnTo>
                  <a:lnTo>
                    <a:pt x="195" y="83"/>
                  </a:lnTo>
                  <a:lnTo>
                    <a:pt x="198" y="81"/>
                  </a:lnTo>
                  <a:lnTo>
                    <a:pt x="201" y="77"/>
                  </a:lnTo>
                  <a:lnTo>
                    <a:pt x="202" y="73"/>
                  </a:lnTo>
                  <a:lnTo>
                    <a:pt x="203" y="70"/>
                  </a:lnTo>
                  <a:lnTo>
                    <a:pt x="204" y="64"/>
                  </a:lnTo>
                  <a:lnTo>
                    <a:pt x="202" y="21"/>
                  </a:lnTo>
                  <a:lnTo>
                    <a:pt x="202" y="21"/>
                  </a:lnTo>
                  <a:lnTo>
                    <a:pt x="201" y="17"/>
                  </a:lnTo>
                  <a:lnTo>
                    <a:pt x="200" y="13"/>
                  </a:lnTo>
                  <a:lnTo>
                    <a:pt x="198" y="9"/>
                  </a:lnTo>
                  <a:lnTo>
                    <a:pt x="195" y="6"/>
                  </a:lnTo>
                  <a:lnTo>
                    <a:pt x="191" y="3"/>
                  </a:lnTo>
                  <a:lnTo>
                    <a:pt x="188" y="2"/>
                  </a:lnTo>
                  <a:lnTo>
                    <a:pt x="184" y="1"/>
                  </a:lnTo>
                  <a:lnTo>
                    <a:pt x="179" y="0"/>
                  </a:lnTo>
                  <a:lnTo>
                    <a:pt x="21" y="7"/>
                  </a:lnTo>
                  <a:lnTo>
                    <a:pt x="21" y="7"/>
                  </a:lnTo>
                  <a:lnTo>
                    <a:pt x="16" y="7"/>
                  </a:lnTo>
                  <a:lnTo>
                    <a:pt x="13" y="8"/>
                  </a:lnTo>
                  <a:lnTo>
                    <a:pt x="9" y="10"/>
                  </a:lnTo>
                  <a:lnTo>
                    <a:pt x="6" y="14"/>
                  </a:lnTo>
                  <a:lnTo>
                    <a:pt x="3" y="17"/>
                  </a:lnTo>
                  <a:lnTo>
                    <a:pt x="2" y="21"/>
                  </a:lnTo>
                  <a:lnTo>
                    <a:pt x="1" y="24"/>
                  </a:lnTo>
                  <a:lnTo>
                    <a:pt x="0" y="29"/>
                  </a:lnTo>
                  <a:lnTo>
                    <a:pt x="0" y="29"/>
                  </a:lnTo>
                  <a:close/>
                </a:path>
              </a:pathLst>
            </a:custGeom>
            <a:solidFill>
              <a:sysClr val="windowText" lastClr="000000">
                <a:lumMod val="50000"/>
                <a:lumOff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46" name="Freeform 545"/>
            <p:cNvSpPr>
              <a:spLocks/>
            </p:cNvSpPr>
            <p:nvPr/>
          </p:nvSpPr>
          <p:spPr bwMode="auto">
            <a:xfrm>
              <a:off x="2258990" y="2761714"/>
              <a:ext cx="87734" cy="40492"/>
            </a:xfrm>
            <a:custGeom>
              <a:avLst/>
              <a:gdLst>
                <a:gd name="T0" fmla="*/ 0 w 204"/>
                <a:gd name="T1" fmla="*/ 29 h 94"/>
                <a:gd name="T2" fmla="*/ 2 w 204"/>
                <a:gd name="T3" fmla="*/ 74 h 94"/>
                <a:gd name="T4" fmla="*/ 2 w 204"/>
                <a:gd name="T5" fmla="*/ 74 h 94"/>
                <a:gd name="T6" fmla="*/ 3 w 204"/>
                <a:gd name="T7" fmla="*/ 78 h 94"/>
                <a:gd name="T8" fmla="*/ 4 w 204"/>
                <a:gd name="T9" fmla="*/ 81 h 94"/>
                <a:gd name="T10" fmla="*/ 6 w 204"/>
                <a:gd name="T11" fmla="*/ 86 h 94"/>
                <a:gd name="T12" fmla="*/ 8 w 204"/>
                <a:gd name="T13" fmla="*/ 89 h 94"/>
                <a:gd name="T14" fmla="*/ 12 w 204"/>
                <a:gd name="T15" fmla="*/ 91 h 94"/>
                <a:gd name="T16" fmla="*/ 16 w 204"/>
                <a:gd name="T17" fmla="*/ 93 h 94"/>
                <a:gd name="T18" fmla="*/ 20 w 204"/>
                <a:gd name="T19" fmla="*/ 94 h 94"/>
                <a:gd name="T20" fmla="*/ 24 w 204"/>
                <a:gd name="T21" fmla="*/ 94 h 94"/>
                <a:gd name="T22" fmla="*/ 183 w 204"/>
                <a:gd name="T23" fmla="*/ 88 h 94"/>
                <a:gd name="T24" fmla="*/ 183 w 204"/>
                <a:gd name="T25" fmla="*/ 88 h 94"/>
                <a:gd name="T26" fmla="*/ 187 w 204"/>
                <a:gd name="T27" fmla="*/ 87 h 94"/>
                <a:gd name="T28" fmla="*/ 191 w 204"/>
                <a:gd name="T29" fmla="*/ 86 h 94"/>
                <a:gd name="T30" fmla="*/ 195 w 204"/>
                <a:gd name="T31" fmla="*/ 83 h 94"/>
                <a:gd name="T32" fmla="*/ 197 w 204"/>
                <a:gd name="T33" fmla="*/ 80 h 94"/>
                <a:gd name="T34" fmla="*/ 200 w 204"/>
                <a:gd name="T35" fmla="*/ 77 h 94"/>
                <a:gd name="T36" fmla="*/ 201 w 204"/>
                <a:gd name="T37" fmla="*/ 74 h 94"/>
                <a:gd name="T38" fmla="*/ 203 w 204"/>
                <a:gd name="T39" fmla="*/ 69 h 94"/>
                <a:gd name="T40" fmla="*/ 204 w 204"/>
                <a:gd name="T41" fmla="*/ 65 h 94"/>
                <a:gd name="T42" fmla="*/ 201 w 204"/>
                <a:gd name="T43" fmla="*/ 21 h 94"/>
                <a:gd name="T44" fmla="*/ 201 w 204"/>
                <a:gd name="T45" fmla="*/ 21 h 94"/>
                <a:gd name="T46" fmla="*/ 200 w 204"/>
                <a:gd name="T47" fmla="*/ 16 h 94"/>
                <a:gd name="T48" fmla="*/ 199 w 204"/>
                <a:gd name="T49" fmla="*/ 12 h 94"/>
                <a:gd name="T50" fmla="*/ 197 w 204"/>
                <a:gd name="T51" fmla="*/ 9 h 94"/>
                <a:gd name="T52" fmla="*/ 195 w 204"/>
                <a:gd name="T53" fmla="*/ 6 h 94"/>
                <a:gd name="T54" fmla="*/ 191 w 204"/>
                <a:gd name="T55" fmla="*/ 3 h 94"/>
                <a:gd name="T56" fmla="*/ 187 w 204"/>
                <a:gd name="T57" fmla="*/ 1 h 94"/>
                <a:gd name="T58" fmla="*/ 183 w 204"/>
                <a:gd name="T59" fmla="*/ 0 h 94"/>
                <a:gd name="T60" fmla="*/ 179 w 204"/>
                <a:gd name="T61" fmla="*/ 0 h 94"/>
                <a:gd name="T62" fmla="*/ 20 w 204"/>
                <a:gd name="T63" fmla="*/ 7 h 94"/>
                <a:gd name="T64" fmla="*/ 20 w 204"/>
                <a:gd name="T65" fmla="*/ 7 h 94"/>
                <a:gd name="T66" fmla="*/ 16 w 204"/>
                <a:gd name="T67" fmla="*/ 7 h 94"/>
                <a:gd name="T68" fmla="*/ 12 w 204"/>
                <a:gd name="T69" fmla="*/ 9 h 94"/>
                <a:gd name="T70" fmla="*/ 8 w 204"/>
                <a:gd name="T71" fmla="*/ 11 h 94"/>
                <a:gd name="T72" fmla="*/ 6 w 204"/>
                <a:gd name="T73" fmla="*/ 13 h 94"/>
                <a:gd name="T74" fmla="*/ 3 w 204"/>
                <a:gd name="T75" fmla="*/ 16 h 94"/>
                <a:gd name="T76" fmla="*/ 2 w 204"/>
                <a:gd name="T77" fmla="*/ 21 h 94"/>
                <a:gd name="T78" fmla="*/ 1 w 204"/>
                <a:gd name="T79" fmla="*/ 25 h 94"/>
                <a:gd name="T80" fmla="*/ 0 w 204"/>
                <a:gd name="T81" fmla="*/ 29 h 94"/>
                <a:gd name="T82" fmla="*/ 0 w 204"/>
                <a:gd name="T83" fmla="*/ 2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4" h="94">
                  <a:moveTo>
                    <a:pt x="0" y="29"/>
                  </a:moveTo>
                  <a:lnTo>
                    <a:pt x="2" y="74"/>
                  </a:lnTo>
                  <a:lnTo>
                    <a:pt x="2" y="74"/>
                  </a:lnTo>
                  <a:lnTo>
                    <a:pt x="3" y="78"/>
                  </a:lnTo>
                  <a:lnTo>
                    <a:pt x="4" y="81"/>
                  </a:lnTo>
                  <a:lnTo>
                    <a:pt x="6" y="86"/>
                  </a:lnTo>
                  <a:lnTo>
                    <a:pt x="8" y="89"/>
                  </a:lnTo>
                  <a:lnTo>
                    <a:pt x="12" y="91"/>
                  </a:lnTo>
                  <a:lnTo>
                    <a:pt x="16" y="93"/>
                  </a:lnTo>
                  <a:lnTo>
                    <a:pt x="20" y="94"/>
                  </a:lnTo>
                  <a:lnTo>
                    <a:pt x="24" y="94"/>
                  </a:lnTo>
                  <a:lnTo>
                    <a:pt x="183" y="88"/>
                  </a:lnTo>
                  <a:lnTo>
                    <a:pt x="183" y="88"/>
                  </a:lnTo>
                  <a:lnTo>
                    <a:pt x="187" y="87"/>
                  </a:lnTo>
                  <a:lnTo>
                    <a:pt x="191" y="86"/>
                  </a:lnTo>
                  <a:lnTo>
                    <a:pt x="195" y="83"/>
                  </a:lnTo>
                  <a:lnTo>
                    <a:pt x="197" y="80"/>
                  </a:lnTo>
                  <a:lnTo>
                    <a:pt x="200" y="77"/>
                  </a:lnTo>
                  <a:lnTo>
                    <a:pt x="201" y="74"/>
                  </a:lnTo>
                  <a:lnTo>
                    <a:pt x="203" y="69"/>
                  </a:lnTo>
                  <a:lnTo>
                    <a:pt x="204" y="65"/>
                  </a:lnTo>
                  <a:lnTo>
                    <a:pt x="201" y="21"/>
                  </a:lnTo>
                  <a:lnTo>
                    <a:pt x="201" y="21"/>
                  </a:lnTo>
                  <a:lnTo>
                    <a:pt x="200" y="16"/>
                  </a:lnTo>
                  <a:lnTo>
                    <a:pt x="199" y="12"/>
                  </a:lnTo>
                  <a:lnTo>
                    <a:pt x="197" y="9"/>
                  </a:lnTo>
                  <a:lnTo>
                    <a:pt x="195" y="6"/>
                  </a:lnTo>
                  <a:lnTo>
                    <a:pt x="191" y="3"/>
                  </a:lnTo>
                  <a:lnTo>
                    <a:pt x="187" y="1"/>
                  </a:lnTo>
                  <a:lnTo>
                    <a:pt x="183" y="0"/>
                  </a:lnTo>
                  <a:lnTo>
                    <a:pt x="179" y="0"/>
                  </a:lnTo>
                  <a:lnTo>
                    <a:pt x="20" y="7"/>
                  </a:lnTo>
                  <a:lnTo>
                    <a:pt x="20" y="7"/>
                  </a:lnTo>
                  <a:lnTo>
                    <a:pt x="16" y="7"/>
                  </a:lnTo>
                  <a:lnTo>
                    <a:pt x="12" y="9"/>
                  </a:lnTo>
                  <a:lnTo>
                    <a:pt x="8" y="11"/>
                  </a:lnTo>
                  <a:lnTo>
                    <a:pt x="6" y="13"/>
                  </a:lnTo>
                  <a:lnTo>
                    <a:pt x="3" y="16"/>
                  </a:lnTo>
                  <a:lnTo>
                    <a:pt x="2" y="21"/>
                  </a:lnTo>
                  <a:lnTo>
                    <a:pt x="1" y="25"/>
                  </a:lnTo>
                  <a:lnTo>
                    <a:pt x="0" y="29"/>
                  </a:lnTo>
                  <a:lnTo>
                    <a:pt x="0" y="29"/>
                  </a:lnTo>
                  <a:close/>
                </a:path>
              </a:pathLst>
            </a:custGeom>
            <a:solidFill>
              <a:sysClr val="windowText" lastClr="000000">
                <a:lumMod val="50000"/>
                <a:lumOff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47" name="Freeform 546"/>
            <p:cNvSpPr>
              <a:spLocks/>
            </p:cNvSpPr>
            <p:nvPr/>
          </p:nvSpPr>
          <p:spPr bwMode="auto">
            <a:xfrm>
              <a:off x="2257269" y="2695910"/>
              <a:ext cx="87734" cy="40492"/>
            </a:xfrm>
            <a:custGeom>
              <a:avLst/>
              <a:gdLst>
                <a:gd name="T0" fmla="*/ 0 w 204"/>
                <a:gd name="T1" fmla="*/ 29 h 94"/>
                <a:gd name="T2" fmla="*/ 2 w 204"/>
                <a:gd name="T3" fmla="*/ 73 h 94"/>
                <a:gd name="T4" fmla="*/ 2 w 204"/>
                <a:gd name="T5" fmla="*/ 73 h 94"/>
                <a:gd name="T6" fmla="*/ 3 w 204"/>
                <a:gd name="T7" fmla="*/ 78 h 94"/>
                <a:gd name="T8" fmla="*/ 4 w 204"/>
                <a:gd name="T9" fmla="*/ 82 h 94"/>
                <a:gd name="T10" fmla="*/ 7 w 204"/>
                <a:gd name="T11" fmla="*/ 85 h 94"/>
                <a:gd name="T12" fmla="*/ 9 w 204"/>
                <a:gd name="T13" fmla="*/ 88 h 94"/>
                <a:gd name="T14" fmla="*/ 13 w 204"/>
                <a:gd name="T15" fmla="*/ 90 h 94"/>
                <a:gd name="T16" fmla="*/ 16 w 204"/>
                <a:gd name="T17" fmla="*/ 93 h 94"/>
                <a:gd name="T18" fmla="*/ 21 w 204"/>
                <a:gd name="T19" fmla="*/ 94 h 94"/>
                <a:gd name="T20" fmla="*/ 25 w 204"/>
                <a:gd name="T21" fmla="*/ 94 h 94"/>
                <a:gd name="T22" fmla="*/ 184 w 204"/>
                <a:gd name="T23" fmla="*/ 87 h 94"/>
                <a:gd name="T24" fmla="*/ 184 w 204"/>
                <a:gd name="T25" fmla="*/ 87 h 94"/>
                <a:gd name="T26" fmla="*/ 188 w 204"/>
                <a:gd name="T27" fmla="*/ 86 h 94"/>
                <a:gd name="T28" fmla="*/ 191 w 204"/>
                <a:gd name="T29" fmla="*/ 85 h 94"/>
                <a:gd name="T30" fmla="*/ 196 w 204"/>
                <a:gd name="T31" fmla="*/ 83 h 94"/>
                <a:gd name="T32" fmla="*/ 198 w 204"/>
                <a:gd name="T33" fmla="*/ 81 h 94"/>
                <a:gd name="T34" fmla="*/ 201 w 204"/>
                <a:gd name="T35" fmla="*/ 78 h 94"/>
                <a:gd name="T36" fmla="*/ 202 w 204"/>
                <a:gd name="T37" fmla="*/ 73 h 94"/>
                <a:gd name="T38" fmla="*/ 203 w 204"/>
                <a:gd name="T39" fmla="*/ 69 h 94"/>
                <a:gd name="T40" fmla="*/ 204 w 204"/>
                <a:gd name="T41" fmla="*/ 65 h 94"/>
                <a:gd name="T42" fmla="*/ 202 w 204"/>
                <a:gd name="T43" fmla="*/ 20 h 94"/>
                <a:gd name="T44" fmla="*/ 202 w 204"/>
                <a:gd name="T45" fmla="*/ 20 h 94"/>
                <a:gd name="T46" fmla="*/ 201 w 204"/>
                <a:gd name="T47" fmla="*/ 16 h 94"/>
                <a:gd name="T48" fmla="*/ 200 w 204"/>
                <a:gd name="T49" fmla="*/ 13 h 94"/>
                <a:gd name="T50" fmla="*/ 198 w 204"/>
                <a:gd name="T51" fmla="*/ 8 h 94"/>
                <a:gd name="T52" fmla="*/ 196 w 204"/>
                <a:gd name="T53" fmla="*/ 5 h 94"/>
                <a:gd name="T54" fmla="*/ 191 w 204"/>
                <a:gd name="T55" fmla="*/ 3 h 94"/>
                <a:gd name="T56" fmla="*/ 188 w 204"/>
                <a:gd name="T57" fmla="*/ 1 h 94"/>
                <a:gd name="T58" fmla="*/ 184 w 204"/>
                <a:gd name="T59" fmla="*/ 0 h 94"/>
                <a:gd name="T60" fmla="*/ 179 w 204"/>
                <a:gd name="T61" fmla="*/ 0 h 94"/>
                <a:gd name="T62" fmla="*/ 21 w 204"/>
                <a:gd name="T63" fmla="*/ 6 h 94"/>
                <a:gd name="T64" fmla="*/ 21 w 204"/>
                <a:gd name="T65" fmla="*/ 6 h 94"/>
                <a:gd name="T66" fmla="*/ 16 w 204"/>
                <a:gd name="T67" fmla="*/ 7 h 94"/>
                <a:gd name="T68" fmla="*/ 13 w 204"/>
                <a:gd name="T69" fmla="*/ 8 h 94"/>
                <a:gd name="T70" fmla="*/ 9 w 204"/>
                <a:gd name="T71" fmla="*/ 11 h 94"/>
                <a:gd name="T72" fmla="*/ 7 w 204"/>
                <a:gd name="T73" fmla="*/ 14 h 94"/>
                <a:gd name="T74" fmla="*/ 3 w 204"/>
                <a:gd name="T75" fmla="*/ 17 h 94"/>
                <a:gd name="T76" fmla="*/ 2 w 204"/>
                <a:gd name="T77" fmla="*/ 20 h 94"/>
                <a:gd name="T78" fmla="*/ 1 w 204"/>
                <a:gd name="T79" fmla="*/ 25 h 94"/>
                <a:gd name="T80" fmla="*/ 0 w 204"/>
                <a:gd name="T81" fmla="*/ 29 h 94"/>
                <a:gd name="T82" fmla="*/ 0 w 204"/>
                <a:gd name="T83" fmla="*/ 2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4" h="94">
                  <a:moveTo>
                    <a:pt x="0" y="29"/>
                  </a:moveTo>
                  <a:lnTo>
                    <a:pt x="2" y="73"/>
                  </a:lnTo>
                  <a:lnTo>
                    <a:pt x="2" y="73"/>
                  </a:lnTo>
                  <a:lnTo>
                    <a:pt x="3" y="78"/>
                  </a:lnTo>
                  <a:lnTo>
                    <a:pt x="4" y="82"/>
                  </a:lnTo>
                  <a:lnTo>
                    <a:pt x="7" y="85"/>
                  </a:lnTo>
                  <a:lnTo>
                    <a:pt x="9" y="88"/>
                  </a:lnTo>
                  <a:lnTo>
                    <a:pt x="13" y="90"/>
                  </a:lnTo>
                  <a:lnTo>
                    <a:pt x="16" y="93"/>
                  </a:lnTo>
                  <a:lnTo>
                    <a:pt x="21" y="94"/>
                  </a:lnTo>
                  <a:lnTo>
                    <a:pt x="25" y="94"/>
                  </a:lnTo>
                  <a:lnTo>
                    <a:pt x="184" y="87"/>
                  </a:lnTo>
                  <a:lnTo>
                    <a:pt x="184" y="87"/>
                  </a:lnTo>
                  <a:lnTo>
                    <a:pt x="188" y="86"/>
                  </a:lnTo>
                  <a:lnTo>
                    <a:pt x="191" y="85"/>
                  </a:lnTo>
                  <a:lnTo>
                    <a:pt x="196" y="83"/>
                  </a:lnTo>
                  <a:lnTo>
                    <a:pt x="198" y="81"/>
                  </a:lnTo>
                  <a:lnTo>
                    <a:pt x="201" y="78"/>
                  </a:lnTo>
                  <a:lnTo>
                    <a:pt x="202" y="73"/>
                  </a:lnTo>
                  <a:lnTo>
                    <a:pt x="203" y="69"/>
                  </a:lnTo>
                  <a:lnTo>
                    <a:pt x="204" y="65"/>
                  </a:lnTo>
                  <a:lnTo>
                    <a:pt x="202" y="20"/>
                  </a:lnTo>
                  <a:lnTo>
                    <a:pt x="202" y="20"/>
                  </a:lnTo>
                  <a:lnTo>
                    <a:pt x="201" y="16"/>
                  </a:lnTo>
                  <a:lnTo>
                    <a:pt x="200" y="13"/>
                  </a:lnTo>
                  <a:lnTo>
                    <a:pt x="198" y="8"/>
                  </a:lnTo>
                  <a:lnTo>
                    <a:pt x="196" y="5"/>
                  </a:lnTo>
                  <a:lnTo>
                    <a:pt x="191" y="3"/>
                  </a:lnTo>
                  <a:lnTo>
                    <a:pt x="188" y="1"/>
                  </a:lnTo>
                  <a:lnTo>
                    <a:pt x="184" y="0"/>
                  </a:lnTo>
                  <a:lnTo>
                    <a:pt x="179" y="0"/>
                  </a:lnTo>
                  <a:lnTo>
                    <a:pt x="21" y="6"/>
                  </a:lnTo>
                  <a:lnTo>
                    <a:pt x="21" y="6"/>
                  </a:lnTo>
                  <a:lnTo>
                    <a:pt x="16" y="7"/>
                  </a:lnTo>
                  <a:lnTo>
                    <a:pt x="13" y="8"/>
                  </a:lnTo>
                  <a:lnTo>
                    <a:pt x="9" y="11"/>
                  </a:lnTo>
                  <a:lnTo>
                    <a:pt x="7" y="14"/>
                  </a:lnTo>
                  <a:lnTo>
                    <a:pt x="3" y="17"/>
                  </a:lnTo>
                  <a:lnTo>
                    <a:pt x="2" y="20"/>
                  </a:lnTo>
                  <a:lnTo>
                    <a:pt x="1" y="25"/>
                  </a:lnTo>
                  <a:lnTo>
                    <a:pt x="0" y="29"/>
                  </a:lnTo>
                  <a:lnTo>
                    <a:pt x="0" y="29"/>
                  </a:lnTo>
                  <a:close/>
                </a:path>
              </a:pathLst>
            </a:custGeom>
            <a:solidFill>
              <a:sysClr val="windowText" lastClr="000000">
                <a:lumMod val="50000"/>
                <a:lumOff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48" name="Freeform 547"/>
            <p:cNvSpPr>
              <a:spLocks/>
            </p:cNvSpPr>
            <p:nvPr/>
          </p:nvSpPr>
          <p:spPr bwMode="auto">
            <a:xfrm>
              <a:off x="2253828" y="2631795"/>
              <a:ext cx="87734" cy="40492"/>
            </a:xfrm>
            <a:custGeom>
              <a:avLst/>
              <a:gdLst>
                <a:gd name="T0" fmla="*/ 0 w 204"/>
                <a:gd name="T1" fmla="*/ 29 h 95"/>
                <a:gd name="T2" fmla="*/ 2 w 204"/>
                <a:gd name="T3" fmla="*/ 74 h 95"/>
                <a:gd name="T4" fmla="*/ 2 w 204"/>
                <a:gd name="T5" fmla="*/ 74 h 95"/>
                <a:gd name="T6" fmla="*/ 3 w 204"/>
                <a:gd name="T7" fmla="*/ 78 h 95"/>
                <a:gd name="T8" fmla="*/ 4 w 204"/>
                <a:gd name="T9" fmla="*/ 82 h 95"/>
                <a:gd name="T10" fmla="*/ 6 w 204"/>
                <a:gd name="T11" fmla="*/ 86 h 95"/>
                <a:gd name="T12" fmla="*/ 8 w 204"/>
                <a:gd name="T13" fmla="*/ 89 h 95"/>
                <a:gd name="T14" fmla="*/ 13 w 204"/>
                <a:gd name="T15" fmla="*/ 92 h 95"/>
                <a:gd name="T16" fmla="*/ 16 w 204"/>
                <a:gd name="T17" fmla="*/ 93 h 95"/>
                <a:gd name="T18" fmla="*/ 20 w 204"/>
                <a:gd name="T19" fmla="*/ 94 h 95"/>
                <a:gd name="T20" fmla="*/ 24 w 204"/>
                <a:gd name="T21" fmla="*/ 95 h 95"/>
                <a:gd name="T22" fmla="*/ 183 w 204"/>
                <a:gd name="T23" fmla="*/ 88 h 95"/>
                <a:gd name="T24" fmla="*/ 183 w 204"/>
                <a:gd name="T25" fmla="*/ 88 h 95"/>
                <a:gd name="T26" fmla="*/ 187 w 204"/>
                <a:gd name="T27" fmla="*/ 88 h 95"/>
                <a:gd name="T28" fmla="*/ 191 w 204"/>
                <a:gd name="T29" fmla="*/ 86 h 95"/>
                <a:gd name="T30" fmla="*/ 195 w 204"/>
                <a:gd name="T31" fmla="*/ 83 h 95"/>
                <a:gd name="T32" fmla="*/ 197 w 204"/>
                <a:gd name="T33" fmla="*/ 81 h 95"/>
                <a:gd name="T34" fmla="*/ 200 w 204"/>
                <a:gd name="T35" fmla="*/ 78 h 95"/>
                <a:gd name="T36" fmla="*/ 202 w 204"/>
                <a:gd name="T37" fmla="*/ 74 h 95"/>
                <a:gd name="T38" fmla="*/ 203 w 204"/>
                <a:gd name="T39" fmla="*/ 71 h 95"/>
                <a:gd name="T40" fmla="*/ 204 w 204"/>
                <a:gd name="T41" fmla="*/ 66 h 95"/>
                <a:gd name="T42" fmla="*/ 202 w 204"/>
                <a:gd name="T43" fmla="*/ 22 h 95"/>
                <a:gd name="T44" fmla="*/ 202 w 204"/>
                <a:gd name="T45" fmla="*/ 22 h 95"/>
                <a:gd name="T46" fmla="*/ 200 w 204"/>
                <a:gd name="T47" fmla="*/ 18 h 95"/>
                <a:gd name="T48" fmla="*/ 199 w 204"/>
                <a:gd name="T49" fmla="*/ 13 h 95"/>
                <a:gd name="T50" fmla="*/ 197 w 204"/>
                <a:gd name="T51" fmla="*/ 10 h 95"/>
                <a:gd name="T52" fmla="*/ 195 w 204"/>
                <a:gd name="T53" fmla="*/ 7 h 95"/>
                <a:gd name="T54" fmla="*/ 191 w 204"/>
                <a:gd name="T55" fmla="*/ 4 h 95"/>
                <a:gd name="T56" fmla="*/ 187 w 204"/>
                <a:gd name="T57" fmla="*/ 2 h 95"/>
                <a:gd name="T58" fmla="*/ 183 w 204"/>
                <a:gd name="T59" fmla="*/ 1 h 95"/>
                <a:gd name="T60" fmla="*/ 179 w 204"/>
                <a:gd name="T61" fmla="*/ 0 h 95"/>
                <a:gd name="T62" fmla="*/ 20 w 204"/>
                <a:gd name="T63" fmla="*/ 8 h 95"/>
                <a:gd name="T64" fmla="*/ 20 w 204"/>
                <a:gd name="T65" fmla="*/ 8 h 95"/>
                <a:gd name="T66" fmla="*/ 16 w 204"/>
                <a:gd name="T67" fmla="*/ 8 h 95"/>
                <a:gd name="T68" fmla="*/ 13 w 204"/>
                <a:gd name="T69" fmla="*/ 10 h 95"/>
                <a:gd name="T70" fmla="*/ 8 w 204"/>
                <a:gd name="T71" fmla="*/ 12 h 95"/>
                <a:gd name="T72" fmla="*/ 6 w 204"/>
                <a:gd name="T73" fmla="*/ 14 h 95"/>
                <a:gd name="T74" fmla="*/ 3 w 204"/>
                <a:gd name="T75" fmla="*/ 18 h 95"/>
                <a:gd name="T76" fmla="*/ 2 w 204"/>
                <a:gd name="T77" fmla="*/ 22 h 95"/>
                <a:gd name="T78" fmla="*/ 1 w 204"/>
                <a:gd name="T79" fmla="*/ 25 h 95"/>
                <a:gd name="T80" fmla="*/ 0 w 204"/>
                <a:gd name="T81" fmla="*/ 29 h 95"/>
                <a:gd name="T82" fmla="*/ 0 w 204"/>
                <a:gd name="T83" fmla="*/ 2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4" h="95">
                  <a:moveTo>
                    <a:pt x="0" y="29"/>
                  </a:moveTo>
                  <a:lnTo>
                    <a:pt x="2" y="74"/>
                  </a:lnTo>
                  <a:lnTo>
                    <a:pt x="2" y="74"/>
                  </a:lnTo>
                  <a:lnTo>
                    <a:pt x="3" y="78"/>
                  </a:lnTo>
                  <a:lnTo>
                    <a:pt x="4" y="82"/>
                  </a:lnTo>
                  <a:lnTo>
                    <a:pt x="6" y="86"/>
                  </a:lnTo>
                  <a:lnTo>
                    <a:pt x="8" y="89"/>
                  </a:lnTo>
                  <a:lnTo>
                    <a:pt x="13" y="92"/>
                  </a:lnTo>
                  <a:lnTo>
                    <a:pt x="16" y="93"/>
                  </a:lnTo>
                  <a:lnTo>
                    <a:pt x="20" y="94"/>
                  </a:lnTo>
                  <a:lnTo>
                    <a:pt x="24" y="95"/>
                  </a:lnTo>
                  <a:lnTo>
                    <a:pt x="183" y="88"/>
                  </a:lnTo>
                  <a:lnTo>
                    <a:pt x="183" y="88"/>
                  </a:lnTo>
                  <a:lnTo>
                    <a:pt x="187" y="88"/>
                  </a:lnTo>
                  <a:lnTo>
                    <a:pt x="191" y="86"/>
                  </a:lnTo>
                  <a:lnTo>
                    <a:pt x="195" y="83"/>
                  </a:lnTo>
                  <a:lnTo>
                    <a:pt x="197" y="81"/>
                  </a:lnTo>
                  <a:lnTo>
                    <a:pt x="200" y="78"/>
                  </a:lnTo>
                  <a:lnTo>
                    <a:pt x="202" y="74"/>
                  </a:lnTo>
                  <a:lnTo>
                    <a:pt x="203" y="71"/>
                  </a:lnTo>
                  <a:lnTo>
                    <a:pt x="204" y="66"/>
                  </a:lnTo>
                  <a:lnTo>
                    <a:pt x="202" y="22"/>
                  </a:lnTo>
                  <a:lnTo>
                    <a:pt x="202" y="22"/>
                  </a:lnTo>
                  <a:lnTo>
                    <a:pt x="200" y="18"/>
                  </a:lnTo>
                  <a:lnTo>
                    <a:pt x="199" y="13"/>
                  </a:lnTo>
                  <a:lnTo>
                    <a:pt x="197" y="10"/>
                  </a:lnTo>
                  <a:lnTo>
                    <a:pt x="195" y="7"/>
                  </a:lnTo>
                  <a:lnTo>
                    <a:pt x="191" y="4"/>
                  </a:lnTo>
                  <a:lnTo>
                    <a:pt x="187" y="2"/>
                  </a:lnTo>
                  <a:lnTo>
                    <a:pt x="183" y="1"/>
                  </a:lnTo>
                  <a:lnTo>
                    <a:pt x="179" y="0"/>
                  </a:lnTo>
                  <a:lnTo>
                    <a:pt x="20" y="8"/>
                  </a:lnTo>
                  <a:lnTo>
                    <a:pt x="20" y="8"/>
                  </a:lnTo>
                  <a:lnTo>
                    <a:pt x="16" y="8"/>
                  </a:lnTo>
                  <a:lnTo>
                    <a:pt x="13" y="10"/>
                  </a:lnTo>
                  <a:lnTo>
                    <a:pt x="8" y="12"/>
                  </a:lnTo>
                  <a:lnTo>
                    <a:pt x="6" y="14"/>
                  </a:lnTo>
                  <a:lnTo>
                    <a:pt x="3" y="18"/>
                  </a:lnTo>
                  <a:lnTo>
                    <a:pt x="2" y="22"/>
                  </a:lnTo>
                  <a:lnTo>
                    <a:pt x="1" y="25"/>
                  </a:lnTo>
                  <a:lnTo>
                    <a:pt x="0" y="29"/>
                  </a:lnTo>
                  <a:lnTo>
                    <a:pt x="0" y="29"/>
                  </a:lnTo>
                  <a:close/>
                </a:path>
              </a:pathLst>
            </a:custGeom>
            <a:solidFill>
              <a:sysClr val="windowText" lastClr="000000">
                <a:lumMod val="50000"/>
                <a:lumOff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49" name="Freeform 548"/>
            <p:cNvSpPr>
              <a:spLocks/>
            </p:cNvSpPr>
            <p:nvPr/>
          </p:nvSpPr>
          <p:spPr bwMode="auto">
            <a:xfrm>
              <a:off x="2252108" y="2565994"/>
              <a:ext cx="87734" cy="40492"/>
            </a:xfrm>
            <a:custGeom>
              <a:avLst/>
              <a:gdLst>
                <a:gd name="T0" fmla="*/ 0 w 204"/>
                <a:gd name="T1" fmla="*/ 29 h 94"/>
                <a:gd name="T2" fmla="*/ 2 w 204"/>
                <a:gd name="T3" fmla="*/ 73 h 94"/>
                <a:gd name="T4" fmla="*/ 2 w 204"/>
                <a:gd name="T5" fmla="*/ 73 h 94"/>
                <a:gd name="T6" fmla="*/ 3 w 204"/>
                <a:gd name="T7" fmla="*/ 78 h 94"/>
                <a:gd name="T8" fmla="*/ 4 w 204"/>
                <a:gd name="T9" fmla="*/ 81 h 94"/>
                <a:gd name="T10" fmla="*/ 7 w 204"/>
                <a:gd name="T11" fmla="*/ 85 h 94"/>
                <a:gd name="T12" fmla="*/ 9 w 204"/>
                <a:gd name="T13" fmla="*/ 89 h 94"/>
                <a:gd name="T14" fmla="*/ 13 w 204"/>
                <a:gd name="T15" fmla="*/ 91 h 94"/>
                <a:gd name="T16" fmla="*/ 16 w 204"/>
                <a:gd name="T17" fmla="*/ 93 h 94"/>
                <a:gd name="T18" fmla="*/ 21 w 204"/>
                <a:gd name="T19" fmla="*/ 94 h 94"/>
                <a:gd name="T20" fmla="*/ 25 w 204"/>
                <a:gd name="T21" fmla="*/ 94 h 94"/>
                <a:gd name="T22" fmla="*/ 184 w 204"/>
                <a:gd name="T23" fmla="*/ 87 h 94"/>
                <a:gd name="T24" fmla="*/ 184 w 204"/>
                <a:gd name="T25" fmla="*/ 87 h 94"/>
                <a:gd name="T26" fmla="*/ 188 w 204"/>
                <a:gd name="T27" fmla="*/ 86 h 94"/>
                <a:gd name="T28" fmla="*/ 191 w 204"/>
                <a:gd name="T29" fmla="*/ 85 h 94"/>
                <a:gd name="T30" fmla="*/ 196 w 204"/>
                <a:gd name="T31" fmla="*/ 83 h 94"/>
                <a:gd name="T32" fmla="*/ 198 w 204"/>
                <a:gd name="T33" fmla="*/ 80 h 94"/>
                <a:gd name="T34" fmla="*/ 201 w 204"/>
                <a:gd name="T35" fmla="*/ 77 h 94"/>
                <a:gd name="T36" fmla="*/ 202 w 204"/>
                <a:gd name="T37" fmla="*/ 73 h 94"/>
                <a:gd name="T38" fmla="*/ 204 w 204"/>
                <a:gd name="T39" fmla="*/ 69 h 94"/>
                <a:gd name="T40" fmla="*/ 204 w 204"/>
                <a:gd name="T41" fmla="*/ 65 h 94"/>
                <a:gd name="T42" fmla="*/ 202 w 204"/>
                <a:gd name="T43" fmla="*/ 20 h 94"/>
                <a:gd name="T44" fmla="*/ 202 w 204"/>
                <a:gd name="T45" fmla="*/ 20 h 94"/>
                <a:gd name="T46" fmla="*/ 201 w 204"/>
                <a:gd name="T47" fmla="*/ 16 h 94"/>
                <a:gd name="T48" fmla="*/ 200 w 204"/>
                <a:gd name="T49" fmla="*/ 12 h 94"/>
                <a:gd name="T50" fmla="*/ 198 w 204"/>
                <a:gd name="T51" fmla="*/ 9 h 94"/>
                <a:gd name="T52" fmla="*/ 196 w 204"/>
                <a:gd name="T53" fmla="*/ 5 h 94"/>
                <a:gd name="T54" fmla="*/ 192 w 204"/>
                <a:gd name="T55" fmla="*/ 3 h 94"/>
                <a:gd name="T56" fmla="*/ 188 w 204"/>
                <a:gd name="T57" fmla="*/ 1 h 94"/>
                <a:gd name="T58" fmla="*/ 184 w 204"/>
                <a:gd name="T59" fmla="*/ 0 h 94"/>
                <a:gd name="T60" fmla="*/ 179 w 204"/>
                <a:gd name="T61" fmla="*/ 0 h 94"/>
                <a:gd name="T62" fmla="*/ 21 w 204"/>
                <a:gd name="T63" fmla="*/ 6 h 94"/>
                <a:gd name="T64" fmla="*/ 21 w 204"/>
                <a:gd name="T65" fmla="*/ 6 h 94"/>
                <a:gd name="T66" fmla="*/ 16 w 204"/>
                <a:gd name="T67" fmla="*/ 8 h 94"/>
                <a:gd name="T68" fmla="*/ 13 w 204"/>
                <a:gd name="T69" fmla="*/ 9 h 94"/>
                <a:gd name="T70" fmla="*/ 9 w 204"/>
                <a:gd name="T71" fmla="*/ 11 h 94"/>
                <a:gd name="T72" fmla="*/ 7 w 204"/>
                <a:gd name="T73" fmla="*/ 13 h 94"/>
                <a:gd name="T74" fmla="*/ 3 w 204"/>
                <a:gd name="T75" fmla="*/ 16 h 94"/>
                <a:gd name="T76" fmla="*/ 2 w 204"/>
                <a:gd name="T77" fmla="*/ 20 h 94"/>
                <a:gd name="T78" fmla="*/ 1 w 204"/>
                <a:gd name="T79" fmla="*/ 25 h 94"/>
                <a:gd name="T80" fmla="*/ 0 w 204"/>
                <a:gd name="T81" fmla="*/ 29 h 94"/>
                <a:gd name="T82" fmla="*/ 0 w 204"/>
                <a:gd name="T83" fmla="*/ 2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4" h="94">
                  <a:moveTo>
                    <a:pt x="0" y="29"/>
                  </a:moveTo>
                  <a:lnTo>
                    <a:pt x="2" y="73"/>
                  </a:lnTo>
                  <a:lnTo>
                    <a:pt x="2" y="73"/>
                  </a:lnTo>
                  <a:lnTo>
                    <a:pt x="3" y="78"/>
                  </a:lnTo>
                  <a:lnTo>
                    <a:pt x="4" y="81"/>
                  </a:lnTo>
                  <a:lnTo>
                    <a:pt x="7" y="85"/>
                  </a:lnTo>
                  <a:lnTo>
                    <a:pt x="9" y="89"/>
                  </a:lnTo>
                  <a:lnTo>
                    <a:pt x="13" y="91"/>
                  </a:lnTo>
                  <a:lnTo>
                    <a:pt x="16" y="93"/>
                  </a:lnTo>
                  <a:lnTo>
                    <a:pt x="21" y="94"/>
                  </a:lnTo>
                  <a:lnTo>
                    <a:pt x="25" y="94"/>
                  </a:lnTo>
                  <a:lnTo>
                    <a:pt x="184" y="87"/>
                  </a:lnTo>
                  <a:lnTo>
                    <a:pt x="184" y="87"/>
                  </a:lnTo>
                  <a:lnTo>
                    <a:pt x="188" y="86"/>
                  </a:lnTo>
                  <a:lnTo>
                    <a:pt x="191" y="85"/>
                  </a:lnTo>
                  <a:lnTo>
                    <a:pt x="196" y="83"/>
                  </a:lnTo>
                  <a:lnTo>
                    <a:pt x="198" y="80"/>
                  </a:lnTo>
                  <a:lnTo>
                    <a:pt x="201" y="77"/>
                  </a:lnTo>
                  <a:lnTo>
                    <a:pt x="202" y="73"/>
                  </a:lnTo>
                  <a:lnTo>
                    <a:pt x="204" y="69"/>
                  </a:lnTo>
                  <a:lnTo>
                    <a:pt x="204" y="65"/>
                  </a:lnTo>
                  <a:lnTo>
                    <a:pt x="202" y="20"/>
                  </a:lnTo>
                  <a:lnTo>
                    <a:pt x="202" y="20"/>
                  </a:lnTo>
                  <a:lnTo>
                    <a:pt x="201" y="16"/>
                  </a:lnTo>
                  <a:lnTo>
                    <a:pt x="200" y="12"/>
                  </a:lnTo>
                  <a:lnTo>
                    <a:pt x="198" y="9"/>
                  </a:lnTo>
                  <a:lnTo>
                    <a:pt x="196" y="5"/>
                  </a:lnTo>
                  <a:lnTo>
                    <a:pt x="192" y="3"/>
                  </a:lnTo>
                  <a:lnTo>
                    <a:pt x="188" y="1"/>
                  </a:lnTo>
                  <a:lnTo>
                    <a:pt x="184" y="0"/>
                  </a:lnTo>
                  <a:lnTo>
                    <a:pt x="179" y="0"/>
                  </a:lnTo>
                  <a:lnTo>
                    <a:pt x="21" y="6"/>
                  </a:lnTo>
                  <a:lnTo>
                    <a:pt x="21" y="6"/>
                  </a:lnTo>
                  <a:lnTo>
                    <a:pt x="16" y="8"/>
                  </a:lnTo>
                  <a:lnTo>
                    <a:pt x="13" y="9"/>
                  </a:lnTo>
                  <a:lnTo>
                    <a:pt x="9" y="11"/>
                  </a:lnTo>
                  <a:lnTo>
                    <a:pt x="7" y="13"/>
                  </a:lnTo>
                  <a:lnTo>
                    <a:pt x="3" y="16"/>
                  </a:lnTo>
                  <a:lnTo>
                    <a:pt x="2" y="20"/>
                  </a:lnTo>
                  <a:lnTo>
                    <a:pt x="1" y="25"/>
                  </a:lnTo>
                  <a:lnTo>
                    <a:pt x="0" y="29"/>
                  </a:lnTo>
                  <a:lnTo>
                    <a:pt x="0" y="29"/>
                  </a:lnTo>
                  <a:close/>
                </a:path>
              </a:pathLst>
            </a:custGeom>
            <a:solidFill>
              <a:sysClr val="windowText" lastClr="000000">
                <a:lumMod val="50000"/>
                <a:lumOff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50" name="Freeform 549"/>
            <p:cNvSpPr>
              <a:spLocks/>
            </p:cNvSpPr>
            <p:nvPr/>
          </p:nvSpPr>
          <p:spPr bwMode="auto">
            <a:xfrm>
              <a:off x="2375966" y="2822451"/>
              <a:ext cx="86012" cy="38808"/>
            </a:xfrm>
            <a:custGeom>
              <a:avLst/>
              <a:gdLst>
                <a:gd name="T0" fmla="*/ 0 w 203"/>
                <a:gd name="T1" fmla="*/ 29 h 94"/>
                <a:gd name="T2" fmla="*/ 3 w 203"/>
                <a:gd name="T3" fmla="*/ 73 h 94"/>
                <a:gd name="T4" fmla="*/ 3 w 203"/>
                <a:gd name="T5" fmla="*/ 73 h 94"/>
                <a:gd name="T6" fmla="*/ 3 w 203"/>
                <a:gd name="T7" fmla="*/ 78 h 94"/>
                <a:gd name="T8" fmla="*/ 5 w 203"/>
                <a:gd name="T9" fmla="*/ 82 h 94"/>
                <a:gd name="T10" fmla="*/ 6 w 203"/>
                <a:gd name="T11" fmla="*/ 85 h 94"/>
                <a:gd name="T12" fmla="*/ 9 w 203"/>
                <a:gd name="T13" fmla="*/ 88 h 94"/>
                <a:gd name="T14" fmla="*/ 12 w 203"/>
                <a:gd name="T15" fmla="*/ 90 h 94"/>
                <a:gd name="T16" fmla="*/ 17 w 203"/>
                <a:gd name="T17" fmla="*/ 93 h 94"/>
                <a:gd name="T18" fmla="*/ 20 w 203"/>
                <a:gd name="T19" fmla="*/ 94 h 94"/>
                <a:gd name="T20" fmla="*/ 24 w 203"/>
                <a:gd name="T21" fmla="*/ 94 h 94"/>
                <a:gd name="T22" fmla="*/ 183 w 203"/>
                <a:gd name="T23" fmla="*/ 87 h 94"/>
                <a:gd name="T24" fmla="*/ 183 w 203"/>
                <a:gd name="T25" fmla="*/ 87 h 94"/>
                <a:gd name="T26" fmla="*/ 187 w 203"/>
                <a:gd name="T27" fmla="*/ 87 h 94"/>
                <a:gd name="T28" fmla="*/ 192 w 203"/>
                <a:gd name="T29" fmla="*/ 85 h 94"/>
                <a:gd name="T30" fmla="*/ 195 w 203"/>
                <a:gd name="T31" fmla="*/ 83 h 94"/>
                <a:gd name="T32" fmla="*/ 198 w 203"/>
                <a:gd name="T33" fmla="*/ 81 h 94"/>
                <a:gd name="T34" fmla="*/ 200 w 203"/>
                <a:gd name="T35" fmla="*/ 78 h 94"/>
                <a:gd name="T36" fmla="*/ 202 w 203"/>
                <a:gd name="T37" fmla="*/ 73 h 94"/>
                <a:gd name="T38" fmla="*/ 203 w 203"/>
                <a:gd name="T39" fmla="*/ 69 h 94"/>
                <a:gd name="T40" fmla="*/ 203 w 203"/>
                <a:gd name="T41" fmla="*/ 65 h 94"/>
                <a:gd name="T42" fmla="*/ 202 w 203"/>
                <a:gd name="T43" fmla="*/ 20 h 94"/>
                <a:gd name="T44" fmla="*/ 202 w 203"/>
                <a:gd name="T45" fmla="*/ 20 h 94"/>
                <a:gd name="T46" fmla="*/ 201 w 203"/>
                <a:gd name="T47" fmla="*/ 16 h 94"/>
                <a:gd name="T48" fmla="*/ 200 w 203"/>
                <a:gd name="T49" fmla="*/ 13 h 94"/>
                <a:gd name="T50" fmla="*/ 198 w 203"/>
                <a:gd name="T51" fmla="*/ 8 h 94"/>
                <a:gd name="T52" fmla="*/ 195 w 203"/>
                <a:gd name="T53" fmla="*/ 5 h 94"/>
                <a:gd name="T54" fmla="*/ 192 w 203"/>
                <a:gd name="T55" fmla="*/ 3 h 94"/>
                <a:gd name="T56" fmla="*/ 188 w 203"/>
                <a:gd name="T57" fmla="*/ 1 h 94"/>
                <a:gd name="T58" fmla="*/ 184 w 203"/>
                <a:gd name="T59" fmla="*/ 0 h 94"/>
                <a:gd name="T60" fmla="*/ 180 w 203"/>
                <a:gd name="T61" fmla="*/ 0 h 94"/>
                <a:gd name="T62" fmla="*/ 21 w 203"/>
                <a:gd name="T63" fmla="*/ 6 h 94"/>
                <a:gd name="T64" fmla="*/ 21 w 203"/>
                <a:gd name="T65" fmla="*/ 6 h 94"/>
                <a:gd name="T66" fmla="*/ 17 w 203"/>
                <a:gd name="T67" fmla="*/ 7 h 94"/>
                <a:gd name="T68" fmla="*/ 12 w 203"/>
                <a:gd name="T69" fmla="*/ 8 h 94"/>
                <a:gd name="T70" fmla="*/ 9 w 203"/>
                <a:gd name="T71" fmla="*/ 11 h 94"/>
                <a:gd name="T72" fmla="*/ 6 w 203"/>
                <a:gd name="T73" fmla="*/ 14 h 94"/>
                <a:gd name="T74" fmla="*/ 4 w 203"/>
                <a:gd name="T75" fmla="*/ 17 h 94"/>
                <a:gd name="T76" fmla="*/ 2 w 203"/>
                <a:gd name="T77" fmla="*/ 20 h 94"/>
                <a:gd name="T78" fmla="*/ 0 w 203"/>
                <a:gd name="T79" fmla="*/ 25 h 94"/>
                <a:gd name="T80" fmla="*/ 0 w 203"/>
                <a:gd name="T81" fmla="*/ 29 h 94"/>
                <a:gd name="T82" fmla="*/ 0 w 203"/>
                <a:gd name="T83" fmla="*/ 2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3" h="94">
                  <a:moveTo>
                    <a:pt x="0" y="29"/>
                  </a:moveTo>
                  <a:lnTo>
                    <a:pt x="3" y="73"/>
                  </a:lnTo>
                  <a:lnTo>
                    <a:pt x="3" y="73"/>
                  </a:lnTo>
                  <a:lnTo>
                    <a:pt x="3" y="78"/>
                  </a:lnTo>
                  <a:lnTo>
                    <a:pt x="5" y="82"/>
                  </a:lnTo>
                  <a:lnTo>
                    <a:pt x="6" y="85"/>
                  </a:lnTo>
                  <a:lnTo>
                    <a:pt x="9" y="88"/>
                  </a:lnTo>
                  <a:lnTo>
                    <a:pt x="12" y="90"/>
                  </a:lnTo>
                  <a:lnTo>
                    <a:pt x="17" y="93"/>
                  </a:lnTo>
                  <a:lnTo>
                    <a:pt x="20" y="94"/>
                  </a:lnTo>
                  <a:lnTo>
                    <a:pt x="24" y="94"/>
                  </a:lnTo>
                  <a:lnTo>
                    <a:pt x="183" y="87"/>
                  </a:lnTo>
                  <a:lnTo>
                    <a:pt x="183" y="87"/>
                  </a:lnTo>
                  <a:lnTo>
                    <a:pt x="187" y="87"/>
                  </a:lnTo>
                  <a:lnTo>
                    <a:pt x="192" y="85"/>
                  </a:lnTo>
                  <a:lnTo>
                    <a:pt x="195" y="83"/>
                  </a:lnTo>
                  <a:lnTo>
                    <a:pt x="198" y="81"/>
                  </a:lnTo>
                  <a:lnTo>
                    <a:pt x="200" y="78"/>
                  </a:lnTo>
                  <a:lnTo>
                    <a:pt x="202" y="73"/>
                  </a:lnTo>
                  <a:lnTo>
                    <a:pt x="203" y="69"/>
                  </a:lnTo>
                  <a:lnTo>
                    <a:pt x="203" y="65"/>
                  </a:lnTo>
                  <a:lnTo>
                    <a:pt x="202" y="20"/>
                  </a:lnTo>
                  <a:lnTo>
                    <a:pt x="202" y="20"/>
                  </a:lnTo>
                  <a:lnTo>
                    <a:pt x="201" y="16"/>
                  </a:lnTo>
                  <a:lnTo>
                    <a:pt x="200" y="13"/>
                  </a:lnTo>
                  <a:lnTo>
                    <a:pt x="198" y="8"/>
                  </a:lnTo>
                  <a:lnTo>
                    <a:pt x="195" y="5"/>
                  </a:lnTo>
                  <a:lnTo>
                    <a:pt x="192" y="3"/>
                  </a:lnTo>
                  <a:lnTo>
                    <a:pt x="188" y="1"/>
                  </a:lnTo>
                  <a:lnTo>
                    <a:pt x="184" y="0"/>
                  </a:lnTo>
                  <a:lnTo>
                    <a:pt x="180" y="0"/>
                  </a:lnTo>
                  <a:lnTo>
                    <a:pt x="21" y="6"/>
                  </a:lnTo>
                  <a:lnTo>
                    <a:pt x="21" y="6"/>
                  </a:lnTo>
                  <a:lnTo>
                    <a:pt x="17" y="7"/>
                  </a:lnTo>
                  <a:lnTo>
                    <a:pt x="12" y="8"/>
                  </a:lnTo>
                  <a:lnTo>
                    <a:pt x="9" y="11"/>
                  </a:lnTo>
                  <a:lnTo>
                    <a:pt x="6" y="14"/>
                  </a:lnTo>
                  <a:lnTo>
                    <a:pt x="4" y="17"/>
                  </a:lnTo>
                  <a:lnTo>
                    <a:pt x="2" y="20"/>
                  </a:lnTo>
                  <a:lnTo>
                    <a:pt x="0" y="25"/>
                  </a:lnTo>
                  <a:lnTo>
                    <a:pt x="0" y="29"/>
                  </a:lnTo>
                  <a:lnTo>
                    <a:pt x="0" y="29"/>
                  </a:lnTo>
                  <a:close/>
                </a:path>
              </a:pathLst>
            </a:custGeom>
            <a:solidFill>
              <a:sysClr val="windowText" lastClr="000000">
                <a:lumMod val="50000"/>
                <a:lumOff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51" name="Freeform 550"/>
            <p:cNvSpPr>
              <a:spLocks/>
            </p:cNvSpPr>
            <p:nvPr/>
          </p:nvSpPr>
          <p:spPr bwMode="auto">
            <a:xfrm>
              <a:off x="2372525" y="2756651"/>
              <a:ext cx="87734" cy="40492"/>
            </a:xfrm>
            <a:custGeom>
              <a:avLst/>
              <a:gdLst>
                <a:gd name="T0" fmla="*/ 0 w 203"/>
                <a:gd name="T1" fmla="*/ 30 h 94"/>
                <a:gd name="T2" fmla="*/ 2 w 203"/>
                <a:gd name="T3" fmla="*/ 73 h 94"/>
                <a:gd name="T4" fmla="*/ 2 w 203"/>
                <a:gd name="T5" fmla="*/ 73 h 94"/>
                <a:gd name="T6" fmla="*/ 2 w 203"/>
                <a:gd name="T7" fmla="*/ 77 h 94"/>
                <a:gd name="T8" fmla="*/ 4 w 203"/>
                <a:gd name="T9" fmla="*/ 81 h 94"/>
                <a:gd name="T10" fmla="*/ 6 w 203"/>
                <a:gd name="T11" fmla="*/ 86 h 94"/>
                <a:gd name="T12" fmla="*/ 9 w 203"/>
                <a:gd name="T13" fmla="*/ 88 h 94"/>
                <a:gd name="T14" fmla="*/ 12 w 203"/>
                <a:gd name="T15" fmla="*/ 91 h 94"/>
                <a:gd name="T16" fmla="*/ 16 w 203"/>
                <a:gd name="T17" fmla="*/ 92 h 94"/>
                <a:gd name="T18" fmla="*/ 19 w 203"/>
                <a:gd name="T19" fmla="*/ 93 h 94"/>
                <a:gd name="T20" fmla="*/ 24 w 203"/>
                <a:gd name="T21" fmla="*/ 94 h 94"/>
                <a:gd name="T22" fmla="*/ 182 w 203"/>
                <a:gd name="T23" fmla="*/ 87 h 94"/>
                <a:gd name="T24" fmla="*/ 182 w 203"/>
                <a:gd name="T25" fmla="*/ 87 h 94"/>
                <a:gd name="T26" fmla="*/ 187 w 203"/>
                <a:gd name="T27" fmla="*/ 87 h 94"/>
                <a:gd name="T28" fmla="*/ 191 w 203"/>
                <a:gd name="T29" fmla="*/ 86 h 94"/>
                <a:gd name="T30" fmla="*/ 194 w 203"/>
                <a:gd name="T31" fmla="*/ 84 h 94"/>
                <a:gd name="T32" fmla="*/ 198 w 203"/>
                <a:gd name="T33" fmla="*/ 80 h 94"/>
                <a:gd name="T34" fmla="*/ 200 w 203"/>
                <a:gd name="T35" fmla="*/ 77 h 94"/>
                <a:gd name="T36" fmla="*/ 202 w 203"/>
                <a:gd name="T37" fmla="*/ 73 h 94"/>
                <a:gd name="T38" fmla="*/ 203 w 203"/>
                <a:gd name="T39" fmla="*/ 70 h 94"/>
                <a:gd name="T40" fmla="*/ 203 w 203"/>
                <a:gd name="T41" fmla="*/ 65 h 94"/>
                <a:gd name="T42" fmla="*/ 202 w 203"/>
                <a:gd name="T43" fmla="*/ 21 h 94"/>
                <a:gd name="T44" fmla="*/ 202 w 203"/>
                <a:gd name="T45" fmla="*/ 21 h 94"/>
                <a:gd name="T46" fmla="*/ 201 w 203"/>
                <a:gd name="T47" fmla="*/ 17 h 94"/>
                <a:gd name="T48" fmla="*/ 200 w 203"/>
                <a:gd name="T49" fmla="*/ 12 h 94"/>
                <a:gd name="T50" fmla="*/ 198 w 203"/>
                <a:gd name="T51" fmla="*/ 9 h 94"/>
                <a:gd name="T52" fmla="*/ 194 w 203"/>
                <a:gd name="T53" fmla="*/ 6 h 94"/>
                <a:gd name="T54" fmla="*/ 191 w 203"/>
                <a:gd name="T55" fmla="*/ 4 h 94"/>
                <a:gd name="T56" fmla="*/ 188 w 203"/>
                <a:gd name="T57" fmla="*/ 1 h 94"/>
                <a:gd name="T58" fmla="*/ 184 w 203"/>
                <a:gd name="T59" fmla="*/ 0 h 94"/>
                <a:gd name="T60" fmla="*/ 179 w 203"/>
                <a:gd name="T61" fmla="*/ 0 h 94"/>
                <a:gd name="T62" fmla="*/ 20 w 203"/>
                <a:gd name="T63" fmla="*/ 7 h 94"/>
                <a:gd name="T64" fmla="*/ 20 w 203"/>
                <a:gd name="T65" fmla="*/ 7 h 94"/>
                <a:gd name="T66" fmla="*/ 16 w 203"/>
                <a:gd name="T67" fmla="*/ 7 h 94"/>
                <a:gd name="T68" fmla="*/ 12 w 203"/>
                <a:gd name="T69" fmla="*/ 9 h 94"/>
                <a:gd name="T70" fmla="*/ 9 w 203"/>
                <a:gd name="T71" fmla="*/ 11 h 94"/>
                <a:gd name="T72" fmla="*/ 5 w 203"/>
                <a:gd name="T73" fmla="*/ 13 h 94"/>
                <a:gd name="T74" fmla="*/ 3 w 203"/>
                <a:gd name="T75" fmla="*/ 17 h 94"/>
                <a:gd name="T76" fmla="*/ 1 w 203"/>
                <a:gd name="T77" fmla="*/ 21 h 94"/>
                <a:gd name="T78" fmla="*/ 0 w 203"/>
                <a:gd name="T79" fmla="*/ 25 h 94"/>
                <a:gd name="T80" fmla="*/ 0 w 203"/>
                <a:gd name="T81" fmla="*/ 30 h 94"/>
                <a:gd name="T82" fmla="*/ 0 w 203"/>
                <a:gd name="T83" fmla="*/ 3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3" h="94">
                  <a:moveTo>
                    <a:pt x="0" y="30"/>
                  </a:moveTo>
                  <a:lnTo>
                    <a:pt x="2" y="73"/>
                  </a:lnTo>
                  <a:lnTo>
                    <a:pt x="2" y="73"/>
                  </a:lnTo>
                  <a:lnTo>
                    <a:pt x="2" y="77"/>
                  </a:lnTo>
                  <a:lnTo>
                    <a:pt x="4" y="81"/>
                  </a:lnTo>
                  <a:lnTo>
                    <a:pt x="6" y="86"/>
                  </a:lnTo>
                  <a:lnTo>
                    <a:pt x="9" y="88"/>
                  </a:lnTo>
                  <a:lnTo>
                    <a:pt x="12" y="91"/>
                  </a:lnTo>
                  <a:lnTo>
                    <a:pt x="16" y="92"/>
                  </a:lnTo>
                  <a:lnTo>
                    <a:pt x="19" y="93"/>
                  </a:lnTo>
                  <a:lnTo>
                    <a:pt x="24" y="94"/>
                  </a:lnTo>
                  <a:lnTo>
                    <a:pt x="182" y="87"/>
                  </a:lnTo>
                  <a:lnTo>
                    <a:pt x="182" y="87"/>
                  </a:lnTo>
                  <a:lnTo>
                    <a:pt x="187" y="87"/>
                  </a:lnTo>
                  <a:lnTo>
                    <a:pt x="191" y="86"/>
                  </a:lnTo>
                  <a:lnTo>
                    <a:pt x="194" y="84"/>
                  </a:lnTo>
                  <a:lnTo>
                    <a:pt x="198" y="80"/>
                  </a:lnTo>
                  <a:lnTo>
                    <a:pt x="200" y="77"/>
                  </a:lnTo>
                  <a:lnTo>
                    <a:pt x="202" y="73"/>
                  </a:lnTo>
                  <a:lnTo>
                    <a:pt x="203" y="70"/>
                  </a:lnTo>
                  <a:lnTo>
                    <a:pt x="203" y="65"/>
                  </a:lnTo>
                  <a:lnTo>
                    <a:pt x="202" y="21"/>
                  </a:lnTo>
                  <a:lnTo>
                    <a:pt x="202" y="21"/>
                  </a:lnTo>
                  <a:lnTo>
                    <a:pt x="201" y="17"/>
                  </a:lnTo>
                  <a:lnTo>
                    <a:pt x="200" y="12"/>
                  </a:lnTo>
                  <a:lnTo>
                    <a:pt x="198" y="9"/>
                  </a:lnTo>
                  <a:lnTo>
                    <a:pt x="194" y="6"/>
                  </a:lnTo>
                  <a:lnTo>
                    <a:pt x="191" y="4"/>
                  </a:lnTo>
                  <a:lnTo>
                    <a:pt x="188" y="1"/>
                  </a:lnTo>
                  <a:lnTo>
                    <a:pt x="184" y="0"/>
                  </a:lnTo>
                  <a:lnTo>
                    <a:pt x="179" y="0"/>
                  </a:lnTo>
                  <a:lnTo>
                    <a:pt x="20" y="7"/>
                  </a:lnTo>
                  <a:lnTo>
                    <a:pt x="20" y="7"/>
                  </a:lnTo>
                  <a:lnTo>
                    <a:pt x="16" y="7"/>
                  </a:lnTo>
                  <a:lnTo>
                    <a:pt x="12" y="9"/>
                  </a:lnTo>
                  <a:lnTo>
                    <a:pt x="9" y="11"/>
                  </a:lnTo>
                  <a:lnTo>
                    <a:pt x="5" y="13"/>
                  </a:lnTo>
                  <a:lnTo>
                    <a:pt x="3" y="17"/>
                  </a:lnTo>
                  <a:lnTo>
                    <a:pt x="1" y="21"/>
                  </a:lnTo>
                  <a:lnTo>
                    <a:pt x="0" y="25"/>
                  </a:lnTo>
                  <a:lnTo>
                    <a:pt x="0" y="30"/>
                  </a:lnTo>
                  <a:lnTo>
                    <a:pt x="0" y="30"/>
                  </a:lnTo>
                  <a:close/>
                </a:path>
              </a:pathLst>
            </a:custGeom>
            <a:solidFill>
              <a:sysClr val="windowText" lastClr="000000">
                <a:lumMod val="50000"/>
                <a:lumOff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52" name="Freeform 551"/>
            <p:cNvSpPr>
              <a:spLocks/>
            </p:cNvSpPr>
            <p:nvPr/>
          </p:nvSpPr>
          <p:spPr bwMode="auto">
            <a:xfrm>
              <a:off x="2369086" y="2692536"/>
              <a:ext cx="87734" cy="38808"/>
            </a:xfrm>
            <a:custGeom>
              <a:avLst/>
              <a:gdLst>
                <a:gd name="T0" fmla="*/ 0 w 204"/>
                <a:gd name="T1" fmla="*/ 29 h 94"/>
                <a:gd name="T2" fmla="*/ 3 w 204"/>
                <a:gd name="T3" fmla="*/ 73 h 94"/>
                <a:gd name="T4" fmla="*/ 3 w 204"/>
                <a:gd name="T5" fmla="*/ 73 h 94"/>
                <a:gd name="T6" fmla="*/ 3 w 204"/>
                <a:gd name="T7" fmla="*/ 78 h 94"/>
                <a:gd name="T8" fmla="*/ 5 w 204"/>
                <a:gd name="T9" fmla="*/ 82 h 94"/>
                <a:gd name="T10" fmla="*/ 7 w 204"/>
                <a:gd name="T11" fmla="*/ 85 h 94"/>
                <a:gd name="T12" fmla="*/ 9 w 204"/>
                <a:gd name="T13" fmla="*/ 89 h 94"/>
                <a:gd name="T14" fmla="*/ 12 w 204"/>
                <a:gd name="T15" fmla="*/ 91 h 94"/>
                <a:gd name="T16" fmla="*/ 17 w 204"/>
                <a:gd name="T17" fmla="*/ 93 h 94"/>
                <a:gd name="T18" fmla="*/ 20 w 204"/>
                <a:gd name="T19" fmla="*/ 94 h 94"/>
                <a:gd name="T20" fmla="*/ 24 w 204"/>
                <a:gd name="T21" fmla="*/ 94 h 94"/>
                <a:gd name="T22" fmla="*/ 183 w 204"/>
                <a:gd name="T23" fmla="*/ 87 h 94"/>
                <a:gd name="T24" fmla="*/ 183 w 204"/>
                <a:gd name="T25" fmla="*/ 87 h 94"/>
                <a:gd name="T26" fmla="*/ 187 w 204"/>
                <a:gd name="T27" fmla="*/ 86 h 94"/>
                <a:gd name="T28" fmla="*/ 192 w 204"/>
                <a:gd name="T29" fmla="*/ 85 h 94"/>
                <a:gd name="T30" fmla="*/ 195 w 204"/>
                <a:gd name="T31" fmla="*/ 83 h 94"/>
                <a:gd name="T32" fmla="*/ 198 w 204"/>
                <a:gd name="T33" fmla="*/ 80 h 94"/>
                <a:gd name="T34" fmla="*/ 200 w 204"/>
                <a:gd name="T35" fmla="*/ 77 h 94"/>
                <a:gd name="T36" fmla="*/ 202 w 204"/>
                <a:gd name="T37" fmla="*/ 73 h 94"/>
                <a:gd name="T38" fmla="*/ 204 w 204"/>
                <a:gd name="T39" fmla="*/ 69 h 94"/>
                <a:gd name="T40" fmla="*/ 204 w 204"/>
                <a:gd name="T41" fmla="*/ 65 h 94"/>
                <a:gd name="T42" fmla="*/ 202 w 204"/>
                <a:gd name="T43" fmla="*/ 20 h 94"/>
                <a:gd name="T44" fmla="*/ 202 w 204"/>
                <a:gd name="T45" fmla="*/ 20 h 94"/>
                <a:gd name="T46" fmla="*/ 201 w 204"/>
                <a:gd name="T47" fmla="*/ 16 h 94"/>
                <a:gd name="T48" fmla="*/ 200 w 204"/>
                <a:gd name="T49" fmla="*/ 12 h 94"/>
                <a:gd name="T50" fmla="*/ 198 w 204"/>
                <a:gd name="T51" fmla="*/ 9 h 94"/>
                <a:gd name="T52" fmla="*/ 195 w 204"/>
                <a:gd name="T53" fmla="*/ 5 h 94"/>
                <a:gd name="T54" fmla="*/ 192 w 204"/>
                <a:gd name="T55" fmla="*/ 3 h 94"/>
                <a:gd name="T56" fmla="*/ 188 w 204"/>
                <a:gd name="T57" fmla="*/ 1 h 94"/>
                <a:gd name="T58" fmla="*/ 184 w 204"/>
                <a:gd name="T59" fmla="*/ 0 h 94"/>
                <a:gd name="T60" fmla="*/ 180 w 204"/>
                <a:gd name="T61" fmla="*/ 0 h 94"/>
                <a:gd name="T62" fmla="*/ 21 w 204"/>
                <a:gd name="T63" fmla="*/ 6 h 94"/>
                <a:gd name="T64" fmla="*/ 21 w 204"/>
                <a:gd name="T65" fmla="*/ 6 h 94"/>
                <a:gd name="T66" fmla="*/ 17 w 204"/>
                <a:gd name="T67" fmla="*/ 8 h 94"/>
                <a:gd name="T68" fmla="*/ 12 w 204"/>
                <a:gd name="T69" fmla="*/ 9 h 94"/>
                <a:gd name="T70" fmla="*/ 9 w 204"/>
                <a:gd name="T71" fmla="*/ 11 h 94"/>
                <a:gd name="T72" fmla="*/ 6 w 204"/>
                <a:gd name="T73" fmla="*/ 14 h 94"/>
                <a:gd name="T74" fmla="*/ 4 w 204"/>
                <a:gd name="T75" fmla="*/ 17 h 94"/>
                <a:gd name="T76" fmla="*/ 2 w 204"/>
                <a:gd name="T77" fmla="*/ 20 h 94"/>
                <a:gd name="T78" fmla="*/ 0 w 204"/>
                <a:gd name="T79" fmla="*/ 25 h 94"/>
                <a:gd name="T80" fmla="*/ 0 w 204"/>
                <a:gd name="T81" fmla="*/ 29 h 94"/>
                <a:gd name="T82" fmla="*/ 0 w 204"/>
                <a:gd name="T83" fmla="*/ 2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4" h="94">
                  <a:moveTo>
                    <a:pt x="0" y="29"/>
                  </a:moveTo>
                  <a:lnTo>
                    <a:pt x="3" y="73"/>
                  </a:lnTo>
                  <a:lnTo>
                    <a:pt x="3" y="73"/>
                  </a:lnTo>
                  <a:lnTo>
                    <a:pt x="3" y="78"/>
                  </a:lnTo>
                  <a:lnTo>
                    <a:pt x="5" y="82"/>
                  </a:lnTo>
                  <a:lnTo>
                    <a:pt x="7" y="85"/>
                  </a:lnTo>
                  <a:lnTo>
                    <a:pt x="9" y="89"/>
                  </a:lnTo>
                  <a:lnTo>
                    <a:pt x="12" y="91"/>
                  </a:lnTo>
                  <a:lnTo>
                    <a:pt x="17" y="93"/>
                  </a:lnTo>
                  <a:lnTo>
                    <a:pt x="20" y="94"/>
                  </a:lnTo>
                  <a:lnTo>
                    <a:pt x="24" y="94"/>
                  </a:lnTo>
                  <a:lnTo>
                    <a:pt x="183" y="87"/>
                  </a:lnTo>
                  <a:lnTo>
                    <a:pt x="183" y="87"/>
                  </a:lnTo>
                  <a:lnTo>
                    <a:pt x="187" y="86"/>
                  </a:lnTo>
                  <a:lnTo>
                    <a:pt x="192" y="85"/>
                  </a:lnTo>
                  <a:lnTo>
                    <a:pt x="195" y="83"/>
                  </a:lnTo>
                  <a:lnTo>
                    <a:pt x="198" y="80"/>
                  </a:lnTo>
                  <a:lnTo>
                    <a:pt x="200" y="77"/>
                  </a:lnTo>
                  <a:lnTo>
                    <a:pt x="202" y="73"/>
                  </a:lnTo>
                  <a:lnTo>
                    <a:pt x="204" y="69"/>
                  </a:lnTo>
                  <a:lnTo>
                    <a:pt x="204" y="65"/>
                  </a:lnTo>
                  <a:lnTo>
                    <a:pt x="202" y="20"/>
                  </a:lnTo>
                  <a:lnTo>
                    <a:pt x="202" y="20"/>
                  </a:lnTo>
                  <a:lnTo>
                    <a:pt x="201" y="16"/>
                  </a:lnTo>
                  <a:lnTo>
                    <a:pt x="200" y="12"/>
                  </a:lnTo>
                  <a:lnTo>
                    <a:pt x="198" y="9"/>
                  </a:lnTo>
                  <a:lnTo>
                    <a:pt x="195" y="5"/>
                  </a:lnTo>
                  <a:lnTo>
                    <a:pt x="192" y="3"/>
                  </a:lnTo>
                  <a:lnTo>
                    <a:pt x="188" y="1"/>
                  </a:lnTo>
                  <a:lnTo>
                    <a:pt x="184" y="0"/>
                  </a:lnTo>
                  <a:lnTo>
                    <a:pt x="180" y="0"/>
                  </a:lnTo>
                  <a:lnTo>
                    <a:pt x="21" y="6"/>
                  </a:lnTo>
                  <a:lnTo>
                    <a:pt x="21" y="6"/>
                  </a:lnTo>
                  <a:lnTo>
                    <a:pt x="17" y="8"/>
                  </a:lnTo>
                  <a:lnTo>
                    <a:pt x="12" y="9"/>
                  </a:lnTo>
                  <a:lnTo>
                    <a:pt x="9" y="11"/>
                  </a:lnTo>
                  <a:lnTo>
                    <a:pt x="6" y="14"/>
                  </a:lnTo>
                  <a:lnTo>
                    <a:pt x="4" y="17"/>
                  </a:lnTo>
                  <a:lnTo>
                    <a:pt x="2" y="20"/>
                  </a:lnTo>
                  <a:lnTo>
                    <a:pt x="0" y="25"/>
                  </a:lnTo>
                  <a:lnTo>
                    <a:pt x="0" y="29"/>
                  </a:lnTo>
                  <a:lnTo>
                    <a:pt x="0" y="29"/>
                  </a:lnTo>
                  <a:close/>
                </a:path>
              </a:pathLst>
            </a:custGeom>
            <a:solidFill>
              <a:sysClr val="windowText" lastClr="000000">
                <a:lumMod val="50000"/>
                <a:lumOff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53" name="Freeform 552"/>
            <p:cNvSpPr>
              <a:spLocks/>
            </p:cNvSpPr>
            <p:nvPr/>
          </p:nvSpPr>
          <p:spPr bwMode="auto">
            <a:xfrm>
              <a:off x="2367366" y="2626734"/>
              <a:ext cx="87734" cy="40492"/>
            </a:xfrm>
            <a:custGeom>
              <a:avLst/>
              <a:gdLst>
                <a:gd name="T0" fmla="*/ 0 w 203"/>
                <a:gd name="T1" fmla="*/ 29 h 93"/>
                <a:gd name="T2" fmla="*/ 2 w 203"/>
                <a:gd name="T3" fmla="*/ 73 h 93"/>
                <a:gd name="T4" fmla="*/ 2 w 203"/>
                <a:gd name="T5" fmla="*/ 73 h 93"/>
                <a:gd name="T6" fmla="*/ 2 w 203"/>
                <a:gd name="T7" fmla="*/ 77 h 93"/>
                <a:gd name="T8" fmla="*/ 4 w 203"/>
                <a:gd name="T9" fmla="*/ 82 h 93"/>
                <a:gd name="T10" fmla="*/ 6 w 203"/>
                <a:gd name="T11" fmla="*/ 85 h 93"/>
                <a:gd name="T12" fmla="*/ 9 w 203"/>
                <a:gd name="T13" fmla="*/ 88 h 93"/>
                <a:gd name="T14" fmla="*/ 12 w 203"/>
                <a:gd name="T15" fmla="*/ 90 h 93"/>
                <a:gd name="T16" fmla="*/ 16 w 203"/>
                <a:gd name="T17" fmla="*/ 92 h 93"/>
                <a:gd name="T18" fmla="*/ 19 w 203"/>
                <a:gd name="T19" fmla="*/ 93 h 93"/>
                <a:gd name="T20" fmla="*/ 24 w 203"/>
                <a:gd name="T21" fmla="*/ 93 h 93"/>
                <a:gd name="T22" fmla="*/ 183 w 203"/>
                <a:gd name="T23" fmla="*/ 87 h 93"/>
                <a:gd name="T24" fmla="*/ 183 w 203"/>
                <a:gd name="T25" fmla="*/ 87 h 93"/>
                <a:gd name="T26" fmla="*/ 187 w 203"/>
                <a:gd name="T27" fmla="*/ 87 h 93"/>
                <a:gd name="T28" fmla="*/ 191 w 203"/>
                <a:gd name="T29" fmla="*/ 85 h 93"/>
                <a:gd name="T30" fmla="*/ 194 w 203"/>
                <a:gd name="T31" fmla="*/ 83 h 93"/>
                <a:gd name="T32" fmla="*/ 198 w 203"/>
                <a:gd name="T33" fmla="*/ 81 h 93"/>
                <a:gd name="T34" fmla="*/ 200 w 203"/>
                <a:gd name="T35" fmla="*/ 77 h 93"/>
                <a:gd name="T36" fmla="*/ 202 w 203"/>
                <a:gd name="T37" fmla="*/ 73 h 93"/>
                <a:gd name="T38" fmla="*/ 203 w 203"/>
                <a:gd name="T39" fmla="*/ 69 h 93"/>
                <a:gd name="T40" fmla="*/ 203 w 203"/>
                <a:gd name="T41" fmla="*/ 64 h 93"/>
                <a:gd name="T42" fmla="*/ 202 w 203"/>
                <a:gd name="T43" fmla="*/ 20 h 93"/>
                <a:gd name="T44" fmla="*/ 202 w 203"/>
                <a:gd name="T45" fmla="*/ 20 h 93"/>
                <a:gd name="T46" fmla="*/ 201 w 203"/>
                <a:gd name="T47" fmla="*/ 16 h 93"/>
                <a:gd name="T48" fmla="*/ 200 w 203"/>
                <a:gd name="T49" fmla="*/ 12 h 93"/>
                <a:gd name="T50" fmla="*/ 198 w 203"/>
                <a:gd name="T51" fmla="*/ 8 h 93"/>
                <a:gd name="T52" fmla="*/ 194 w 203"/>
                <a:gd name="T53" fmla="*/ 6 h 93"/>
                <a:gd name="T54" fmla="*/ 191 w 203"/>
                <a:gd name="T55" fmla="*/ 3 h 93"/>
                <a:gd name="T56" fmla="*/ 188 w 203"/>
                <a:gd name="T57" fmla="*/ 2 h 93"/>
                <a:gd name="T58" fmla="*/ 184 w 203"/>
                <a:gd name="T59" fmla="*/ 1 h 93"/>
                <a:gd name="T60" fmla="*/ 179 w 203"/>
                <a:gd name="T61" fmla="*/ 0 h 93"/>
                <a:gd name="T62" fmla="*/ 21 w 203"/>
                <a:gd name="T63" fmla="*/ 6 h 93"/>
                <a:gd name="T64" fmla="*/ 21 w 203"/>
                <a:gd name="T65" fmla="*/ 6 h 93"/>
                <a:gd name="T66" fmla="*/ 16 w 203"/>
                <a:gd name="T67" fmla="*/ 7 h 93"/>
                <a:gd name="T68" fmla="*/ 12 w 203"/>
                <a:gd name="T69" fmla="*/ 8 h 93"/>
                <a:gd name="T70" fmla="*/ 9 w 203"/>
                <a:gd name="T71" fmla="*/ 10 h 93"/>
                <a:gd name="T72" fmla="*/ 5 w 203"/>
                <a:gd name="T73" fmla="*/ 14 h 93"/>
                <a:gd name="T74" fmla="*/ 3 w 203"/>
                <a:gd name="T75" fmla="*/ 17 h 93"/>
                <a:gd name="T76" fmla="*/ 1 w 203"/>
                <a:gd name="T77" fmla="*/ 20 h 93"/>
                <a:gd name="T78" fmla="*/ 0 w 203"/>
                <a:gd name="T79" fmla="*/ 24 h 93"/>
                <a:gd name="T80" fmla="*/ 0 w 203"/>
                <a:gd name="T81" fmla="*/ 29 h 93"/>
                <a:gd name="T82" fmla="*/ 0 w 203"/>
                <a:gd name="T83" fmla="*/ 2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3" h="93">
                  <a:moveTo>
                    <a:pt x="0" y="29"/>
                  </a:moveTo>
                  <a:lnTo>
                    <a:pt x="2" y="73"/>
                  </a:lnTo>
                  <a:lnTo>
                    <a:pt x="2" y="73"/>
                  </a:lnTo>
                  <a:lnTo>
                    <a:pt x="2" y="77"/>
                  </a:lnTo>
                  <a:lnTo>
                    <a:pt x="4" y="82"/>
                  </a:lnTo>
                  <a:lnTo>
                    <a:pt x="6" y="85"/>
                  </a:lnTo>
                  <a:lnTo>
                    <a:pt x="9" y="88"/>
                  </a:lnTo>
                  <a:lnTo>
                    <a:pt x="12" y="90"/>
                  </a:lnTo>
                  <a:lnTo>
                    <a:pt x="16" y="92"/>
                  </a:lnTo>
                  <a:lnTo>
                    <a:pt x="19" y="93"/>
                  </a:lnTo>
                  <a:lnTo>
                    <a:pt x="24" y="93"/>
                  </a:lnTo>
                  <a:lnTo>
                    <a:pt x="183" y="87"/>
                  </a:lnTo>
                  <a:lnTo>
                    <a:pt x="183" y="87"/>
                  </a:lnTo>
                  <a:lnTo>
                    <a:pt x="187" y="87"/>
                  </a:lnTo>
                  <a:lnTo>
                    <a:pt x="191" y="85"/>
                  </a:lnTo>
                  <a:lnTo>
                    <a:pt x="194" y="83"/>
                  </a:lnTo>
                  <a:lnTo>
                    <a:pt x="198" y="81"/>
                  </a:lnTo>
                  <a:lnTo>
                    <a:pt x="200" y="77"/>
                  </a:lnTo>
                  <a:lnTo>
                    <a:pt x="202" y="73"/>
                  </a:lnTo>
                  <a:lnTo>
                    <a:pt x="203" y="69"/>
                  </a:lnTo>
                  <a:lnTo>
                    <a:pt x="203" y="64"/>
                  </a:lnTo>
                  <a:lnTo>
                    <a:pt x="202" y="20"/>
                  </a:lnTo>
                  <a:lnTo>
                    <a:pt x="202" y="20"/>
                  </a:lnTo>
                  <a:lnTo>
                    <a:pt x="201" y="16"/>
                  </a:lnTo>
                  <a:lnTo>
                    <a:pt x="200" y="12"/>
                  </a:lnTo>
                  <a:lnTo>
                    <a:pt x="198" y="8"/>
                  </a:lnTo>
                  <a:lnTo>
                    <a:pt x="194" y="6"/>
                  </a:lnTo>
                  <a:lnTo>
                    <a:pt x="191" y="3"/>
                  </a:lnTo>
                  <a:lnTo>
                    <a:pt x="188" y="2"/>
                  </a:lnTo>
                  <a:lnTo>
                    <a:pt x="184" y="1"/>
                  </a:lnTo>
                  <a:lnTo>
                    <a:pt x="179" y="0"/>
                  </a:lnTo>
                  <a:lnTo>
                    <a:pt x="21" y="6"/>
                  </a:lnTo>
                  <a:lnTo>
                    <a:pt x="21" y="6"/>
                  </a:lnTo>
                  <a:lnTo>
                    <a:pt x="16" y="7"/>
                  </a:lnTo>
                  <a:lnTo>
                    <a:pt x="12" y="8"/>
                  </a:lnTo>
                  <a:lnTo>
                    <a:pt x="9" y="10"/>
                  </a:lnTo>
                  <a:lnTo>
                    <a:pt x="5" y="14"/>
                  </a:lnTo>
                  <a:lnTo>
                    <a:pt x="3" y="17"/>
                  </a:lnTo>
                  <a:lnTo>
                    <a:pt x="1" y="20"/>
                  </a:lnTo>
                  <a:lnTo>
                    <a:pt x="0" y="24"/>
                  </a:lnTo>
                  <a:lnTo>
                    <a:pt x="0" y="29"/>
                  </a:lnTo>
                  <a:lnTo>
                    <a:pt x="0" y="29"/>
                  </a:lnTo>
                  <a:close/>
                </a:path>
              </a:pathLst>
            </a:custGeom>
            <a:solidFill>
              <a:sysClr val="windowText" lastClr="000000">
                <a:lumMod val="50000"/>
                <a:lumOff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54" name="Freeform 553"/>
            <p:cNvSpPr>
              <a:spLocks/>
            </p:cNvSpPr>
            <p:nvPr/>
          </p:nvSpPr>
          <p:spPr bwMode="auto">
            <a:xfrm>
              <a:off x="2363926" y="2562620"/>
              <a:ext cx="87734" cy="38808"/>
            </a:xfrm>
            <a:custGeom>
              <a:avLst/>
              <a:gdLst>
                <a:gd name="T0" fmla="*/ 0 w 203"/>
                <a:gd name="T1" fmla="*/ 29 h 94"/>
                <a:gd name="T2" fmla="*/ 2 w 203"/>
                <a:gd name="T3" fmla="*/ 74 h 94"/>
                <a:gd name="T4" fmla="*/ 2 w 203"/>
                <a:gd name="T5" fmla="*/ 74 h 94"/>
                <a:gd name="T6" fmla="*/ 2 w 203"/>
                <a:gd name="T7" fmla="*/ 78 h 94"/>
                <a:gd name="T8" fmla="*/ 4 w 203"/>
                <a:gd name="T9" fmla="*/ 81 h 94"/>
                <a:gd name="T10" fmla="*/ 6 w 203"/>
                <a:gd name="T11" fmla="*/ 85 h 94"/>
                <a:gd name="T12" fmla="*/ 8 w 203"/>
                <a:gd name="T13" fmla="*/ 88 h 94"/>
                <a:gd name="T14" fmla="*/ 11 w 203"/>
                <a:gd name="T15" fmla="*/ 91 h 94"/>
                <a:gd name="T16" fmla="*/ 16 w 203"/>
                <a:gd name="T17" fmla="*/ 92 h 94"/>
                <a:gd name="T18" fmla="*/ 19 w 203"/>
                <a:gd name="T19" fmla="*/ 93 h 94"/>
                <a:gd name="T20" fmla="*/ 24 w 203"/>
                <a:gd name="T21" fmla="*/ 94 h 94"/>
                <a:gd name="T22" fmla="*/ 182 w 203"/>
                <a:gd name="T23" fmla="*/ 88 h 94"/>
                <a:gd name="T24" fmla="*/ 182 w 203"/>
                <a:gd name="T25" fmla="*/ 88 h 94"/>
                <a:gd name="T26" fmla="*/ 186 w 203"/>
                <a:gd name="T27" fmla="*/ 87 h 94"/>
                <a:gd name="T28" fmla="*/ 191 w 203"/>
                <a:gd name="T29" fmla="*/ 85 h 94"/>
                <a:gd name="T30" fmla="*/ 194 w 203"/>
                <a:gd name="T31" fmla="*/ 83 h 94"/>
                <a:gd name="T32" fmla="*/ 197 w 203"/>
                <a:gd name="T33" fmla="*/ 80 h 94"/>
                <a:gd name="T34" fmla="*/ 199 w 203"/>
                <a:gd name="T35" fmla="*/ 77 h 94"/>
                <a:gd name="T36" fmla="*/ 201 w 203"/>
                <a:gd name="T37" fmla="*/ 74 h 94"/>
                <a:gd name="T38" fmla="*/ 203 w 203"/>
                <a:gd name="T39" fmla="*/ 69 h 94"/>
                <a:gd name="T40" fmla="*/ 203 w 203"/>
                <a:gd name="T41" fmla="*/ 65 h 94"/>
                <a:gd name="T42" fmla="*/ 201 w 203"/>
                <a:gd name="T43" fmla="*/ 21 h 94"/>
                <a:gd name="T44" fmla="*/ 201 w 203"/>
                <a:gd name="T45" fmla="*/ 21 h 94"/>
                <a:gd name="T46" fmla="*/ 200 w 203"/>
                <a:gd name="T47" fmla="*/ 16 h 94"/>
                <a:gd name="T48" fmla="*/ 199 w 203"/>
                <a:gd name="T49" fmla="*/ 12 h 94"/>
                <a:gd name="T50" fmla="*/ 197 w 203"/>
                <a:gd name="T51" fmla="*/ 9 h 94"/>
                <a:gd name="T52" fmla="*/ 194 w 203"/>
                <a:gd name="T53" fmla="*/ 6 h 94"/>
                <a:gd name="T54" fmla="*/ 191 w 203"/>
                <a:gd name="T55" fmla="*/ 3 h 94"/>
                <a:gd name="T56" fmla="*/ 187 w 203"/>
                <a:gd name="T57" fmla="*/ 1 h 94"/>
                <a:gd name="T58" fmla="*/ 183 w 203"/>
                <a:gd name="T59" fmla="*/ 0 h 94"/>
                <a:gd name="T60" fmla="*/ 179 w 203"/>
                <a:gd name="T61" fmla="*/ 0 h 94"/>
                <a:gd name="T62" fmla="*/ 20 w 203"/>
                <a:gd name="T63" fmla="*/ 7 h 94"/>
                <a:gd name="T64" fmla="*/ 20 w 203"/>
                <a:gd name="T65" fmla="*/ 7 h 94"/>
                <a:gd name="T66" fmla="*/ 16 w 203"/>
                <a:gd name="T67" fmla="*/ 7 h 94"/>
                <a:gd name="T68" fmla="*/ 11 w 203"/>
                <a:gd name="T69" fmla="*/ 9 h 94"/>
                <a:gd name="T70" fmla="*/ 8 w 203"/>
                <a:gd name="T71" fmla="*/ 11 h 94"/>
                <a:gd name="T72" fmla="*/ 5 w 203"/>
                <a:gd name="T73" fmla="*/ 13 h 94"/>
                <a:gd name="T74" fmla="*/ 3 w 203"/>
                <a:gd name="T75" fmla="*/ 16 h 94"/>
                <a:gd name="T76" fmla="*/ 1 w 203"/>
                <a:gd name="T77" fmla="*/ 21 h 94"/>
                <a:gd name="T78" fmla="*/ 0 w 203"/>
                <a:gd name="T79" fmla="*/ 25 h 94"/>
                <a:gd name="T80" fmla="*/ 0 w 203"/>
                <a:gd name="T81" fmla="*/ 29 h 94"/>
                <a:gd name="T82" fmla="*/ 0 w 203"/>
                <a:gd name="T83" fmla="*/ 2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3" h="94">
                  <a:moveTo>
                    <a:pt x="0" y="29"/>
                  </a:moveTo>
                  <a:lnTo>
                    <a:pt x="2" y="74"/>
                  </a:lnTo>
                  <a:lnTo>
                    <a:pt x="2" y="74"/>
                  </a:lnTo>
                  <a:lnTo>
                    <a:pt x="2" y="78"/>
                  </a:lnTo>
                  <a:lnTo>
                    <a:pt x="4" y="81"/>
                  </a:lnTo>
                  <a:lnTo>
                    <a:pt x="6" y="85"/>
                  </a:lnTo>
                  <a:lnTo>
                    <a:pt x="8" y="88"/>
                  </a:lnTo>
                  <a:lnTo>
                    <a:pt x="11" y="91"/>
                  </a:lnTo>
                  <a:lnTo>
                    <a:pt x="16" y="92"/>
                  </a:lnTo>
                  <a:lnTo>
                    <a:pt x="19" y="93"/>
                  </a:lnTo>
                  <a:lnTo>
                    <a:pt x="24" y="94"/>
                  </a:lnTo>
                  <a:lnTo>
                    <a:pt x="182" y="88"/>
                  </a:lnTo>
                  <a:lnTo>
                    <a:pt x="182" y="88"/>
                  </a:lnTo>
                  <a:lnTo>
                    <a:pt x="186" y="87"/>
                  </a:lnTo>
                  <a:lnTo>
                    <a:pt x="191" y="85"/>
                  </a:lnTo>
                  <a:lnTo>
                    <a:pt x="194" y="83"/>
                  </a:lnTo>
                  <a:lnTo>
                    <a:pt x="197" y="80"/>
                  </a:lnTo>
                  <a:lnTo>
                    <a:pt x="199" y="77"/>
                  </a:lnTo>
                  <a:lnTo>
                    <a:pt x="201" y="74"/>
                  </a:lnTo>
                  <a:lnTo>
                    <a:pt x="203" y="69"/>
                  </a:lnTo>
                  <a:lnTo>
                    <a:pt x="203" y="65"/>
                  </a:lnTo>
                  <a:lnTo>
                    <a:pt x="201" y="21"/>
                  </a:lnTo>
                  <a:lnTo>
                    <a:pt x="201" y="21"/>
                  </a:lnTo>
                  <a:lnTo>
                    <a:pt x="200" y="16"/>
                  </a:lnTo>
                  <a:lnTo>
                    <a:pt x="199" y="12"/>
                  </a:lnTo>
                  <a:lnTo>
                    <a:pt x="197" y="9"/>
                  </a:lnTo>
                  <a:lnTo>
                    <a:pt x="194" y="6"/>
                  </a:lnTo>
                  <a:lnTo>
                    <a:pt x="191" y="3"/>
                  </a:lnTo>
                  <a:lnTo>
                    <a:pt x="187" y="1"/>
                  </a:lnTo>
                  <a:lnTo>
                    <a:pt x="183" y="0"/>
                  </a:lnTo>
                  <a:lnTo>
                    <a:pt x="179" y="0"/>
                  </a:lnTo>
                  <a:lnTo>
                    <a:pt x="20" y="7"/>
                  </a:lnTo>
                  <a:lnTo>
                    <a:pt x="20" y="7"/>
                  </a:lnTo>
                  <a:lnTo>
                    <a:pt x="16" y="7"/>
                  </a:lnTo>
                  <a:lnTo>
                    <a:pt x="11" y="9"/>
                  </a:lnTo>
                  <a:lnTo>
                    <a:pt x="8" y="11"/>
                  </a:lnTo>
                  <a:lnTo>
                    <a:pt x="5" y="13"/>
                  </a:lnTo>
                  <a:lnTo>
                    <a:pt x="3" y="16"/>
                  </a:lnTo>
                  <a:lnTo>
                    <a:pt x="1" y="21"/>
                  </a:lnTo>
                  <a:lnTo>
                    <a:pt x="0" y="25"/>
                  </a:lnTo>
                  <a:lnTo>
                    <a:pt x="0" y="29"/>
                  </a:lnTo>
                  <a:lnTo>
                    <a:pt x="0" y="29"/>
                  </a:lnTo>
                  <a:close/>
                </a:path>
              </a:pathLst>
            </a:custGeom>
            <a:solidFill>
              <a:sysClr val="windowText" lastClr="000000">
                <a:lumMod val="50000"/>
                <a:lumOff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55" name="Freeform 554"/>
            <p:cNvSpPr>
              <a:spLocks/>
            </p:cNvSpPr>
            <p:nvPr/>
          </p:nvSpPr>
          <p:spPr bwMode="auto">
            <a:xfrm>
              <a:off x="5182006" y="179147"/>
              <a:ext cx="228793" cy="217652"/>
            </a:xfrm>
            <a:custGeom>
              <a:avLst/>
              <a:gdLst>
                <a:gd name="T0" fmla="*/ 527 w 531"/>
                <a:gd name="T1" fmla="*/ 194 h 514"/>
                <a:gd name="T2" fmla="*/ 527 w 531"/>
                <a:gd name="T3" fmla="*/ 194 h 514"/>
                <a:gd name="T4" fmla="*/ 529 w 531"/>
                <a:gd name="T5" fmla="*/ 187 h 514"/>
                <a:gd name="T6" fmla="*/ 531 w 531"/>
                <a:gd name="T7" fmla="*/ 178 h 514"/>
                <a:gd name="T8" fmla="*/ 531 w 531"/>
                <a:gd name="T9" fmla="*/ 171 h 514"/>
                <a:gd name="T10" fmla="*/ 531 w 531"/>
                <a:gd name="T11" fmla="*/ 163 h 514"/>
                <a:gd name="T12" fmla="*/ 530 w 531"/>
                <a:gd name="T13" fmla="*/ 155 h 514"/>
                <a:gd name="T14" fmla="*/ 528 w 531"/>
                <a:gd name="T15" fmla="*/ 148 h 514"/>
                <a:gd name="T16" fmla="*/ 526 w 531"/>
                <a:gd name="T17" fmla="*/ 140 h 514"/>
                <a:gd name="T18" fmla="*/ 522 w 531"/>
                <a:gd name="T19" fmla="*/ 134 h 514"/>
                <a:gd name="T20" fmla="*/ 519 w 531"/>
                <a:gd name="T21" fmla="*/ 127 h 514"/>
                <a:gd name="T22" fmla="*/ 515 w 531"/>
                <a:gd name="T23" fmla="*/ 121 h 514"/>
                <a:gd name="T24" fmla="*/ 509 w 531"/>
                <a:gd name="T25" fmla="*/ 115 h 514"/>
                <a:gd name="T26" fmla="*/ 504 w 531"/>
                <a:gd name="T27" fmla="*/ 110 h 514"/>
                <a:gd name="T28" fmla="*/ 498 w 531"/>
                <a:gd name="T29" fmla="*/ 105 h 514"/>
                <a:gd name="T30" fmla="*/ 491 w 531"/>
                <a:gd name="T31" fmla="*/ 100 h 514"/>
                <a:gd name="T32" fmla="*/ 485 w 531"/>
                <a:gd name="T33" fmla="*/ 97 h 514"/>
                <a:gd name="T34" fmla="*/ 477 w 531"/>
                <a:gd name="T35" fmla="*/ 94 h 514"/>
                <a:gd name="T36" fmla="*/ 206 w 531"/>
                <a:gd name="T37" fmla="*/ 4 h 514"/>
                <a:gd name="T38" fmla="*/ 206 w 531"/>
                <a:gd name="T39" fmla="*/ 4 h 514"/>
                <a:gd name="T40" fmla="*/ 198 w 531"/>
                <a:gd name="T41" fmla="*/ 2 h 514"/>
                <a:gd name="T42" fmla="*/ 191 w 531"/>
                <a:gd name="T43" fmla="*/ 1 h 514"/>
                <a:gd name="T44" fmla="*/ 182 w 531"/>
                <a:gd name="T45" fmla="*/ 0 h 514"/>
                <a:gd name="T46" fmla="*/ 175 w 531"/>
                <a:gd name="T47" fmla="*/ 0 h 514"/>
                <a:gd name="T48" fmla="*/ 167 w 531"/>
                <a:gd name="T49" fmla="*/ 1 h 514"/>
                <a:gd name="T50" fmla="*/ 160 w 531"/>
                <a:gd name="T51" fmla="*/ 3 h 514"/>
                <a:gd name="T52" fmla="*/ 153 w 531"/>
                <a:gd name="T53" fmla="*/ 5 h 514"/>
                <a:gd name="T54" fmla="*/ 145 w 531"/>
                <a:gd name="T55" fmla="*/ 9 h 514"/>
                <a:gd name="T56" fmla="*/ 139 w 531"/>
                <a:gd name="T57" fmla="*/ 13 h 514"/>
                <a:gd name="T58" fmla="*/ 133 w 531"/>
                <a:gd name="T59" fmla="*/ 17 h 514"/>
                <a:gd name="T60" fmla="*/ 127 w 531"/>
                <a:gd name="T61" fmla="*/ 22 h 514"/>
                <a:gd name="T62" fmla="*/ 122 w 531"/>
                <a:gd name="T63" fmla="*/ 27 h 514"/>
                <a:gd name="T64" fmla="*/ 116 w 531"/>
                <a:gd name="T65" fmla="*/ 33 h 514"/>
                <a:gd name="T66" fmla="*/ 112 w 531"/>
                <a:gd name="T67" fmla="*/ 40 h 514"/>
                <a:gd name="T68" fmla="*/ 109 w 531"/>
                <a:gd name="T69" fmla="*/ 47 h 514"/>
                <a:gd name="T70" fmla="*/ 106 w 531"/>
                <a:gd name="T71" fmla="*/ 55 h 514"/>
                <a:gd name="T72" fmla="*/ 0 w 531"/>
                <a:gd name="T73" fmla="*/ 374 h 514"/>
                <a:gd name="T74" fmla="*/ 421 w 531"/>
                <a:gd name="T75" fmla="*/ 514 h 514"/>
                <a:gd name="T76" fmla="*/ 527 w 531"/>
                <a:gd name="T77" fmla="*/ 19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1" h="514">
                  <a:moveTo>
                    <a:pt x="527" y="194"/>
                  </a:moveTo>
                  <a:lnTo>
                    <a:pt x="527" y="194"/>
                  </a:lnTo>
                  <a:lnTo>
                    <a:pt x="529" y="187"/>
                  </a:lnTo>
                  <a:lnTo>
                    <a:pt x="531" y="178"/>
                  </a:lnTo>
                  <a:lnTo>
                    <a:pt x="531" y="171"/>
                  </a:lnTo>
                  <a:lnTo>
                    <a:pt x="531" y="163"/>
                  </a:lnTo>
                  <a:lnTo>
                    <a:pt x="530" y="155"/>
                  </a:lnTo>
                  <a:lnTo>
                    <a:pt x="528" y="148"/>
                  </a:lnTo>
                  <a:lnTo>
                    <a:pt x="526" y="140"/>
                  </a:lnTo>
                  <a:lnTo>
                    <a:pt x="522" y="134"/>
                  </a:lnTo>
                  <a:lnTo>
                    <a:pt x="519" y="127"/>
                  </a:lnTo>
                  <a:lnTo>
                    <a:pt x="515" y="121"/>
                  </a:lnTo>
                  <a:lnTo>
                    <a:pt x="509" y="115"/>
                  </a:lnTo>
                  <a:lnTo>
                    <a:pt x="504" y="110"/>
                  </a:lnTo>
                  <a:lnTo>
                    <a:pt x="498" y="105"/>
                  </a:lnTo>
                  <a:lnTo>
                    <a:pt x="491" y="100"/>
                  </a:lnTo>
                  <a:lnTo>
                    <a:pt x="485" y="97"/>
                  </a:lnTo>
                  <a:lnTo>
                    <a:pt x="477" y="94"/>
                  </a:lnTo>
                  <a:lnTo>
                    <a:pt x="206" y="4"/>
                  </a:lnTo>
                  <a:lnTo>
                    <a:pt x="206" y="4"/>
                  </a:lnTo>
                  <a:lnTo>
                    <a:pt x="198" y="2"/>
                  </a:lnTo>
                  <a:lnTo>
                    <a:pt x="191" y="1"/>
                  </a:lnTo>
                  <a:lnTo>
                    <a:pt x="182" y="0"/>
                  </a:lnTo>
                  <a:lnTo>
                    <a:pt x="175" y="0"/>
                  </a:lnTo>
                  <a:lnTo>
                    <a:pt x="167" y="1"/>
                  </a:lnTo>
                  <a:lnTo>
                    <a:pt x="160" y="3"/>
                  </a:lnTo>
                  <a:lnTo>
                    <a:pt x="153" y="5"/>
                  </a:lnTo>
                  <a:lnTo>
                    <a:pt x="145" y="9"/>
                  </a:lnTo>
                  <a:lnTo>
                    <a:pt x="139" y="13"/>
                  </a:lnTo>
                  <a:lnTo>
                    <a:pt x="133" y="17"/>
                  </a:lnTo>
                  <a:lnTo>
                    <a:pt x="127" y="22"/>
                  </a:lnTo>
                  <a:lnTo>
                    <a:pt x="122" y="27"/>
                  </a:lnTo>
                  <a:lnTo>
                    <a:pt x="116" y="33"/>
                  </a:lnTo>
                  <a:lnTo>
                    <a:pt x="112" y="40"/>
                  </a:lnTo>
                  <a:lnTo>
                    <a:pt x="109" y="47"/>
                  </a:lnTo>
                  <a:lnTo>
                    <a:pt x="106" y="55"/>
                  </a:lnTo>
                  <a:lnTo>
                    <a:pt x="0" y="374"/>
                  </a:lnTo>
                  <a:lnTo>
                    <a:pt x="421" y="514"/>
                  </a:lnTo>
                  <a:lnTo>
                    <a:pt x="527" y="194"/>
                  </a:lnTo>
                  <a:close/>
                </a:path>
              </a:pathLst>
            </a:custGeom>
            <a:solidFill>
              <a:srgbClr val="E5E8E8">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56" name="Freeform 555"/>
            <p:cNvSpPr>
              <a:spLocks/>
            </p:cNvSpPr>
            <p:nvPr/>
          </p:nvSpPr>
          <p:spPr bwMode="auto">
            <a:xfrm>
              <a:off x="4868918" y="273631"/>
              <a:ext cx="557363" cy="922909"/>
            </a:xfrm>
            <a:custGeom>
              <a:avLst/>
              <a:gdLst>
                <a:gd name="T0" fmla="*/ 1296 w 1296"/>
                <a:gd name="T1" fmla="*/ 212 h 2192"/>
                <a:gd name="T2" fmla="*/ 656 w 1296"/>
                <a:gd name="T3" fmla="*/ 0 h 2192"/>
                <a:gd name="T4" fmla="*/ 0 w 1296"/>
                <a:gd name="T5" fmla="*/ 1980 h 2192"/>
                <a:gd name="T6" fmla="*/ 638 w 1296"/>
                <a:gd name="T7" fmla="*/ 2192 h 2192"/>
                <a:gd name="T8" fmla="*/ 1296 w 1296"/>
                <a:gd name="T9" fmla="*/ 212 h 2192"/>
              </a:gdLst>
              <a:ahLst/>
              <a:cxnLst>
                <a:cxn ang="0">
                  <a:pos x="T0" y="T1"/>
                </a:cxn>
                <a:cxn ang="0">
                  <a:pos x="T2" y="T3"/>
                </a:cxn>
                <a:cxn ang="0">
                  <a:pos x="T4" y="T5"/>
                </a:cxn>
                <a:cxn ang="0">
                  <a:pos x="T6" y="T7"/>
                </a:cxn>
                <a:cxn ang="0">
                  <a:pos x="T8" y="T9"/>
                </a:cxn>
              </a:cxnLst>
              <a:rect l="0" t="0" r="r" b="b"/>
              <a:pathLst>
                <a:path w="1296" h="2192">
                  <a:moveTo>
                    <a:pt x="1296" y="212"/>
                  </a:moveTo>
                  <a:lnTo>
                    <a:pt x="656" y="0"/>
                  </a:lnTo>
                  <a:lnTo>
                    <a:pt x="0" y="1980"/>
                  </a:lnTo>
                  <a:lnTo>
                    <a:pt x="638" y="2192"/>
                  </a:lnTo>
                  <a:lnTo>
                    <a:pt x="1296" y="212"/>
                  </a:lnTo>
                  <a:close/>
                </a:path>
              </a:pathLst>
            </a:custGeom>
            <a:solidFill>
              <a:srgbClr val="E5E8E8">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57" name="Freeform 556"/>
            <p:cNvSpPr>
              <a:spLocks/>
            </p:cNvSpPr>
            <p:nvPr/>
          </p:nvSpPr>
          <p:spPr bwMode="auto">
            <a:xfrm>
              <a:off x="5044386" y="479471"/>
              <a:ext cx="86012" cy="199091"/>
            </a:xfrm>
            <a:custGeom>
              <a:avLst/>
              <a:gdLst>
                <a:gd name="T0" fmla="*/ 67 w 202"/>
                <a:gd name="T1" fmla="*/ 446 h 471"/>
                <a:gd name="T2" fmla="*/ 67 w 202"/>
                <a:gd name="T3" fmla="*/ 446 h 471"/>
                <a:gd name="T4" fmla="*/ 64 w 202"/>
                <a:gd name="T5" fmla="*/ 452 h 471"/>
                <a:gd name="T6" fmla="*/ 60 w 202"/>
                <a:gd name="T7" fmla="*/ 459 h 471"/>
                <a:gd name="T8" fmla="*/ 55 w 202"/>
                <a:gd name="T9" fmla="*/ 463 h 471"/>
                <a:gd name="T10" fmla="*/ 50 w 202"/>
                <a:gd name="T11" fmla="*/ 466 h 471"/>
                <a:gd name="T12" fmla="*/ 43 w 202"/>
                <a:gd name="T13" fmla="*/ 470 h 471"/>
                <a:gd name="T14" fmla="*/ 37 w 202"/>
                <a:gd name="T15" fmla="*/ 471 h 471"/>
                <a:gd name="T16" fmla="*/ 30 w 202"/>
                <a:gd name="T17" fmla="*/ 471 h 471"/>
                <a:gd name="T18" fmla="*/ 24 w 202"/>
                <a:gd name="T19" fmla="*/ 469 h 471"/>
                <a:gd name="T20" fmla="*/ 24 w 202"/>
                <a:gd name="T21" fmla="*/ 469 h 471"/>
                <a:gd name="T22" fmla="*/ 24 w 202"/>
                <a:gd name="T23" fmla="*/ 469 h 471"/>
                <a:gd name="T24" fmla="*/ 17 w 202"/>
                <a:gd name="T25" fmla="*/ 466 h 471"/>
                <a:gd name="T26" fmla="*/ 12 w 202"/>
                <a:gd name="T27" fmla="*/ 462 h 471"/>
                <a:gd name="T28" fmla="*/ 7 w 202"/>
                <a:gd name="T29" fmla="*/ 458 h 471"/>
                <a:gd name="T30" fmla="*/ 4 w 202"/>
                <a:gd name="T31" fmla="*/ 451 h 471"/>
                <a:gd name="T32" fmla="*/ 1 w 202"/>
                <a:gd name="T33" fmla="*/ 445 h 471"/>
                <a:gd name="T34" fmla="*/ 0 w 202"/>
                <a:gd name="T35" fmla="*/ 438 h 471"/>
                <a:gd name="T36" fmla="*/ 1 w 202"/>
                <a:gd name="T37" fmla="*/ 432 h 471"/>
                <a:gd name="T38" fmla="*/ 2 w 202"/>
                <a:gd name="T39" fmla="*/ 424 h 471"/>
                <a:gd name="T40" fmla="*/ 135 w 202"/>
                <a:gd name="T41" fmla="*/ 24 h 471"/>
                <a:gd name="T42" fmla="*/ 135 w 202"/>
                <a:gd name="T43" fmla="*/ 24 h 471"/>
                <a:gd name="T44" fmla="*/ 138 w 202"/>
                <a:gd name="T45" fmla="*/ 17 h 471"/>
                <a:gd name="T46" fmla="*/ 142 w 202"/>
                <a:gd name="T47" fmla="*/ 12 h 471"/>
                <a:gd name="T48" fmla="*/ 147 w 202"/>
                <a:gd name="T49" fmla="*/ 7 h 471"/>
                <a:gd name="T50" fmla="*/ 152 w 202"/>
                <a:gd name="T51" fmla="*/ 3 h 471"/>
                <a:gd name="T52" fmla="*/ 159 w 202"/>
                <a:gd name="T53" fmla="*/ 1 h 471"/>
                <a:gd name="T54" fmla="*/ 165 w 202"/>
                <a:gd name="T55" fmla="*/ 0 h 471"/>
                <a:gd name="T56" fmla="*/ 172 w 202"/>
                <a:gd name="T57" fmla="*/ 0 h 471"/>
                <a:gd name="T58" fmla="*/ 179 w 202"/>
                <a:gd name="T59" fmla="*/ 1 h 471"/>
                <a:gd name="T60" fmla="*/ 179 w 202"/>
                <a:gd name="T61" fmla="*/ 1 h 471"/>
                <a:gd name="T62" fmla="*/ 179 w 202"/>
                <a:gd name="T63" fmla="*/ 1 h 471"/>
                <a:gd name="T64" fmla="*/ 185 w 202"/>
                <a:gd name="T65" fmla="*/ 4 h 471"/>
                <a:gd name="T66" fmla="*/ 190 w 202"/>
                <a:gd name="T67" fmla="*/ 8 h 471"/>
                <a:gd name="T68" fmla="*/ 195 w 202"/>
                <a:gd name="T69" fmla="*/ 13 h 471"/>
                <a:gd name="T70" fmla="*/ 199 w 202"/>
                <a:gd name="T71" fmla="*/ 18 h 471"/>
                <a:gd name="T72" fmla="*/ 201 w 202"/>
                <a:gd name="T73" fmla="*/ 25 h 471"/>
                <a:gd name="T74" fmla="*/ 202 w 202"/>
                <a:gd name="T75" fmla="*/ 31 h 471"/>
                <a:gd name="T76" fmla="*/ 202 w 202"/>
                <a:gd name="T77" fmla="*/ 39 h 471"/>
                <a:gd name="T78" fmla="*/ 200 w 202"/>
                <a:gd name="T79" fmla="*/ 45 h 471"/>
                <a:gd name="T80" fmla="*/ 67 w 202"/>
                <a:gd name="T81" fmla="*/ 446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2" h="471">
                  <a:moveTo>
                    <a:pt x="67" y="446"/>
                  </a:moveTo>
                  <a:lnTo>
                    <a:pt x="67" y="446"/>
                  </a:lnTo>
                  <a:lnTo>
                    <a:pt x="64" y="452"/>
                  </a:lnTo>
                  <a:lnTo>
                    <a:pt x="60" y="459"/>
                  </a:lnTo>
                  <a:lnTo>
                    <a:pt x="55" y="463"/>
                  </a:lnTo>
                  <a:lnTo>
                    <a:pt x="50" y="466"/>
                  </a:lnTo>
                  <a:lnTo>
                    <a:pt x="43" y="470"/>
                  </a:lnTo>
                  <a:lnTo>
                    <a:pt x="37" y="471"/>
                  </a:lnTo>
                  <a:lnTo>
                    <a:pt x="30" y="471"/>
                  </a:lnTo>
                  <a:lnTo>
                    <a:pt x="24" y="469"/>
                  </a:lnTo>
                  <a:lnTo>
                    <a:pt x="24" y="469"/>
                  </a:lnTo>
                  <a:lnTo>
                    <a:pt x="24" y="469"/>
                  </a:lnTo>
                  <a:lnTo>
                    <a:pt x="17" y="466"/>
                  </a:lnTo>
                  <a:lnTo>
                    <a:pt x="12" y="462"/>
                  </a:lnTo>
                  <a:lnTo>
                    <a:pt x="7" y="458"/>
                  </a:lnTo>
                  <a:lnTo>
                    <a:pt x="4" y="451"/>
                  </a:lnTo>
                  <a:lnTo>
                    <a:pt x="1" y="445"/>
                  </a:lnTo>
                  <a:lnTo>
                    <a:pt x="0" y="438"/>
                  </a:lnTo>
                  <a:lnTo>
                    <a:pt x="1" y="432"/>
                  </a:lnTo>
                  <a:lnTo>
                    <a:pt x="2" y="424"/>
                  </a:lnTo>
                  <a:lnTo>
                    <a:pt x="135" y="24"/>
                  </a:lnTo>
                  <a:lnTo>
                    <a:pt x="135" y="24"/>
                  </a:lnTo>
                  <a:lnTo>
                    <a:pt x="138" y="17"/>
                  </a:lnTo>
                  <a:lnTo>
                    <a:pt x="142" y="12"/>
                  </a:lnTo>
                  <a:lnTo>
                    <a:pt x="147" y="7"/>
                  </a:lnTo>
                  <a:lnTo>
                    <a:pt x="152" y="3"/>
                  </a:lnTo>
                  <a:lnTo>
                    <a:pt x="159" y="1"/>
                  </a:lnTo>
                  <a:lnTo>
                    <a:pt x="165" y="0"/>
                  </a:lnTo>
                  <a:lnTo>
                    <a:pt x="172" y="0"/>
                  </a:lnTo>
                  <a:lnTo>
                    <a:pt x="179" y="1"/>
                  </a:lnTo>
                  <a:lnTo>
                    <a:pt x="179" y="1"/>
                  </a:lnTo>
                  <a:lnTo>
                    <a:pt x="179" y="1"/>
                  </a:lnTo>
                  <a:lnTo>
                    <a:pt x="185" y="4"/>
                  </a:lnTo>
                  <a:lnTo>
                    <a:pt x="190" y="8"/>
                  </a:lnTo>
                  <a:lnTo>
                    <a:pt x="195" y="13"/>
                  </a:lnTo>
                  <a:lnTo>
                    <a:pt x="199" y="18"/>
                  </a:lnTo>
                  <a:lnTo>
                    <a:pt x="201" y="25"/>
                  </a:lnTo>
                  <a:lnTo>
                    <a:pt x="202" y="31"/>
                  </a:lnTo>
                  <a:lnTo>
                    <a:pt x="202" y="39"/>
                  </a:lnTo>
                  <a:lnTo>
                    <a:pt x="200" y="45"/>
                  </a:lnTo>
                  <a:lnTo>
                    <a:pt x="67" y="44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58" name="Freeform 557"/>
            <p:cNvSpPr>
              <a:spLocks/>
            </p:cNvSpPr>
            <p:nvPr/>
          </p:nvSpPr>
          <p:spPr bwMode="auto">
            <a:xfrm>
              <a:off x="5094272" y="496344"/>
              <a:ext cx="86012" cy="199091"/>
            </a:xfrm>
            <a:custGeom>
              <a:avLst/>
              <a:gdLst>
                <a:gd name="T0" fmla="*/ 65 w 200"/>
                <a:gd name="T1" fmla="*/ 446 h 471"/>
                <a:gd name="T2" fmla="*/ 65 w 200"/>
                <a:gd name="T3" fmla="*/ 446 h 471"/>
                <a:gd name="T4" fmla="*/ 63 w 200"/>
                <a:gd name="T5" fmla="*/ 452 h 471"/>
                <a:gd name="T6" fmla="*/ 59 w 200"/>
                <a:gd name="T7" fmla="*/ 459 h 471"/>
                <a:gd name="T8" fmla="*/ 55 w 200"/>
                <a:gd name="T9" fmla="*/ 463 h 471"/>
                <a:gd name="T10" fmla="*/ 48 w 200"/>
                <a:gd name="T11" fmla="*/ 466 h 471"/>
                <a:gd name="T12" fmla="*/ 43 w 200"/>
                <a:gd name="T13" fmla="*/ 469 h 471"/>
                <a:gd name="T14" fmla="*/ 36 w 200"/>
                <a:gd name="T15" fmla="*/ 471 h 471"/>
                <a:gd name="T16" fmla="*/ 29 w 200"/>
                <a:gd name="T17" fmla="*/ 471 h 471"/>
                <a:gd name="T18" fmla="*/ 22 w 200"/>
                <a:gd name="T19" fmla="*/ 468 h 471"/>
                <a:gd name="T20" fmla="*/ 22 w 200"/>
                <a:gd name="T21" fmla="*/ 468 h 471"/>
                <a:gd name="T22" fmla="*/ 22 w 200"/>
                <a:gd name="T23" fmla="*/ 468 h 471"/>
                <a:gd name="T24" fmla="*/ 16 w 200"/>
                <a:gd name="T25" fmla="*/ 466 h 471"/>
                <a:gd name="T26" fmla="*/ 10 w 200"/>
                <a:gd name="T27" fmla="*/ 462 h 471"/>
                <a:gd name="T28" fmla="*/ 6 w 200"/>
                <a:gd name="T29" fmla="*/ 457 h 471"/>
                <a:gd name="T30" fmla="*/ 3 w 200"/>
                <a:gd name="T31" fmla="*/ 451 h 471"/>
                <a:gd name="T32" fmla="*/ 1 w 200"/>
                <a:gd name="T33" fmla="*/ 445 h 471"/>
                <a:gd name="T34" fmla="*/ 0 w 200"/>
                <a:gd name="T35" fmla="*/ 438 h 471"/>
                <a:gd name="T36" fmla="*/ 0 w 200"/>
                <a:gd name="T37" fmla="*/ 432 h 471"/>
                <a:gd name="T38" fmla="*/ 1 w 200"/>
                <a:gd name="T39" fmla="*/ 424 h 471"/>
                <a:gd name="T40" fmla="*/ 133 w 200"/>
                <a:gd name="T41" fmla="*/ 23 h 471"/>
                <a:gd name="T42" fmla="*/ 133 w 200"/>
                <a:gd name="T43" fmla="*/ 23 h 471"/>
                <a:gd name="T44" fmla="*/ 137 w 200"/>
                <a:gd name="T45" fmla="*/ 17 h 471"/>
                <a:gd name="T46" fmla="*/ 141 w 200"/>
                <a:gd name="T47" fmla="*/ 12 h 471"/>
                <a:gd name="T48" fmla="*/ 145 w 200"/>
                <a:gd name="T49" fmla="*/ 7 h 471"/>
                <a:gd name="T50" fmla="*/ 152 w 200"/>
                <a:gd name="T51" fmla="*/ 3 h 471"/>
                <a:gd name="T52" fmla="*/ 157 w 200"/>
                <a:gd name="T53" fmla="*/ 1 h 471"/>
                <a:gd name="T54" fmla="*/ 164 w 200"/>
                <a:gd name="T55" fmla="*/ 0 h 471"/>
                <a:gd name="T56" fmla="*/ 171 w 200"/>
                <a:gd name="T57" fmla="*/ 0 h 471"/>
                <a:gd name="T58" fmla="*/ 178 w 200"/>
                <a:gd name="T59" fmla="*/ 1 h 471"/>
                <a:gd name="T60" fmla="*/ 178 w 200"/>
                <a:gd name="T61" fmla="*/ 1 h 471"/>
                <a:gd name="T62" fmla="*/ 178 w 200"/>
                <a:gd name="T63" fmla="*/ 1 h 471"/>
                <a:gd name="T64" fmla="*/ 184 w 200"/>
                <a:gd name="T65" fmla="*/ 4 h 471"/>
                <a:gd name="T66" fmla="*/ 190 w 200"/>
                <a:gd name="T67" fmla="*/ 7 h 471"/>
                <a:gd name="T68" fmla="*/ 194 w 200"/>
                <a:gd name="T69" fmla="*/ 13 h 471"/>
                <a:gd name="T70" fmla="*/ 197 w 200"/>
                <a:gd name="T71" fmla="*/ 18 h 471"/>
                <a:gd name="T72" fmla="*/ 199 w 200"/>
                <a:gd name="T73" fmla="*/ 25 h 471"/>
                <a:gd name="T74" fmla="*/ 200 w 200"/>
                <a:gd name="T75" fmla="*/ 31 h 471"/>
                <a:gd name="T76" fmla="*/ 200 w 200"/>
                <a:gd name="T77" fmla="*/ 39 h 471"/>
                <a:gd name="T78" fmla="*/ 199 w 200"/>
                <a:gd name="T79" fmla="*/ 45 h 471"/>
                <a:gd name="T80" fmla="*/ 65 w 200"/>
                <a:gd name="T81" fmla="*/ 446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471">
                  <a:moveTo>
                    <a:pt x="65" y="446"/>
                  </a:moveTo>
                  <a:lnTo>
                    <a:pt x="65" y="446"/>
                  </a:lnTo>
                  <a:lnTo>
                    <a:pt x="63" y="452"/>
                  </a:lnTo>
                  <a:lnTo>
                    <a:pt x="59" y="459"/>
                  </a:lnTo>
                  <a:lnTo>
                    <a:pt x="55" y="463"/>
                  </a:lnTo>
                  <a:lnTo>
                    <a:pt x="48" y="466"/>
                  </a:lnTo>
                  <a:lnTo>
                    <a:pt x="43" y="469"/>
                  </a:lnTo>
                  <a:lnTo>
                    <a:pt x="36" y="471"/>
                  </a:lnTo>
                  <a:lnTo>
                    <a:pt x="29" y="471"/>
                  </a:lnTo>
                  <a:lnTo>
                    <a:pt x="22" y="468"/>
                  </a:lnTo>
                  <a:lnTo>
                    <a:pt x="22" y="468"/>
                  </a:lnTo>
                  <a:lnTo>
                    <a:pt x="22" y="468"/>
                  </a:lnTo>
                  <a:lnTo>
                    <a:pt x="16" y="466"/>
                  </a:lnTo>
                  <a:lnTo>
                    <a:pt x="10" y="462"/>
                  </a:lnTo>
                  <a:lnTo>
                    <a:pt x="6" y="457"/>
                  </a:lnTo>
                  <a:lnTo>
                    <a:pt x="3" y="451"/>
                  </a:lnTo>
                  <a:lnTo>
                    <a:pt x="1" y="445"/>
                  </a:lnTo>
                  <a:lnTo>
                    <a:pt x="0" y="438"/>
                  </a:lnTo>
                  <a:lnTo>
                    <a:pt x="0" y="432"/>
                  </a:lnTo>
                  <a:lnTo>
                    <a:pt x="1" y="424"/>
                  </a:lnTo>
                  <a:lnTo>
                    <a:pt x="133" y="23"/>
                  </a:lnTo>
                  <a:lnTo>
                    <a:pt x="133" y="23"/>
                  </a:lnTo>
                  <a:lnTo>
                    <a:pt x="137" y="17"/>
                  </a:lnTo>
                  <a:lnTo>
                    <a:pt x="141" y="12"/>
                  </a:lnTo>
                  <a:lnTo>
                    <a:pt x="145" y="7"/>
                  </a:lnTo>
                  <a:lnTo>
                    <a:pt x="152" y="3"/>
                  </a:lnTo>
                  <a:lnTo>
                    <a:pt x="157" y="1"/>
                  </a:lnTo>
                  <a:lnTo>
                    <a:pt x="164" y="0"/>
                  </a:lnTo>
                  <a:lnTo>
                    <a:pt x="171" y="0"/>
                  </a:lnTo>
                  <a:lnTo>
                    <a:pt x="178" y="1"/>
                  </a:lnTo>
                  <a:lnTo>
                    <a:pt x="178" y="1"/>
                  </a:lnTo>
                  <a:lnTo>
                    <a:pt x="178" y="1"/>
                  </a:lnTo>
                  <a:lnTo>
                    <a:pt x="184" y="4"/>
                  </a:lnTo>
                  <a:lnTo>
                    <a:pt x="190" y="7"/>
                  </a:lnTo>
                  <a:lnTo>
                    <a:pt x="194" y="13"/>
                  </a:lnTo>
                  <a:lnTo>
                    <a:pt x="197" y="18"/>
                  </a:lnTo>
                  <a:lnTo>
                    <a:pt x="199" y="25"/>
                  </a:lnTo>
                  <a:lnTo>
                    <a:pt x="200" y="31"/>
                  </a:lnTo>
                  <a:lnTo>
                    <a:pt x="200" y="39"/>
                  </a:lnTo>
                  <a:lnTo>
                    <a:pt x="199" y="45"/>
                  </a:lnTo>
                  <a:lnTo>
                    <a:pt x="65" y="44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59" name="Freeform 558"/>
            <p:cNvSpPr>
              <a:spLocks/>
            </p:cNvSpPr>
            <p:nvPr/>
          </p:nvSpPr>
          <p:spPr bwMode="auto">
            <a:xfrm>
              <a:off x="5144160" y="513216"/>
              <a:ext cx="87734" cy="199091"/>
            </a:xfrm>
            <a:custGeom>
              <a:avLst/>
              <a:gdLst>
                <a:gd name="T0" fmla="*/ 67 w 202"/>
                <a:gd name="T1" fmla="*/ 446 h 470"/>
                <a:gd name="T2" fmla="*/ 67 w 202"/>
                <a:gd name="T3" fmla="*/ 446 h 470"/>
                <a:gd name="T4" fmla="*/ 64 w 202"/>
                <a:gd name="T5" fmla="*/ 452 h 470"/>
                <a:gd name="T6" fmla="*/ 60 w 202"/>
                <a:gd name="T7" fmla="*/ 459 h 470"/>
                <a:gd name="T8" fmla="*/ 55 w 202"/>
                <a:gd name="T9" fmla="*/ 463 h 470"/>
                <a:gd name="T10" fmla="*/ 50 w 202"/>
                <a:gd name="T11" fmla="*/ 466 h 470"/>
                <a:gd name="T12" fmla="*/ 43 w 202"/>
                <a:gd name="T13" fmla="*/ 469 h 470"/>
                <a:gd name="T14" fmla="*/ 37 w 202"/>
                <a:gd name="T15" fmla="*/ 470 h 470"/>
                <a:gd name="T16" fmla="*/ 30 w 202"/>
                <a:gd name="T17" fmla="*/ 470 h 470"/>
                <a:gd name="T18" fmla="*/ 23 w 202"/>
                <a:gd name="T19" fmla="*/ 468 h 470"/>
                <a:gd name="T20" fmla="*/ 23 w 202"/>
                <a:gd name="T21" fmla="*/ 468 h 470"/>
                <a:gd name="T22" fmla="*/ 23 w 202"/>
                <a:gd name="T23" fmla="*/ 468 h 470"/>
                <a:gd name="T24" fmla="*/ 17 w 202"/>
                <a:gd name="T25" fmla="*/ 466 h 470"/>
                <a:gd name="T26" fmla="*/ 11 w 202"/>
                <a:gd name="T27" fmla="*/ 462 h 470"/>
                <a:gd name="T28" fmla="*/ 7 w 202"/>
                <a:gd name="T29" fmla="*/ 456 h 470"/>
                <a:gd name="T30" fmla="*/ 3 w 202"/>
                <a:gd name="T31" fmla="*/ 451 h 470"/>
                <a:gd name="T32" fmla="*/ 1 w 202"/>
                <a:gd name="T33" fmla="*/ 445 h 470"/>
                <a:gd name="T34" fmla="*/ 0 w 202"/>
                <a:gd name="T35" fmla="*/ 438 h 470"/>
                <a:gd name="T36" fmla="*/ 0 w 202"/>
                <a:gd name="T37" fmla="*/ 432 h 470"/>
                <a:gd name="T38" fmla="*/ 2 w 202"/>
                <a:gd name="T39" fmla="*/ 424 h 470"/>
                <a:gd name="T40" fmla="*/ 135 w 202"/>
                <a:gd name="T41" fmla="*/ 23 h 470"/>
                <a:gd name="T42" fmla="*/ 135 w 202"/>
                <a:gd name="T43" fmla="*/ 23 h 470"/>
                <a:gd name="T44" fmla="*/ 137 w 202"/>
                <a:gd name="T45" fmla="*/ 17 h 470"/>
                <a:gd name="T46" fmla="*/ 142 w 202"/>
                <a:gd name="T47" fmla="*/ 11 h 470"/>
                <a:gd name="T48" fmla="*/ 147 w 202"/>
                <a:gd name="T49" fmla="*/ 6 h 470"/>
                <a:gd name="T50" fmla="*/ 152 w 202"/>
                <a:gd name="T51" fmla="*/ 3 h 470"/>
                <a:gd name="T52" fmla="*/ 159 w 202"/>
                <a:gd name="T53" fmla="*/ 1 h 470"/>
                <a:gd name="T54" fmla="*/ 165 w 202"/>
                <a:gd name="T55" fmla="*/ 0 h 470"/>
                <a:gd name="T56" fmla="*/ 172 w 202"/>
                <a:gd name="T57" fmla="*/ 0 h 470"/>
                <a:gd name="T58" fmla="*/ 178 w 202"/>
                <a:gd name="T59" fmla="*/ 1 h 470"/>
                <a:gd name="T60" fmla="*/ 178 w 202"/>
                <a:gd name="T61" fmla="*/ 1 h 470"/>
                <a:gd name="T62" fmla="*/ 178 w 202"/>
                <a:gd name="T63" fmla="*/ 1 h 470"/>
                <a:gd name="T64" fmla="*/ 185 w 202"/>
                <a:gd name="T65" fmla="*/ 4 h 470"/>
                <a:gd name="T66" fmla="*/ 190 w 202"/>
                <a:gd name="T67" fmla="*/ 7 h 470"/>
                <a:gd name="T68" fmla="*/ 195 w 202"/>
                <a:gd name="T69" fmla="*/ 13 h 470"/>
                <a:gd name="T70" fmla="*/ 198 w 202"/>
                <a:gd name="T71" fmla="*/ 18 h 470"/>
                <a:gd name="T72" fmla="*/ 201 w 202"/>
                <a:gd name="T73" fmla="*/ 24 h 470"/>
                <a:gd name="T74" fmla="*/ 202 w 202"/>
                <a:gd name="T75" fmla="*/ 31 h 470"/>
                <a:gd name="T76" fmla="*/ 201 w 202"/>
                <a:gd name="T77" fmla="*/ 38 h 470"/>
                <a:gd name="T78" fmla="*/ 200 w 202"/>
                <a:gd name="T79" fmla="*/ 45 h 470"/>
                <a:gd name="T80" fmla="*/ 67 w 202"/>
                <a:gd name="T81" fmla="*/ 44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2" h="470">
                  <a:moveTo>
                    <a:pt x="67" y="446"/>
                  </a:moveTo>
                  <a:lnTo>
                    <a:pt x="67" y="446"/>
                  </a:lnTo>
                  <a:lnTo>
                    <a:pt x="64" y="452"/>
                  </a:lnTo>
                  <a:lnTo>
                    <a:pt x="60" y="459"/>
                  </a:lnTo>
                  <a:lnTo>
                    <a:pt x="55" y="463"/>
                  </a:lnTo>
                  <a:lnTo>
                    <a:pt x="50" y="466"/>
                  </a:lnTo>
                  <a:lnTo>
                    <a:pt x="43" y="469"/>
                  </a:lnTo>
                  <a:lnTo>
                    <a:pt x="37" y="470"/>
                  </a:lnTo>
                  <a:lnTo>
                    <a:pt x="30" y="470"/>
                  </a:lnTo>
                  <a:lnTo>
                    <a:pt x="23" y="468"/>
                  </a:lnTo>
                  <a:lnTo>
                    <a:pt x="23" y="468"/>
                  </a:lnTo>
                  <a:lnTo>
                    <a:pt x="23" y="468"/>
                  </a:lnTo>
                  <a:lnTo>
                    <a:pt x="17" y="466"/>
                  </a:lnTo>
                  <a:lnTo>
                    <a:pt x="11" y="462"/>
                  </a:lnTo>
                  <a:lnTo>
                    <a:pt x="7" y="456"/>
                  </a:lnTo>
                  <a:lnTo>
                    <a:pt x="3" y="451"/>
                  </a:lnTo>
                  <a:lnTo>
                    <a:pt x="1" y="445"/>
                  </a:lnTo>
                  <a:lnTo>
                    <a:pt x="0" y="438"/>
                  </a:lnTo>
                  <a:lnTo>
                    <a:pt x="0" y="432"/>
                  </a:lnTo>
                  <a:lnTo>
                    <a:pt x="2" y="424"/>
                  </a:lnTo>
                  <a:lnTo>
                    <a:pt x="135" y="23"/>
                  </a:lnTo>
                  <a:lnTo>
                    <a:pt x="135" y="23"/>
                  </a:lnTo>
                  <a:lnTo>
                    <a:pt x="137" y="17"/>
                  </a:lnTo>
                  <a:lnTo>
                    <a:pt x="142" y="11"/>
                  </a:lnTo>
                  <a:lnTo>
                    <a:pt x="147" y="6"/>
                  </a:lnTo>
                  <a:lnTo>
                    <a:pt x="152" y="3"/>
                  </a:lnTo>
                  <a:lnTo>
                    <a:pt x="159" y="1"/>
                  </a:lnTo>
                  <a:lnTo>
                    <a:pt x="165" y="0"/>
                  </a:lnTo>
                  <a:lnTo>
                    <a:pt x="172" y="0"/>
                  </a:lnTo>
                  <a:lnTo>
                    <a:pt x="178" y="1"/>
                  </a:lnTo>
                  <a:lnTo>
                    <a:pt x="178" y="1"/>
                  </a:lnTo>
                  <a:lnTo>
                    <a:pt x="178" y="1"/>
                  </a:lnTo>
                  <a:lnTo>
                    <a:pt x="185" y="4"/>
                  </a:lnTo>
                  <a:lnTo>
                    <a:pt x="190" y="7"/>
                  </a:lnTo>
                  <a:lnTo>
                    <a:pt x="195" y="13"/>
                  </a:lnTo>
                  <a:lnTo>
                    <a:pt x="198" y="18"/>
                  </a:lnTo>
                  <a:lnTo>
                    <a:pt x="201" y="24"/>
                  </a:lnTo>
                  <a:lnTo>
                    <a:pt x="202" y="31"/>
                  </a:lnTo>
                  <a:lnTo>
                    <a:pt x="201" y="38"/>
                  </a:lnTo>
                  <a:lnTo>
                    <a:pt x="200" y="45"/>
                  </a:lnTo>
                  <a:lnTo>
                    <a:pt x="67" y="44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60" name="Freeform 559"/>
            <p:cNvSpPr>
              <a:spLocks/>
            </p:cNvSpPr>
            <p:nvPr/>
          </p:nvSpPr>
          <p:spPr bwMode="auto">
            <a:xfrm>
              <a:off x="5194048" y="530086"/>
              <a:ext cx="87734" cy="197405"/>
            </a:xfrm>
            <a:custGeom>
              <a:avLst/>
              <a:gdLst>
                <a:gd name="T0" fmla="*/ 67 w 202"/>
                <a:gd name="T1" fmla="*/ 446 h 471"/>
                <a:gd name="T2" fmla="*/ 67 w 202"/>
                <a:gd name="T3" fmla="*/ 446 h 471"/>
                <a:gd name="T4" fmla="*/ 64 w 202"/>
                <a:gd name="T5" fmla="*/ 453 h 471"/>
                <a:gd name="T6" fmla="*/ 60 w 202"/>
                <a:gd name="T7" fmla="*/ 458 h 471"/>
                <a:gd name="T8" fmla="*/ 55 w 202"/>
                <a:gd name="T9" fmla="*/ 464 h 471"/>
                <a:gd name="T10" fmla="*/ 50 w 202"/>
                <a:gd name="T11" fmla="*/ 467 h 471"/>
                <a:gd name="T12" fmla="*/ 43 w 202"/>
                <a:gd name="T13" fmla="*/ 469 h 471"/>
                <a:gd name="T14" fmla="*/ 37 w 202"/>
                <a:gd name="T15" fmla="*/ 471 h 471"/>
                <a:gd name="T16" fmla="*/ 30 w 202"/>
                <a:gd name="T17" fmla="*/ 471 h 471"/>
                <a:gd name="T18" fmla="*/ 24 w 202"/>
                <a:gd name="T19" fmla="*/ 469 h 471"/>
                <a:gd name="T20" fmla="*/ 24 w 202"/>
                <a:gd name="T21" fmla="*/ 469 h 471"/>
                <a:gd name="T22" fmla="*/ 24 w 202"/>
                <a:gd name="T23" fmla="*/ 469 h 471"/>
                <a:gd name="T24" fmla="*/ 17 w 202"/>
                <a:gd name="T25" fmla="*/ 467 h 471"/>
                <a:gd name="T26" fmla="*/ 12 w 202"/>
                <a:gd name="T27" fmla="*/ 463 h 471"/>
                <a:gd name="T28" fmla="*/ 7 w 202"/>
                <a:gd name="T29" fmla="*/ 457 h 471"/>
                <a:gd name="T30" fmla="*/ 3 w 202"/>
                <a:gd name="T31" fmla="*/ 452 h 471"/>
                <a:gd name="T32" fmla="*/ 1 w 202"/>
                <a:gd name="T33" fmla="*/ 445 h 471"/>
                <a:gd name="T34" fmla="*/ 0 w 202"/>
                <a:gd name="T35" fmla="*/ 439 h 471"/>
                <a:gd name="T36" fmla="*/ 0 w 202"/>
                <a:gd name="T37" fmla="*/ 432 h 471"/>
                <a:gd name="T38" fmla="*/ 2 w 202"/>
                <a:gd name="T39" fmla="*/ 425 h 471"/>
                <a:gd name="T40" fmla="*/ 135 w 202"/>
                <a:gd name="T41" fmla="*/ 24 h 471"/>
                <a:gd name="T42" fmla="*/ 135 w 202"/>
                <a:gd name="T43" fmla="*/ 24 h 471"/>
                <a:gd name="T44" fmla="*/ 138 w 202"/>
                <a:gd name="T45" fmla="*/ 18 h 471"/>
                <a:gd name="T46" fmla="*/ 141 w 202"/>
                <a:gd name="T47" fmla="*/ 12 h 471"/>
                <a:gd name="T48" fmla="*/ 147 w 202"/>
                <a:gd name="T49" fmla="*/ 7 h 471"/>
                <a:gd name="T50" fmla="*/ 152 w 202"/>
                <a:gd name="T51" fmla="*/ 4 h 471"/>
                <a:gd name="T52" fmla="*/ 159 w 202"/>
                <a:gd name="T53" fmla="*/ 2 h 471"/>
                <a:gd name="T54" fmla="*/ 165 w 202"/>
                <a:gd name="T55" fmla="*/ 0 h 471"/>
                <a:gd name="T56" fmla="*/ 172 w 202"/>
                <a:gd name="T57" fmla="*/ 0 h 471"/>
                <a:gd name="T58" fmla="*/ 178 w 202"/>
                <a:gd name="T59" fmla="*/ 2 h 471"/>
                <a:gd name="T60" fmla="*/ 178 w 202"/>
                <a:gd name="T61" fmla="*/ 2 h 471"/>
                <a:gd name="T62" fmla="*/ 178 w 202"/>
                <a:gd name="T63" fmla="*/ 2 h 471"/>
                <a:gd name="T64" fmla="*/ 185 w 202"/>
                <a:gd name="T65" fmla="*/ 5 h 471"/>
                <a:gd name="T66" fmla="*/ 190 w 202"/>
                <a:gd name="T67" fmla="*/ 8 h 471"/>
                <a:gd name="T68" fmla="*/ 194 w 202"/>
                <a:gd name="T69" fmla="*/ 13 h 471"/>
                <a:gd name="T70" fmla="*/ 199 w 202"/>
                <a:gd name="T71" fmla="*/ 19 h 471"/>
                <a:gd name="T72" fmla="*/ 201 w 202"/>
                <a:gd name="T73" fmla="*/ 25 h 471"/>
                <a:gd name="T74" fmla="*/ 202 w 202"/>
                <a:gd name="T75" fmla="*/ 32 h 471"/>
                <a:gd name="T76" fmla="*/ 202 w 202"/>
                <a:gd name="T77" fmla="*/ 39 h 471"/>
                <a:gd name="T78" fmla="*/ 200 w 202"/>
                <a:gd name="T79" fmla="*/ 46 h 471"/>
                <a:gd name="T80" fmla="*/ 67 w 202"/>
                <a:gd name="T81" fmla="*/ 446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2" h="471">
                  <a:moveTo>
                    <a:pt x="67" y="446"/>
                  </a:moveTo>
                  <a:lnTo>
                    <a:pt x="67" y="446"/>
                  </a:lnTo>
                  <a:lnTo>
                    <a:pt x="64" y="453"/>
                  </a:lnTo>
                  <a:lnTo>
                    <a:pt x="60" y="458"/>
                  </a:lnTo>
                  <a:lnTo>
                    <a:pt x="55" y="464"/>
                  </a:lnTo>
                  <a:lnTo>
                    <a:pt x="50" y="467"/>
                  </a:lnTo>
                  <a:lnTo>
                    <a:pt x="43" y="469"/>
                  </a:lnTo>
                  <a:lnTo>
                    <a:pt x="37" y="471"/>
                  </a:lnTo>
                  <a:lnTo>
                    <a:pt x="30" y="471"/>
                  </a:lnTo>
                  <a:lnTo>
                    <a:pt x="24" y="469"/>
                  </a:lnTo>
                  <a:lnTo>
                    <a:pt x="24" y="469"/>
                  </a:lnTo>
                  <a:lnTo>
                    <a:pt x="24" y="469"/>
                  </a:lnTo>
                  <a:lnTo>
                    <a:pt x="17" y="467"/>
                  </a:lnTo>
                  <a:lnTo>
                    <a:pt x="12" y="463"/>
                  </a:lnTo>
                  <a:lnTo>
                    <a:pt x="7" y="457"/>
                  </a:lnTo>
                  <a:lnTo>
                    <a:pt x="3" y="452"/>
                  </a:lnTo>
                  <a:lnTo>
                    <a:pt x="1" y="445"/>
                  </a:lnTo>
                  <a:lnTo>
                    <a:pt x="0" y="439"/>
                  </a:lnTo>
                  <a:lnTo>
                    <a:pt x="0" y="432"/>
                  </a:lnTo>
                  <a:lnTo>
                    <a:pt x="2" y="425"/>
                  </a:lnTo>
                  <a:lnTo>
                    <a:pt x="135" y="24"/>
                  </a:lnTo>
                  <a:lnTo>
                    <a:pt x="135" y="24"/>
                  </a:lnTo>
                  <a:lnTo>
                    <a:pt x="138" y="18"/>
                  </a:lnTo>
                  <a:lnTo>
                    <a:pt x="141" y="12"/>
                  </a:lnTo>
                  <a:lnTo>
                    <a:pt x="147" y="7"/>
                  </a:lnTo>
                  <a:lnTo>
                    <a:pt x="152" y="4"/>
                  </a:lnTo>
                  <a:lnTo>
                    <a:pt x="159" y="2"/>
                  </a:lnTo>
                  <a:lnTo>
                    <a:pt x="165" y="0"/>
                  </a:lnTo>
                  <a:lnTo>
                    <a:pt x="172" y="0"/>
                  </a:lnTo>
                  <a:lnTo>
                    <a:pt x="178" y="2"/>
                  </a:lnTo>
                  <a:lnTo>
                    <a:pt x="178" y="2"/>
                  </a:lnTo>
                  <a:lnTo>
                    <a:pt x="178" y="2"/>
                  </a:lnTo>
                  <a:lnTo>
                    <a:pt x="185" y="5"/>
                  </a:lnTo>
                  <a:lnTo>
                    <a:pt x="190" y="8"/>
                  </a:lnTo>
                  <a:lnTo>
                    <a:pt x="194" y="13"/>
                  </a:lnTo>
                  <a:lnTo>
                    <a:pt x="199" y="19"/>
                  </a:lnTo>
                  <a:lnTo>
                    <a:pt x="201" y="25"/>
                  </a:lnTo>
                  <a:lnTo>
                    <a:pt x="202" y="32"/>
                  </a:lnTo>
                  <a:lnTo>
                    <a:pt x="202" y="39"/>
                  </a:lnTo>
                  <a:lnTo>
                    <a:pt x="200" y="46"/>
                  </a:lnTo>
                  <a:lnTo>
                    <a:pt x="67" y="44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61" name="Freeform 560"/>
            <p:cNvSpPr>
              <a:spLocks/>
            </p:cNvSpPr>
            <p:nvPr/>
          </p:nvSpPr>
          <p:spPr bwMode="auto">
            <a:xfrm>
              <a:off x="5245654" y="545271"/>
              <a:ext cx="86012" cy="199091"/>
            </a:xfrm>
            <a:custGeom>
              <a:avLst/>
              <a:gdLst>
                <a:gd name="T0" fmla="*/ 65 w 200"/>
                <a:gd name="T1" fmla="*/ 446 h 471"/>
                <a:gd name="T2" fmla="*/ 65 w 200"/>
                <a:gd name="T3" fmla="*/ 446 h 471"/>
                <a:gd name="T4" fmla="*/ 63 w 200"/>
                <a:gd name="T5" fmla="*/ 453 h 471"/>
                <a:gd name="T6" fmla="*/ 59 w 200"/>
                <a:gd name="T7" fmla="*/ 458 h 471"/>
                <a:gd name="T8" fmla="*/ 54 w 200"/>
                <a:gd name="T9" fmla="*/ 464 h 471"/>
                <a:gd name="T10" fmla="*/ 48 w 200"/>
                <a:gd name="T11" fmla="*/ 467 h 471"/>
                <a:gd name="T12" fmla="*/ 43 w 200"/>
                <a:gd name="T13" fmla="*/ 469 h 471"/>
                <a:gd name="T14" fmla="*/ 35 w 200"/>
                <a:gd name="T15" fmla="*/ 471 h 471"/>
                <a:gd name="T16" fmla="*/ 29 w 200"/>
                <a:gd name="T17" fmla="*/ 470 h 471"/>
                <a:gd name="T18" fmla="*/ 22 w 200"/>
                <a:gd name="T19" fmla="*/ 469 h 471"/>
                <a:gd name="T20" fmla="*/ 22 w 200"/>
                <a:gd name="T21" fmla="*/ 469 h 471"/>
                <a:gd name="T22" fmla="*/ 22 w 200"/>
                <a:gd name="T23" fmla="*/ 469 h 471"/>
                <a:gd name="T24" fmla="*/ 16 w 200"/>
                <a:gd name="T25" fmla="*/ 466 h 471"/>
                <a:gd name="T26" fmla="*/ 10 w 200"/>
                <a:gd name="T27" fmla="*/ 463 h 471"/>
                <a:gd name="T28" fmla="*/ 6 w 200"/>
                <a:gd name="T29" fmla="*/ 457 h 471"/>
                <a:gd name="T30" fmla="*/ 3 w 200"/>
                <a:gd name="T31" fmla="*/ 452 h 471"/>
                <a:gd name="T32" fmla="*/ 1 w 200"/>
                <a:gd name="T33" fmla="*/ 445 h 471"/>
                <a:gd name="T34" fmla="*/ 0 w 200"/>
                <a:gd name="T35" fmla="*/ 439 h 471"/>
                <a:gd name="T36" fmla="*/ 0 w 200"/>
                <a:gd name="T37" fmla="*/ 432 h 471"/>
                <a:gd name="T38" fmla="*/ 1 w 200"/>
                <a:gd name="T39" fmla="*/ 425 h 471"/>
                <a:gd name="T40" fmla="*/ 133 w 200"/>
                <a:gd name="T41" fmla="*/ 24 h 471"/>
                <a:gd name="T42" fmla="*/ 133 w 200"/>
                <a:gd name="T43" fmla="*/ 24 h 471"/>
                <a:gd name="T44" fmla="*/ 137 w 200"/>
                <a:gd name="T45" fmla="*/ 18 h 471"/>
                <a:gd name="T46" fmla="*/ 141 w 200"/>
                <a:gd name="T47" fmla="*/ 12 h 471"/>
                <a:gd name="T48" fmla="*/ 145 w 200"/>
                <a:gd name="T49" fmla="*/ 7 h 471"/>
                <a:gd name="T50" fmla="*/ 151 w 200"/>
                <a:gd name="T51" fmla="*/ 4 h 471"/>
                <a:gd name="T52" fmla="*/ 157 w 200"/>
                <a:gd name="T53" fmla="*/ 1 h 471"/>
                <a:gd name="T54" fmla="*/ 164 w 200"/>
                <a:gd name="T55" fmla="*/ 0 h 471"/>
                <a:gd name="T56" fmla="*/ 170 w 200"/>
                <a:gd name="T57" fmla="*/ 0 h 471"/>
                <a:gd name="T58" fmla="*/ 178 w 200"/>
                <a:gd name="T59" fmla="*/ 1 h 471"/>
                <a:gd name="T60" fmla="*/ 178 w 200"/>
                <a:gd name="T61" fmla="*/ 1 h 471"/>
                <a:gd name="T62" fmla="*/ 178 w 200"/>
                <a:gd name="T63" fmla="*/ 1 h 471"/>
                <a:gd name="T64" fmla="*/ 184 w 200"/>
                <a:gd name="T65" fmla="*/ 5 h 471"/>
                <a:gd name="T66" fmla="*/ 190 w 200"/>
                <a:gd name="T67" fmla="*/ 8 h 471"/>
                <a:gd name="T68" fmla="*/ 194 w 200"/>
                <a:gd name="T69" fmla="*/ 13 h 471"/>
                <a:gd name="T70" fmla="*/ 197 w 200"/>
                <a:gd name="T71" fmla="*/ 19 h 471"/>
                <a:gd name="T72" fmla="*/ 199 w 200"/>
                <a:gd name="T73" fmla="*/ 25 h 471"/>
                <a:gd name="T74" fmla="*/ 200 w 200"/>
                <a:gd name="T75" fmla="*/ 32 h 471"/>
                <a:gd name="T76" fmla="*/ 200 w 200"/>
                <a:gd name="T77" fmla="*/ 38 h 471"/>
                <a:gd name="T78" fmla="*/ 198 w 200"/>
                <a:gd name="T79" fmla="*/ 46 h 471"/>
                <a:gd name="T80" fmla="*/ 65 w 200"/>
                <a:gd name="T81" fmla="*/ 446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471">
                  <a:moveTo>
                    <a:pt x="65" y="446"/>
                  </a:moveTo>
                  <a:lnTo>
                    <a:pt x="65" y="446"/>
                  </a:lnTo>
                  <a:lnTo>
                    <a:pt x="63" y="453"/>
                  </a:lnTo>
                  <a:lnTo>
                    <a:pt x="59" y="458"/>
                  </a:lnTo>
                  <a:lnTo>
                    <a:pt x="54" y="464"/>
                  </a:lnTo>
                  <a:lnTo>
                    <a:pt x="48" y="467"/>
                  </a:lnTo>
                  <a:lnTo>
                    <a:pt x="43" y="469"/>
                  </a:lnTo>
                  <a:lnTo>
                    <a:pt x="35" y="471"/>
                  </a:lnTo>
                  <a:lnTo>
                    <a:pt x="29" y="470"/>
                  </a:lnTo>
                  <a:lnTo>
                    <a:pt x="22" y="469"/>
                  </a:lnTo>
                  <a:lnTo>
                    <a:pt x="22" y="469"/>
                  </a:lnTo>
                  <a:lnTo>
                    <a:pt x="22" y="469"/>
                  </a:lnTo>
                  <a:lnTo>
                    <a:pt x="16" y="466"/>
                  </a:lnTo>
                  <a:lnTo>
                    <a:pt x="10" y="463"/>
                  </a:lnTo>
                  <a:lnTo>
                    <a:pt x="6" y="457"/>
                  </a:lnTo>
                  <a:lnTo>
                    <a:pt x="3" y="452"/>
                  </a:lnTo>
                  <a:lnTo>
                    <a:pt x="1" y="445"/>
                  </a:lnTo>
                  <a:lnTo>
                    <a:pt x="0" y="439"/>
                  </a:lnTo>
                  <a:lnTo>
                    <a:pt x="0" y="432"/>
                  </a:lnTo>
                  <a:lnTo>
                    <a:pt x="1" y="425"/>
                  </a:lnTo>
                  <a:lnTo>
                    <a:pt x="133" y="24"/>
                  </a:lnTo>
                  <a:lnTo>
                    <a:pt x="133" y="24"/>
                  </a:lnTo>
                  <a:lnTo>
                    <a:pt x="137" y="18"/>
                  </a:lnTo>
                  <a:lnTo>
                    <a:pt x="141" y="12"/>
                  </a:lnTo>
                  <a:lnTo>
                    <a:pt x="145" y="7"/>
                  </a:lnTo>
                  <a:lnTo>
                    <a:pt x="151" y="4"/>
                  </a:lnTo>
                  <a:lnTo>
                    <a:pt x="157" y="1"/>
                  </a:lnTo>
                  <a:lnTo>
                    <a:pt x="164" y="0"/>
                  </a:lnTo>
                  <a:lnTo>
                    <a:pt x="170" y="0"/>
                  </a:lnTo>
                  <a:lnTo>
                    <a:pt x="178" y="1"/>
                  </a:lnTo>
                  <a:lnTo>
                    <a:pt x="178" y="1"/>
                  </a:lnTo>
                  <a:lnTo>
                    <a:pt x="178" y="1"/>
                  </a:lnTo>
                  <a:lnTo>
                    <a:pt x="184" y="5"/>
                  </a:lnTo>
                  <a:lnTo>
                    <a:pt x="190" y="8"/>
                  </a:lnTo>
                  <a:lnTo>
                    <a:pt x="194" y="13"/>
                  </a:lnTo>
                  <a:lnTo>
                    <a:pt x="197" y="19"/>
                  </a:lnTo>
                  <a:lnTo>
                    <a:pt x="199" y="25"/>
                  </a:lnTo>
                  <a:lnTo>
                    <a:pt x="200" y="32"/>
                  </a:lnTo>
                  <a:lnTo>
                    <a:pt x="200" y="38"/>
                  </a:lnTo>
                  <a:lnTo>
                    <a:pt x="198" y="46"/>
                  </a:lnTo>
                  <a:lnTo>
                    <a:pt x="65" y="44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62" name="Freeform 561"/>
            <p:cNvSpPr>
              <a:spLocks/>
            </p:cNvSpPr>
            <p:nvPr/>
          </p:nvSpPr>
          <p:spPr bwMode="auto">
            <a:xfrm>
              <a:off x="5130398" y="293877"/>
              <a:ext cx="270080" cy="180533"/>
            </a:xfrm>
            <a:custGeom>
              <a:avLst/>
              <a:gdLst>
                <a:gd name="T0" fmla="*/ 42 w 626"/>
                <a:gd name="T1" fmla="*/ 284 h 431"/>
                <a:gd name="T2" fmla="*/ 56 w 626"/>
                <a:gd name="T3" fmla="*/ 274 h 431"/>
                <a:gd name="T4" fmla="*/ 72 w 626"/>
                <a:gd name="T5" fmla="*/ 268 h 431"/>
                <a:gd name="T6" fmla="*/ 91 w 626"/>
                <a:gd name="T7" fmla="*/ 266 h 431"/>
                <a:gd name="T8" fmla="*/ 109 w 626"/>
                <a:gd name="T9" fmla="*/ 269 h 431"/>
                <a:gd name="T10" fmla="*/ 118 w 626"/>
                <a:gd name="T11" fmla="*/ 272 h 431"/>
                <a:gd name="T12" fmla="*/ 132 w 626"/>
                <a:gd name="T13" fmla="*/ 283 h 431"/>
                <a:gd name="T14" fmla="*/ 144 w 626"/>
                <a:gd name="T15" fmla="*/ 296 h 431"/>
                <a:gd name="T16" fmla="*/ 151 w 626"/>
                <a:gd name="T17" fmla="*/ 312 h 431"/>
                <a:gd name="T18" fmla="*/ 152 w 626"/>
                <a:gd name="T19" fmla="*/ 321 h 431"/>
                <a:gd name="T20" fmla="*/ 166 w 626"/>
                <a:gd name="T21" fmla="*/ 311 h 431"/>
                <a:gd name="T22" fmla="*/ 183 w 626"/>
                <a:gd name="T23" fmla="*/ 305 h 431"/>
                <a:gd name="T24" fmla="*/ 201 w 626"/>
                <a:gd name="T25" fmla="*/ 302 h 431"/>
                <a:gd name="T26" fmla="*/ 219 w 626"/>
                <a:gd name="T27" fmla="*/ 306 h 431"/>
                <a:gd name="T28" fmla="*/ 228 w 626"/>
                <a:gd name="T29" fmla="*/ 309 h 431"/>
                <a:gd name="T30" fmla="*/ 243 w 626"/>
                <a:gd name="T31" fmla="*/ 320 h 431"/>
                <a:gd name="T32" fmla="*/ 254 w 626"/>
                <a:gd name="T33" fmla="*/ 333 h 431"/>
                <a:gd name="T34" fmla="*/ 261 w 626"/>
                <a:gd name="T35" fmla="*/ 349 h 431"/>
                <a:gd name="T36" fmla="*/ 263 w 626"/>
                <a:gd name="T37" fmla="*/ 357 h 431"/>
                <a:gd name="T38" fmla="*/ 277 w 626"/>
                <a:gd name="T39" fmla="*/ 348 h 431"/>
                <a:gd name="T40" fmla="*/ 294 w 626"/>
                <a:gd name="T41" fmla="*/ 341 h 431"/>
                <a:gd name="T42" fmla="*/ 312 w 626"/>
                <a:gd name="T43" fmla="*/ 339 h 431"/>
                <a:gd name="T44" fmla="*/ 330 w 626"/>
                <a:gd name="T45" fmla="*/ 342 h 431"/>
                <a:gd name="T46" fmla="*/ 339 w 626"/>
                <a:gd name="T47" fmla="*/ 346 h 431"/>
                <a:gd name="T48" fmla="*/ 353 w 626"/>
                <a:gd name="T49" fmla="*/ 356 h 431"/>
                <a:gd name="T50" fmla="*/ 365 w 626"/>
                <a:gd name="T51" fmla="*/ 369 h 431"/>
                <a:gd name="T52" fmla="*/ 372 w 626"/>
                <a:gd name="T53" fmla="*/ 386 h 431"/>
                <a:gd name="T54" fmla="*/ 374 w 626"/>
                <a:gd name="T55" fmla="*/ 394 h 431"/>
                <a:gd name="T56" fmla="*/ 388 w 626"/>
                <a:gd name="T57" fmla="*/ 384 h 431"/>
                <a:gd name="T58" fmla="*/ 405 w 626"/>
                <a:gd name="T59" fmla="*/ 378 h 431"/>
                <a:gd name="T60" fmla="*/ 422 w 626"/>
                <a:gd name="T61" fmla="*/ 376 h 431"/>
                <a:gd name="T62" fmla="*/ 441 w 626"/>
                <a:gd name="T63" fmla="*/ 379 h 431"/>
                <a:gd name="T64" fmla="*/ 449 w 626"/>
                <a:gd name="T65" fmla="*/ 382 h 431"/>
                <a:gd name="T66" fmla="*/ 464 w 626"/>
                <a:gd name="T67" fmla="*/ 393 h 431"/>
                <a:gd name="T68" fmla="*/ 475 w 626"/>
                <a:gd name="T69" fmla="*/ 406 h 431"/>
                <a:gd name="T70" fmla="*/ 483 w 626"/>
                <a:gd name="T71" fmla="*/ 422 h 431"/>
                <a:gd name="T72" fmla="*/ 485 w 626"/>
                <a:gd name="T73" fmla="*/ 431 h 431"/>
                <a:gd name="T74" fmla="*/ 499 w 626"/>
                <a:gd name="T75" fmla="*/ 421 h 431"/>
                <a:gd name="T76" fmla="*/ 514 w 626"/>
                <a:gd name="T77" fmla="*/ 415 h 431"/>
                <a:gd name="T78" fmla="*/ 531 w 626"/>
                <a:gd name="T79" fmla="*/ 413 h 431"/>
                <a:gd name="T80" fmla="*/ 550 w 626"/>
                <a:gd name="T81" fmla="*/ 415 h 431"/>
                <a:gd name="T82" fmla="*/ 77 w 626"/>
                <a:gd name="T83" fmla="*/ 0 h 431"/>
                <a:gd name="T84" fmla="*/ 0 w 626"/>
                <a:gd name="T85" fmla="*/ 232 h 431"/>
                <a:gd name="T86" fmla="*/ 15 w 626"/>
                <a:gd name="T87" fmla="*/ 241 h 431"/>
                <a:gd name="T88" fmla="*/ 28 w 626"/>
                <a:gd name="T89" fmla="*/ 253 h 431"/>
                <a:gd name="T90" fmla="*/ 37 w 626"/>
                <a:gd name="T91" fmla="*/ 268 h 431"/>
                <a:gd name="T92" fmla="*/ 42 w 626"/>
                <a:gd name="T93" fmla="*/ 284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6" h="431">
                  <a:moveTo>
                    <a:pt x="42" y="284"/>
                  </a:moveTo>
                  <a:lnTo>
                    <a:pt x="42" y="284"/>
                  </a:lnTo>
                  <a:lnTo>
                    <a:pt x="48" y="279"/>
                  </a:lnTo>
                  <a:lnTo>
                    <a:pt x="56" y="274"/>
                  </a:lnTo>
                  <a:lnTo>
                    <a:pt x="64" y="270"/>
                  </a:lnTo>
                  <a:lnTo>
                    <a:pt x="72" y="268"/>
                  </a:lnTo>
                  <a:lnTo>
                    <a:pt x="81" y="266"/>
                  </a:lnTo>
                  <a:lnTo>
                    <a:pt x="91" y="266"/>
                  </a:lnTo>
                  <a:lnTo>
                    <a:pt x="99" y="267"/>
                  </a:lnTo>
                  <a:lnTo>
                    <a:pt x="109" y="269"/>
                  </a:lnTo>
                  <a:lnTo>
                    <a:pt x="109" y="269"/>
                  </a:lnTo>
                  <a:lnTo>
                    <a:pt x="118" y="272"/>
                  </a:lnTo>
                  <a:lnTo>
                    <a:pt x="125" y="278"/>
                  </a:lnTo>
                  <a:lnTo>
                    <a:pt x="132" y="283"/>
                  </a:lnTo>
                  <a:lnTo>
                    <a:pt x="138" y="289"/>
                  </a:lnTo>
                  <a:lnTo>
                    <a:pt x="144" y="296"/>
                  </a:lnTo>
                  <a:lnTo>
                    <a:pt x="148" y="305"/>
                  </a:lnTo>
                  <a:lnTo>
                    <a:pt x="151" y="312"/>
                  </a:lnTo>
                  <a:lnTo>
                    <a:pt x="152" y="321"/>
                  </a:lnTo>
                  <a:lnTo>
                    <a:pt x="152" y="321"/>
                  </a:lnTo>
                  <a:lnTo>
                    <a:pt x="160" y="315"/>
                  </a:lnTo>
                  <a:lnTo>
                    <a:pt x="166" y="311"/>
                  </a:lnTo>
                  <a:lnTo>
                    <a:pt x="175" y="307"/>
                  </a:lnTo>
                  <a:lnTo>
                    <a:pt x="183" y="305"/>
                  </a:lnTo>
                  <a:lnTo>
                    <a:pt x="192" y="302"/>
                  </a:lnTo>
                  <a:lnTo>
                    <a:pt x="201" y="302"/>
                  </a:lnTo>
                  <a:lnTo>
                    <a:pt x="210" y="303"/>
                  </a:lnTo>
                  <a:lnTo>
                    <a:pt x="219" y="306"/>
                  </a:lnTo>
                  <a:lnTo>
                    <a:pt x="219" y="306"/>
                  </a:lnTo>
                  <a:lnTo>
                    <a:pt x="228" y="309"/>
                  </a:lnTo>
                  <a:lnTo>
                    <a:pt x="235" y="314"/>
                  </a:lnTo>
                  <a:lnTo>
                    <a:pt x="243" y="320"/>
                  </a:lnTo>
                  <a:lnTo>
                    <a:pt x="249" y="326"/>
                  </a:lnTo>
                  <a:lnTo>
                    <a:pt x="254" y="333"/>
                  </a:lnTo>
                  <a:lnTo>
                    <a:pt x="258" y="341"/>
                  </a:lnTo>
                  <a:lnTo>
                    <a:pt x="261" y="349"/>
                  </a:lnTo>
                  <a:lnTo>
                    <a:pt x="263" y="357"/>
                  </a:lnTo>
                  <a:lnTo>
                    <a:pt x="263" y="357"/>
                  </a:lnTo>
                  <a:lnTo>
                    <a:pt x="270" y="352"/>
                  </a:lnTo>
                  <a:lnTo>
                    <a:pt x="277" y="348"/>
                  </a:lnTo>
                  <a:lnTo>
                    <a:pt x="285" y="343"/>
                  </a:lnTo>
                  <a:lnTo>
                    <a:pt x="294" y="341"/>
                  </a:lnTo>
                  <a:lnTo>
                    <a:pt x="302" y="339"/>
                  </a:lnTo>
                  <a:lnTo>
                    <a:pt x="312" y="339"/>
                  </a:lnTo>
                  <a:lnTo>
                    <a:pt x="321" y="340"/>
                  </a:lnTo>
                  <a:lnTo>
                    <a:pt x="330" y="342"/>
                  </a:lnTo>
                  <a:lnTo>
                    <a:pt x="330" y="342"/>
                  </a:lnTo>
                  <a:lnTo>
                    <a:pt x="339" y="346"/>
                  </a:lnTo>
                  <a:lnTo>
                    <a:pt x="347" y="351"/>
                  </a:lnTo>
                  <a:lnTo>
                    <a:pt x="353" y="356"/>
                  </a:lnTo>
                  <a:lnTo>
                    <a:pt x="360" y="363"/>
                  </a:lnTo>
                  <a:lnTo>
                    <a:pt x="365" y="369"/>
                  </a:lnTo>
                  <a:lnTo>
                    <a:pt x="369" y="378"/>
                  </a:lnTo>
                  <a:lnTo>
                    <a:pt x="372" y="386"/>
                  </a:lnTo>
                  <a:lnTo>
                    <a:pt x="374" y="394"/>
                  </a:lnTo>
                  <a:lnTo>
                    <a:pt x="374" y="394"/>
                  </a:lnTo>
                  <a:lnTo>
                    <a:pt x="381" y="389"/>
                  </a:lnTo>
                  <a:lnTo>
                    <a:pt x="388" y="384"/>
                  </a:lnTo>
                  <a:lnTo>
                    <a:pt x="396" y="380"/>
                  </a:lnTo>
                  <a:lnTo>
                    <a:pt x="405" y="378"/>
                  </a:lnTo>
                  <a:lnTo>
                    <a:pt x="414" y="376"/>
                  </a:lnTo>
                  <a:lnTo>
                    <a:pt x="422" y="376"/>
                  </a:lnTo>
                  <a:lnTo>
                    <a:pt x="432" y="377"/>
                  </a:lnTo>
                  <a:lnTo>
                    <a:pt x="441" y="379"/>
                  </a:lnTo>
                  <a:lnTo>
                    <a:pt x="441" y="379"/>
                  </a:lnTo>
                  <a:lnTo>
                    <a:pt x="449" y="382"/>
                  </a:lnTo>
                  <a:lnTo>
                    <a:pt x="457" y="388"/>
                  </a:lnTo>
                  <a:lnTo>
                    <a:pt x="464" y="393"/>
                  </a:lnTo>
                  <a:lnTo>
                    <a:pt x="471" y="400"/>
                  </a:lnTo>
                  <a:lnTo>
                    <a:pt x="475" y="406"/>
                  </a:lnTo>
                  <a:lnTo>
                    <a:pt x="479" y="415"/>
                  </a:lnTo>
                  <a:lnTo>
                    <a:pt x="483" y="422"/>
                  </a:lnTo>
                  <a:lnTo>
                    <a:pt x="485" y="431"/>
                  </a:lnTo>
                  <a:lnTo>
                    <a:pt x="485" y="431"/>
                  </a:lnTo>
                  <a:lnTo>
                    <a:pt x="491" y="426"/>
                  </a:lnTo>
                  <a:lnTo>
                    <a:pt x="499" y="421"/>
                  </a:lnTo>
                  <a:lnTo>
                    <a:pt x="506" y="417"/>
                  </a:lnTo>
                  <a:lnTo>
                    <a:pt x="514" y="415"/>
                  </a:lnTo>
                  <a:lnTo>
                    <a:pt x="523" y="413"/>
                  </a:lnTo>
                  <a:lnTo>
                    <a:pt x="531" y="413"/>
                  </a:lnTo>
                  <a:lnTo>
                    <a:pt x="541" y="414"/>
                  </a:lnTo>
                  <a:lnTo>
                    <a:pt x="550" y="415"/>
                  </a:lnTo>
                  <a:lnTo>
                    <a:pt x="626" y="183"/>
                  </a:lnTo>
                  <a:lnTo>
                    <a:pt x="77" y="0"/>
                  </a:lnTo>
                  <a:lnTo>
                    <a:pt x="0" y="232"/>
                  </a:lnTo>
                  <a:lnTo>
                    <a:pt x="0" y="232"/>
                  </a:lnTo>
                  <a:lnTo>
                    <a:pt x="7" y="237"/>
                  </a:lnTo>
                  <a:lnTo>
                    <a:pt x="15" y="241"/>
                  </a:lnTo>
                  <a:lnTo>
                    <a:pt x="23" y="246"/>
                  </a:lnTo>
                  <a:lnTo>
                    <a:pt x="28" y="253"/>
                  </a:lnTo>
                  <a:lnTo>
                    <a:pt x="33" y="260"/>
                  </a:lnTo>
                  <a:lnTo>
                    <a:pt x="37" y="268"/>
                  </a:lnTo>
                  <a:lnTo>
                    <a:pt x="40" y="276"/>
                  </a:lnTo>
                  <a:lnTo>
                    <a:pt x="42" y="284"/>
                  </a:lnTo>
                  <a:lnTo>
                    <a:pt x="42" y="284"/>
                  </a:lnTo>
                  <a:close/>
                </a:path>
              </a:pathLst>
            </a:custGeom>
            <a:solidFill>
              <a:sysClr val="window" lastClr="FFFFFF">
                <a:lumMod val="8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nvGrpSpPr>
            <p:cNvPr id="563" name="Group 562"/>
            <p:cNvGrpSpPr/>
            <p:nvPr/>
          </p:nvGrpSpPr>
          <p:grpSpPr>
            <a:xfrm>
              <a:off x="1842689" y="1628914"/>
              <a:ext cx="1131925" cy="583777"/>
              <a:chOff x="2231997" y="1704200"/>
              <a:chExt cx="998934" cy="515189"/>
            </a:xfrm>
          </p:grpSpPr>
          <p:sp>
            <p:nvSpPr>
              <p:cNvPr id="679" name="Freeform 678"/>
              <p:cNvSpPr>
                <a:spLocks/>
              </p:cNvSpPr>
              <p:nvPr/>
            </p:nvSpPr>
            <p:spPr bwMode="auto">
              <a:xfrm>
                <a:off x="2231997" y="1745891"/>
                <a:ext cx="86535" cy="102741"/>
              </a:xfrm>
              <a:custGeom>
                <a:avLst/>
                <a:gdLst>
                  <a:gd name="T0" fmla="*/ 194 w 228"/>
                  <a:gd name="T1" fmla="*/ 29 h 275"/>
                  <a:gd name="T2" fmla="*/ 194 w 228"/>
                  <a:gd name="T3" fmla="*/ 29 h 275"/>
                  <a:gd name="T4" fmla="*/ 204 w 228"/>
                  <a:gd name="T5" fmla="*/ 34 h 275"/>
                  <a:gd name="T6" fmla="*/ 212 w 228"/>
                  <a:gd name="T7" fmla="*/ 40 h 275"/>
                  <a:gd name="T8" fmla="*/ 218 w 228"/>
                  <a:gd name="T9" fmla="*/ 47 h 275"/>
                  <a:gd name="T10" fmla="*/ 223 w 228"/>
                  <a:gd name="T11" fmla="*/ 55 h 275"/>
                  <a:gd name="T12" fmla="*/ 227 w 228"/>
                  <a:gd name="T13" fmla="*/ 65 h 275"/>
                  <a:gd name="T14" fmla="*/ 228 w 228"/>
                  <a:gd name="T15" fmla="*/ 75 h 275"/>
                  <a:gd name="T16" fmla="*/ 228 w 228"/>
                  <a:gd name="T17" fmla="*/ 84 h 275"/>
                  <a:gd name="T18" fmla="*/ 226 w 228"/>
                  <a:gd name="T19" fmla="*/ 94 h 275"/>
                  <a:gd name="T20" fmla="*/ 173 w 228"/>
                  <a:gd name="T21" fmla="*/ 241 h 275"/>
                  <a:gd name="T22" fmla="*/ 173 w 228"/>
                  <a:gd name="T23" fmla="*/ 241 h 275"/>
                  <a:gd name="T24" fmla="*/ 168 w 228"/>
                  <a:gd name="T25" fmla="*/ 251 h 275"/>
                  <a:gd name="T26" fmla="*/ 163 w 228"/>
                  <a:gd name="T27" fmla="*/ 258 h 275"/>
                  <a:gd name="T28" fmla="*/ 155 w 228"/>
                  <a:gd name="T29" fmla="*/ 265 h 275"/>
                  <a:gd name="T30" fmla="*/ 147 w 228"/>
                  <a:gd name="T31" fmla="*/ 270 h 275"/>
                  <a:gd name="T32" fmla="*/ 137 w 228"/>
                  <a:gd name="T33" fmla="*/ 273 h 275"/>
                  <a:gd name="T34" fmla="*/ 127 w 228"/>
                  <a:gd name="T35" fmla="*/ 275 h 275"/>
                  <a:gd name="T36" fmla="*/ 118 w 228"/>
                  <a:gd name="T37" fmla="*/ 275 h 275"/>
                  <a:gd name="T38" fmla="*/ 108 w 228"/>
                  <a:gd name="T39" fmla="*/ 272 h 275"/>
                  <a:gd name="T40" fmla="*/ 33 w 228"/>
                  <a:gd name="T41" fmla="*/ 245 h 275"/>
                  <a:gd name="T42" fmla="*/ 33 w 228"/>
                  <a:gd name="T43" fmla="*/ 245 h 275"/>
                  <a:gd name="T44" fmla="*/ 24 w 228"/>
                  <a:gd name="T45" fmla="*/ 241 h 275"/>
                  <a:gd name="T46" fmla="*/ 16 w 228"/>
                  <a:gd name="T47" fmla="*/ 236 h 275"/>
                  <a:gd name="T48" fmla="*/ 10 w 228"/>
                  <a:gd name="T49" fmla="*/ 228 h 275"/>
                  <a:gd name="T50" fmla="*/ 4 w 228"/>
                  <a:gd name="T51" fmla="*/ 219 h 275"/>
                  <a:gd name="T52" fmla="*/ 1 w 228"/>
                  <a:gd name="T53" fmla="*/ 210 h 275"/>
                  <a:gd name="T54" fmla="*/ 0 w 228"/>
                  <a:gd name="T55" fmla="*/ 200 h 275"/>
                  <a:gd name="T56" fmla="*/ 0 w 228"/>
                  <a:gd name="T57" fmla="*/ 190 h 275"/>
                  <a:gd name="T58" fmla="*/ 2 w 228"/>
                  <a:gd name="T59" fmla="*/ 181 h 275"/>
                  <a:gd name="T60" fmla="*/ 55 w 228"/>
                  <a:gd name="T61" fmla="*/ 34 h 275"/>
                  <a:gd name="T62" fmla="*/ 55 w 228"/>
                  <a:gd name="T63" fmla="*/ 34 h 275"/>
                  <a:gd name="T64" fmla="*/ 59 w 228"/>
                  <a:gd name="T65" fmla="*/ 24 h 275"/>
                  <a:gd name="T66" fmla="*/ 65 w 228"/>
                  <a:gd name="T67" fmla="*/ 16 h 275"/>
                  <a:gd name="T68" fmla="*/ 72 w 228"/>
                  <a:gd name="T69" fmla="*/ 10 h 275"/>
                  <a:gd name="T70" fmla="*/ 81 w 228"/>
                  <a:gd name="T71" fmla="*/ 5 h 275"/>
                  <a:gd name="T72" fmla="*/ 91 w 228"/>
                  <a:gd name="T73" fmla="*/ 1 h 275"/>
                  <a:gd name="T74" fmla="*/ 100 w 228"/>
                  <a:gd name="T75" fmla="*/ 0 h 275"/>
                  <a:gd name="T76" fmla="*/ 110 w 228"/>
                  <a:gd name="T77" fmla="*/ 0 h 275"/>
                  <a:gd name="T78" fmla="*/ 120 w 228"/>
                  <a:gd name="T79" fmla="*/ 2 h 275"/>
                  <a:gd name="T80" fmla="*/ 194 w 228"/>
                  <a:gd name="T81" fmla="*/ 2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8" h="275">
                    <a:moveTo>
                      <a:pt x="194" y="29"/>
                    </a:moveTo>
                    <a:lnTo>
                      <a:pt x="194" y="29"/>
                    </a:lnTo>
                    <a:lnTo>
                      <a:pt x="204" y="34"/>
                    </a:lnTo>
                    <a:lnTo>
                      <a:pt x="212" y="40"/>
                    </a:lnTo>
                    <a:lnTo>
                      <a:pt x="218" y="47"/>
                    </a:lnTo>
                    <a:lnTo>
                      <a:pt x="223" y="55"/>
                    </a:lnTo>
                    <a:lnTo>
                      <a:pt x="227" y="65"/>
                    </a:lnTo>
                    <a:lnTo>
                      <a:pt x="228" y="75"/>
                    </a:lnTo>
                    <a:lnTo>
                      <a:pt x="228" y="84"/>
                    </a:lnTo>
                    <a:lnTo>
                      <a:pt x="226" y="94"/>
                    </a:lnTo>
                    <a:lnTo>
                      <a:pt x="173" y="241"/>
                    </a:lnTo>
                    <a:lnTo>
                      <a:pt x="173" y="241"/>
                    </a:lnTo>
                    <a:lnTo>
                      <a:pt x="168" y="251"/>
                    </a:lnTo>
                    <a:lnTo>
                      <a:pt x="163" y="258"/>
                    </a:lnTo>
                    <a:lnTo>
                      <a:pt x="155" y="265"/>
                    </a:lnTo>
                    <a:lnTo>
                      <a:pt x="147" y="270"/>
                    </a:lnTo>
                    <a:lnTo>
                      <a:pt x="137" y="273"/>
                    </a:lnTo>
                    <a:lnTo>
                      <a:pt x="127" y="275"/>
                    </a:lnTo>
                    <a:lnTo>
                      <a:pt x="118" y="275"/>
                    </a:lnTo>
                    <a:lnTo>
                      <a:pt x="108" y="272"/>
                    </a:lnTo>
                    <a:lnTo>
                      <a:pt x="33" y="245"/>
                    </a:lnTo>
                    <a:lnTo>
                      <a:pt x="33" y="245"/>
                    </a:lnTo>
                    <a:lnTo>
                      <a:pt x="24" y="241"/>
                    </a:lnTo>
                    <a:lnTo>
                      <a:pt x="16" y="236"/>
                    </a:lnTo>
                    <a:lnTo>
                      <a:pt x="10" y="228"/>
                    </a:lnTo>
                    <a:lnTo>
                      <a:pt x="4" y="219"/>
                    </a:lnTo>
                    <a:lnTo>
                      <a:pt x="1" y="210"/>
                    </a:lnTo>
                    <a:lnTo>
                      <a:pt x="0" y="200"/>
                    </a:lnTo>
                    <a:lnTo>
                      <a:pt x="0" y="190"/>
                    </a:lnTo>
                    <a:lnTo>
                      <a:pt x="2" y="181"/>
                    </a:lnTo>
                    <a:lnTo>
                      <a:pt x="55" y="34"/>
                    </a:lnTo>
                    <a:lnTo>
                      <a:pt x="55" y="34"/>
                    </a:lnTo>
                    <a:lnTo>
                      <a:pt x="59" y="24"/>
                    </a:lnTo>
                    <a:lnTo>
                      <a:pt x="65" y="16"/>
                    </a:lnTo>
                    <a:lnTo>
                      <a:pt x="72" y="10"/>
                    </a:lnTo>
                    <a:lnTo>
                      <a:pt x="81" y="5"/>
                    </a:lnTo>
                    <a:lnTo>
                      <a:pt x="91" y="1"/>
                    </a:lnTo>
                    <a:lnTo>
                      <a:pt x="100" y="0"/>
                    </a:lnTo>
                    <a:lnTo>
                      <a:pt x="110" y="0"/>
                    </a:lnTo>
                    <a:lnTo>
                      <a:pt x="120" y="2"/>
                    </a:lnTo>
                    <a:lnTo>
                      <a:pt x="194" y="29"/>
                    </a:lnTo>
                    <a:close/>
                  </a:path>
                </a:pathLst>
              </a:custGeom>
              <a:solidFill>
                <a:sysClr val="window" lastClr="FFFFFF">
                  <a:lumMod val="85000"/>
                </a:sysClr>
              </a:solidFill>
              <a:ln>
                <a:noFill/>
              </a:ln>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80" name="Freeform 679"/>
              <p:cNvSpPr>
                <a:spLocks/>
              </p:cNvSpPr>
              <p:nvPr/>
            </p:nvSpPr>
            <p:spPr bwMode="auto">
              <a:xfrm>
                <a:off x="2247177" y="1719090"/>
                <a:ext cx="106270" cy="180167"/>
              </a:xfrm>
              <a:custGeom>
                <a:avLst/>
                <a:gdLst>
                  <a:gd name="T0" fmla="*/ 229 w 281"/>
                  <a:gd name="T1" fmla="*/ 6 h 486"/>
                  <a:gd name="T2" fmla="*/ 229 w 281"/>
                  <a:gd name="T3" fmla="*/ 6 h 486"/>
                  <a:gd name="T4" fmla="*/ 220 w 281"/>
                  <a:gd name="T5" fmla="*/ 3 h 486"/>
                  <a:gd name="T6" fmla="*/ 210 w 281"/>
                  <a:gd name="T7" fmla="*/ 1 h 486"/>
                  <a:gd name="T8" fmla="*/ 201 w 281"/>
                  <a:gd name="T9" fmla="*/ 0 h 486"/>
                  <a:gd name="T10" fmla="*/ 191 w 281"/>
                  <a:gd name="T11" fmla="*/ 0 h 486"/>
                  <a:gd name="T12" fmla="*/ 181 w 281"/>
                  <a:gd name="T13" fmla="*/ 1 h 486"/>
                  <a:gd name="T14" fmla="*/ 173 w 281"/>
                  <a:gd name="T15" fmla="*/ 3 h 486"/>
                  <a:gd name="T16" fmla="*/ 164 w 281"/>
                  <a:gd name="T17" fmla="*/ 6 h 486"/>
                  <a:gd name="T18" fmla="*/ 155 w 281"/>
                  <a:gd name="T19" fmla="*/ 10 h 486"/>
                  <a:gd name="T20" fmla="*/ 147 w 281"/>
                  <a:gd name="T21" fmla="*/ 14 h 486"/>
                  <a:gd name="T22" fmla="*/ 139 w 281"/>
                  <a:gd name="T23" fmla="*/ 19 h 486"/>
                  <a:gd name="T24" fmla="*/ 132 w 281"/>
                  <a:gd name="T25" fmla="*/ 25 h 486"/>
                  <a:gd name="T26" fmla="*/ 125 w 281"/>
                  <a:gd name="T27" fmla="*/ 32 h 486"/>
                  <a:gd name="T28" fmla="*/ 119 w 281"/>
                  <a:gd name="T29" fmla="*/ 39 h 486"/>
                  <a:gd name="T30" fmla="*/ 113 w 281"/>
                  <a:gd name="T31" fmla="*/ 47 h 486"/>
                  <a:gd name="T32" fmla="*/ 109 w 281"/>
                  <a:gd name="T33" fmla="*/ 56 h 486"/>
                  <a:gd name="T34" fmla="*/ 105 w 281"/>
                  <a:gd name="T35" fmla="*/ 65 h 486"/>
                  <a:gd name="T36" fmla="*/ 5 w 281"/>
                  <a:gd name="T37" fmla="*/ 343 h 486"/>
                  <a:gd name="T38" fmla="*/ 5 w 281"/>
                  <a:gd name="T39" fmla="*/ 343 h 486"/>
                  <a:gd name="T40" fmla="*/ 3 w 281"/>
                  <a:gd name="T41" fmla="*/ 353 h 486"/>
                  <a:gd name="T42" fmla="*/ 1 w 281"/>
                  <a:gd name="T43" fmla="*/ 363 h 486"/>
                  <a:gd name="T44" fmla="*/ 0 w 281"/>
                  <a:gd name="T45" fmla="*/ 371 h 486"/>
                  <a:gd name="T46" fmla="*/ 0 w 281"/>
                  <a:gd name="T47" fmla="*/ 381 h 486"/>
                  <a:gd name="T48" fmla="*/ 1 w 281"/>
                  <a:gd name="T49" fmla="*/ 391 h 486"/>
                  <a:gd name="T50" fmla="*/ 3 w 281"/>
                  <a:gd name="T51" fmla="*/ 399 h 486"/>
                  <a:gd name="T52" fmla="*/ 6 w 281"/>
                  <a:gd name="T53" fmla="*/ 409 h 486"/>
                  <a:gd name="T54" fmla="*/ 10 w 281"/>
                  <a:gd name="T55" fmla="*/ 418 h 486"/>
                  <a:gd name="T56" fmla="*/ 14 w 281"/>
                  <a:gd name="T57" fmla="*/ 425 h 486"/>
                  <a:gd name="T58" fmla="*/ 19 w 281"/>
                  <a:gd name="T59" fmla="*/ 434 h 486"/>
                  <a:gd name="T60" fmla="*/ 25 w 281"/>
                  <a:gd name="T61" fmla="*/ 440 h 486"/>
                  <a:gd name="T62" fmla="*/ 31 w 281"/>
                  <a:gd name="T63" fmla="*/ 447 h 486"/>
                  <a:gd name="T64" fmla="*/ 39 w 281"/>
                  <a:gd name="T65" fmla="*/ 453 h 486"/>
                  <a:gd name="T66" fmla="*/ 47 w 281"/>
                  <a:gd name="T67" fmla="*/ 459 h 486"/>
                  <a:gd name="T68" fmla="*/ 56 w 281"/>
                  <a:gd name="T69" fmla="*/ 463 h 486"/>
                  <a:gd name="T70" fmla="*/ 65 w 281"/>
                  <a:gd name="T71" fmla="*/ 467 h 486"/>
                  <a:gd name="T72" fmla="*/ 117 w 281"/>
                  <a:gd name="T73" fmla="*/ 486 h 486"/>
                  <a:gd name="T74" fmla="*/ 281 w 281"/>
                  <a:gd name="T75" fmla="*/ 25 h 486"/>
                  <a:gd name="T76" fmla="*/ 229 w 281"/>
                  <a:gd name="T77" fmla="*/ 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1" h="486">
                    <a:moveTo>
                      <a:pt x="229" y="6"/>
                    </a:moveTo>
                    <a:lnTo>
                      <a:pt x="229" y="6"/>
                    </a:lnTo>
                    <a:lnTo>
                      <a:pt x="220" y="3"/>
                    </a:lnTo>
                    <a:lnTo>
                      <a:pt x="210" y="1"/>
                    </a:lnTo>
                    <a:lnTo>
                      <a:pt x="201" y="0"/>
                    </a:lnTo>
                    <a:lnTo>
                      <a:pt x="191" y="0"/>
                    </a:lnTo>
                    <a:lnTo>
                      <a:pt x="181" y="1"/>
                    </a:lnTo>
                    <a:lnTo>
                      <a:pt x="173" y="3"/>
                    </a:lnTo>
                    <a:lnTo>
                      <a:pt x="164" y="6"/>
                    </a:lnTo>
                    <a:lnTo>
                      <a:pt x="155" y="10"/>
                    </a:lnTo>
                    <a:lnTo>
                      <a:pt x="147" y="14"/>
                    </a:lnTo>
                    <a:lnTo>
                      <a:pt x="139" y="19"/>
                    </a:lnTo>
                    <a:lnTo>
                      <a:pt x="132" y="25"/>
                    </a:lnTo>
                    <a:lnTo>
                      <a:pt x="125" y="32"/>
                    </a:lnTo>
                    <a:lnTo>
                      <a:pt x="119" y="39"/>
                    </a:lnTo>
                    <a:lnTo>
                      <a:pt x="113" y="47"/>
                    </a:lnTo>
                    <a:lnTo>
                      <a:pt x="109" y="56"/>
                    </a:lnTo>
                    <a:lnTo>
                      <a:pt x="105" y="65"/>
                    </a:lnTo>
                    <a:lnTo>
                      <a:pt x="5" y="343"/>
                    </a:lnTo>
                    <a:lnTo>
                      <a:pt x="5" y="343"/>
                    </a:lnTo>
                    <a:lnTo>
                      <a:pt x="3" y="353"/>
                    </a:lnTo>
                    <a:lnTo>
                      <a:pt x="1" y="363"/>
                    </a:lnTo>
                    <a:lnTo>
                      <a:pt x="0" y="371"/>
                    </a:lnTo>
                    <a:lnTo>
                      <a:pt x="0" y="381"/>
                    </a:lnTo>
                    <a:lnTo>
                      <a:pt x="1" y="391"/>
                    </a:lnTo>
                    <a:lnTo>
                      <a:pt x="3" y="399"/>
                    </a:lnTo>
                    <a:lnTo>
                      <a:pt x="6" y="409"/>
                    </a:lnTo>
                    <a:lnTo>
                      <a:pt x="10" y="418"/>
                    </a:lnTo>
                    <a:lnTo>
                      <a:pt x="14" y="425"/>
                    </a:lnTo>
                    <a:lnTo>
                      <a:pt x="19" y="434"/>
                    </a:lnTo>
                    <a:lnTo>
                      <a:pt x="25" y="440"/>
                    </a:lnTo>
                    <a:lnTo>
                      <a:pt x="31" y="447"/>
                    </a:lnTo>
                    <a:lnTo>
                      <a:pt x="39" y="453"/>
                    </a:lnTo>
                    <a:lnTo>
                      <a:pt x="47" y="459"/>
                    </a:lnTo>
                    <a:lnTo>
                      <a:pt x="56" y="463"/>
                    </a:lnTo>
                    <a:lnTo>
                      <a:pt x="65" y="467"/>
                    </a:lnTo>
                    <a:lnTo>
                      <a:pt x="117" y="486"/>
                    </a:lnTo>
                    <a:lnTo>
                      <a:pt x="281" y="25"/>
                    </a:lnTo>
                    <a:lnTo>
                      <a:pt x="229" y="6"/>
                    </a:lnTo>
                    <a:close/>
                  </a:path>
                </a:pathLst>
              </a:custGeom>
              <a:solidFill>
                <a:sysClr val="window" lastClr="FFFFFF">
                  <a:lumMod val="85000"/>
                </a:sysClr>
              </a:solidFill>
              <a:ln>
                <a:noFill/>
              </a:ln>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81" name="Freeform 680"/>
              <p:cNvSpPr>
                <a:spLocks/>
              </p:cNvSpPr>
              <p:nvPr/>
            </p:nvSpPr>
            <p:spPr bwMode="auto">
              <a:xfrm>
                <a:off x="2260840" y="1704200"/>
                <a:ext cx="970091" cy="515189"/>
              </a:xfrm>
              <a:custGeom>
                <a:avLst/>
                <a:gdLst>
                  <a:gd name="T0" fmla="*/ 2556 w 2556"/>
                  <a:gd name="T1" fmla="*/ 841 h 1384"/>
                  <a:gd name="T2" fmla="*/ 2362 w 2556"/>
                  <a:gd name="T3" fmla="*/ 1384 h 1384"/>
                  <a:gd name="T4" fmla="*/ 0 w 2556"/>
                  <a:gd name="T5" fmla="*/ 542 h 1384"/>
                  <a:gd name="T6" fmla="*/ 194 w 2556"/>
                  <a:gd name="T7" fmla="*/ 0 h 1384"/>
                  <a:gd name="T8" fmla="*/ 2556 w 2556"/>
                  <a:gd name="T9" fmla="*/ 841 h 1384"/>
                </a:gdLst>
                <a:ahLst/>
                <a:cxnLst>
                  <a:cxn ang="0">
                    <a:pos x="T0" y="T1"/>
                  </a:cxn>
                  <a:cxn ang="0">
                    <a:pos x="T2" y="T3"/>
                  </a:cxn>
                  <a:cxn ang="0">
                    <a:pos x="T4" y="T5"/>
                  </a:cxn>
                  <a:cxn ang="0">
                    <a:pos x="T6" y="T7"/>
                  </a:cxn>
                  <a:cxn ang="0">
                    <a:pos x="T8" y="T9"/>
                  </a:cxn>
                </a:cxnLst>
                <a:rect l="0" t="0" r="r" b="b"/>
                <a:pathLst>
                  <a:path w="2556" h="1384">
                    <a:moveTo>
                      <a:pt x="2556" y="841"/>
                    </a:moveTo>
                    <a:lnTo>
                      <a:pt x="2362" y="1384"/>
                    </a:lnTo>
                    <a:lnTo>
                      <a:pt x="0" y="542"/>
                    </a:lnTo>
                    <a:lnTo>
                      <a:pt x="194" y="0"/>
                    </a:lnTo>
                    <a:lnTo>
                      <a:pt x="2556" y="841"/>
                    </a:lnTo>
                    <a:close/>
                  </a:path>
                </a:pathLst>
              </a:custGeom>
              <a:solidFill>
                <a:sysClr val="window" lastClr="FFFFFF">
                  <a:lumMod val="85000"/>
                </a:sysClr>
              </a:solidFill>
              <a:ln>
                <a:noFill/>
              </a:ln>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82" name="Freeform 681"/>
              <p:cNvSpPr>
                <a:spLocks/>
              </p:cNvSpPr>
              <p:nvPr/>
            </p:nvSpPr>
            <p:spPr bwMode="auto">
              <a:xfrm>
                <a:off x="2291203" y="1879901"/>
                <a:ext cx="44026" cy="34248"/>
              </a:xfrm>
              <a:custGeom>
                <a:avLst/>
                <a:gdLst>
                  <a:gd name="T0" fmla="*/ 95 w 117"/>
                  <a:gd name="T1" fmla="*/ 95 h 95"/>
                  <a:gd name="T2" fmla="*/ 117 w 117"/>
                  <a:gd name="T3" fmla="*/ 34 h 95"/>
                  <a:gd name="T4" fmla="*/ 22 w 117"/>
                  <a:gd name="T5" fmla="*/ 0 h 95"/>
                  <a:gd name="T6" fmla="*/ 0 w 117"/>
                  <a:gd name="T7" fmla="*/ 61 h 95"/>
                  <a:gd name="T8" fmla="*/ 95 w 117"/>
                  <a:gd name="T9" fmla="*/ 95 h 95"/>
                </a:gdLst>
                <a:ahLst/>
                <a:cxnLst>
                  <a:cxn ang="0">
                    <a:pos x="T0" y="T1"/>
                  </a:cxn>
                  <a:cxn ang="0">
                    <a:pos x="T2" y="T3"/>
                  </a:cxn>
                  <a:cxn ang="0">
                    <a:pos x="T4" y="T5"/>
                  </a:cxn>
                  <a:cxn ang="0">
                    <a:pos x="T6" y="T7"/>
                  </a:cxn>
                  <a:cxn ang="0">
                    <a:pos x="T8" y="T9"/>
                  </a:cxn>
                </a:cxnLst>
                <a:rect l="0" t="0" r="r" b="b"/>
                <a:pathLst>
                  <a:path w="117" h="95">
                    <a:moveTo>
                      <a:pt x="95" y="95"/>
                    </a:moveTo>
                    <a:lnTo>
                      <a:pt x="117" y="34"/>
                    </a:lnTo>
                    <a:lnTo>
                      <a:pt x="22" y="0"/>
                    </a:lnTo>
                    <a:lnTo>
                      <a:pt x="0" y="61"/>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83" name="Freeform 682"/>
              <p:cNvSpPr>
                <a:spLocks/>
              </p:cNvSpPr>
              <p:nvPr/>
            </p:nvSpPr>
            <p:spPr bwMode="auto">
              <a:xfrm>
                <a:off x="2333711" y="1763759"/>
                <a:ext cx="44026" cy="35735"/>
              </a:xfrm>
              <a:custGeom>
                <a:avLst/>
                <a:gdLst>
                  <a:gd name="T0" fmla="*/ 95 w 116"/>
                  <a:gd name="T1" fmla="*/ 95 h 95"/>
                  <a:gd name="T2" fmla="*/ 116 w 116"/>
                  <a:gd name="T3" fmla="*/ 34 h 95"/>
                  <a:gd name="T4" fmla="*/ 21 w 116"/>
                  <a:gd name="T5" fmla="*/ 0 h 95"/>
                  <a:gd name="T6" fmla="*/ 0 w 116"/>
                  <a:gd name="T7" fmla="*/ 61 h 95"/>
                  <a:gd name="T8" fmla="*/ 95 w 116"/>
                  <a:gd name="T9" fmla="*/ 95 h 95"/>
                </a:gdLst>
                <a:ahLst/>
                <a:cxnLst>
                  <a:cxn ang="0">
                    <a:pos x="T0" y="T1"/>
                  </a:cxn>
                  <a:cxn ang="0">
                    <a:pos x="T2" y="T3"/>
                  </a:cxn>
                  <a:cxn ang="0">
                    <a:pos x="T4" y="T5"/>
                  </a:cxn>
                  <a:cxn ang="0">
                    <a:pos x="T6" y="T7"/>
                  </a:cxn>
                  <a:cxn ang="0">
                    <a:pos x="T8" y="T9"/>
                  </a:cxn>
                </a:cxnLst>
                <a:rect l="0" t="0" r="r" b="b"/>
                <a:pathLst>
                  <a:path w="116" h="95">
                    <a:moveTo>
                      <a:pt x="95" y="95"/>
                    </a:moveTo>
                    <a:lnTo>
                      <a:pt x="116" y="34"/>
                    </a:lnTo>
                    <a:lnTo>
                      <a:pt x="21" y="0"/>
                    </a:lnTo>
                    <a:lnTo>
                      <a:pt x="0" y="61"/>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84" name="Freeform 683"/>
              <p:cNvSpPr>
                <a:spLocks/>
              </p:cNvSpPr>
              <p:nvPr/>
            </p:nvSpPr>
            <p:spPr bwMode="auto">
              <a:xfrm>
                <a:off x="2347374" y="1725045"/>
                <a:ext cx="44026" cy="35735"/>
              </a:xfrm>
              <a:custGeom>
                <a:avLst/>
                <a:gdLst>
                  <a:gd name="T0" fmla="*/ 0 w 117"/>
                  <a:gd name="T1" fmla="*/ 62 h 95"/>
                  <a:gd name="T2" fmla="*/ 95 w 117"/>
                  <a:gd name="T3" fmla="*/ 95 h 95"/>
                  <a:gd name="T4" fmla="*/ 117 w 117"/>
                  <a:gd name="T5" fmla="*/ 35 h 95"/>
                  <a:gd name="T6" fmla="*/ 22 w 117"/>
                  <a:gd name="T7" fmla="*/ 0 h 95"/>
                  <a:gd name="T8" fmla="*/ 0 w 117"/>
                  <a:gd name="T9" fmla="*/ 62 h 95"/>
                </a:gdLst>
                <a:ahLst/>
                <a:cxnLst>
                  <a:cxn ang="0">
                    <a:pos x="T0" y="T1"/>
                  </a:cxn>
                  <a:cxn ang="0">
                    <a:pos x="T2" y="T3"/>
                  </a:cxn>
                  <a:cxn ang="0">
                    <a:pos x="T4" y="T5"/>
                  </a:cxn>
                  <a:cxn ang="0">
                    <a:pos x="T6" y="T7"/>
                  </a:cxn>
                  <a:cxn ang="0">
                    <a:pos x="T8" y="T9"/>
                  </a:cxn>
                </a:cxnLst>
                <a:rect l="0" t="0" r="r" b="b"/>
                <a:pathLst>
                  <a:path w="117" h="95">
                    <a:moveTo>
                      <a:pt x="0" y="62"/>
                    </a:moveTo>
                    <a:lnTo>
                      <a:pt x="95" y="95"/>
                    </a:lnTo>
                    <a:lnTo>
                      <a:pt x="117" y="35"/>
                    </a:lnTo>
                    <a:lnTo>
                      <a:pt x="22" y="0"/>
                    </a:lnTo>
                    <a:lnTo>
                      <a:pt x="0" y="62"/>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85" name="Freeform 684"/>
              <p:cNvSpPr>
                <a:spLocks/>
              </p:cNvSpPr>
              <p:nvPr/>
            </p:nvSpPr>
            <p:spPr bwMode="auto">
              <a:xfrm>
                <a:off x="2335229" y="1894790"/>
                <a:ext cx="44026" cy="35735"/>
              </a:xfrm>
              <a:custGeom>
                <a:avLst/>
                <a:gdLst>
                  <a:gd name="T0" fmla="*/ 95 w 117"/>
                  <a:gd name="T1" fmla="*/ 95 h 95"/>
                  <a:gd name="T2" fmla="*/ 117 w 117"/>
                  <a:gd name="T3" fmla="*/ 33 h 95"/>
                  <a:gd name="T4" fmla="*/ 22 w 117"/>
                  <a:gd name="T5" fmla="*/ 0 h 95"/>
                  <a:gd name="T6" fmla="*/ 0 w 117"/>
                  <a:gd name="T7" fmla="*/ 61 h 95"/>
                  <a:gd name="T8" fmla="*/ 95 w 117"/>
                  <a:gd name="T9" fmla="*/ 95 h 95"/>
                </a:gdLst>
                <a:ahLst/>
                <a:cxnLst>
                  <a:cxn ang="0">
                    <a:pos x="T0" y="T1"/>
                  </a:cxn>
                  <a:cxn ang="0">
                    <a:pos x="T2" y="T3"/>
                  </a:cxn>
                  <a:cxn ang="0">
                    <a:pos x="T4" y="T5"/>
                  </a:cxn>
                  <a:cxn ang="0">
                    <a:pos x="T6" y="T7"/>
                  </a:cxn>
                  <a:cxn ang="0">
                    <a:pos x="T8" y="T9"/>
                  </a:cxn>
                </a:cxnLst>
                <a:rect l="0" t="0" r="r" b="b"/>
                <a:pathLst>
                  <a:path w="117" h="95">
                    <a:moveTo>
                      <a:pt x="95" y="95"/>
                    </a:moveTo>
                    <a:lnTo>
                      <a:pt x="117" y="33"/>
                    </a:lnTo>
                    <a:lnTo>
                      <a:pt x="22" y="0"/>
                    </a:lnTo>
                    <a:lnTo>
                      <a:pt x="0" y="61"/>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86" name="Freeform 685"/>
              <p:cNvSpPr>
                <a:spLocks/>
              </p:cNvSpPr>
              <p:nvPr/>
            </p:nvSpPr>
            <p:spPr bwMode="auto">
              <a:xfrm>
                <a:off x="2348892" y="1856076"/>
                <a:ext cx="45544" cy="35735"/>
              </a:xfrm>
              <a:custGeom>
                <a:avLst/>
                <a:gdLst>
                  <a:gd name="T0" fmla="*/ 95 w 118"/>
                  <a:gd name="T1" fmla="*/ 95 h 95"/>
                  <a:gd name="T2" fmla="*/ 118 w 118"/>
                  <a:gd name="T3" fmla="*/ 34 h 95"/>
                  <a:gd name="T4" fmla="*/ 22 w 118"/>
                  <a:gd name="T5" fmla="*/ 0 h 95"/>
                  <a:gd name="T6" fmla="*/ 0 w 118"/>
                  <a:gd name="T7" fmla="*/ 62 h 95"/>
                  <a:gd name="T8" fmla="*/ 95 w 118"/>
                  <a:gd name="T9" fmla="*/ 95 h 95"/>
                </a:gdLst>
                <a:ahLst/>
                <a:cxnLst>
                  <a:cxn ang="0">
                    <a:pos x="T0" y="T1"/>
                  </a:cxn>
                  <a:cxn ang="0">
                    <a:pos x="T2" y="T3"/>
                  </a:cxn>
                  <a:cxn ang="0">
                    <a:pos x="T4" y="T5"/>
                  </a:cxn>
                  <a:cxn ang="0">
                    <a:pos x="T6" y="T7"/>
                  </a:cxn>
                  <a:cxn ang="0">
                    <a:pos x="T8" y="T9"/>
                  </a:cxn>
                </a:cxnLst>
                <a:rect l="0" t="0" r="r" b="b"/>
                <a:pathLst>
                  <a:path w="118" h="95">
                    <a:moveTo>
                      <a:pt x="95" y="95"/>
                    </a:moveTo>
                    <a:lnTo>
                      <a:pt x="118" y="34"/>
                    </a:lnTo>
                    <a:lnTo>
                      <a:pt x="22" y="0"/>
                    </a:lnTo>
                    <a:lnTo>
                      <a:pt x="0" y="62"/>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87" name="Freeform 686"/>
              <p:cNvSpPr>
                <a:spLocks/>
              </p:cNvSpPr>
              <p:nvPr/>
            </p:nvSpPr>
            <p:spPr bwMode="auto">
              <a:xfrm>
                <a:off x="2364073" y="1817362"/>
                <a:ext cx="44026" cy="35735"/>
              </a:xfrm>
              <a:custGeom>
                <a:avLst/>
                <a:gdLst>
                  <a:gd name="T0" fmla="*/ 95 w 116"/>
                  <a:gd name="T1" fmla="*/ 96 h 96"/>
                  <a:gd name="T2" fmla="*/ 116 w 116"/>
                  <a:gd name="T3" fmla="*/ 34 h 96"/>
                  <a:gd name="T4" fmla="*/ 21 w 116"/>
                  <a:gd name="T5" fmla="*/ 0 h 96"/>
                  <a:gd name="T6" fmla="*/ 0 w 116"/>
                  <a:gd name="T7" fmla="*/ 62 h 96"/>
                  <a:gd name="T8" fmla="*/ 95 w 116"/>
                  <a:gd name="T9" fmla="*/ 96 h 96"/>
                </a:gdLst>
                <a:ahLst/>
                <a:cxnLst>
                  <a:cxn ang="0">
                    <a:pos x="T0" y="T1"/>
                  </a:cxn>
                  <a:cxn ang="0">
                    <a:pos x="T2" y="T3"/>
                  </a:cxn>
                  <a:cxn ang="0">
                    <a:pos x="T4" y="T5"/>
                  </a:cxn>
                  <a:cxn ang="0">
                    <a:pos x="T6" y="T7"/>
                  </a:cxn>
                  <a:cxn ang="0">
                    <a:pos x="T8" y="T9"/>
                  </a:cxn>
                </a:cxnLst>
                <a:rect l="0" t="0" r="r" b="b"/>
                <a:pathLst>
                  <a:path w="116" h="96">
                    <a:moveTo>
                      <a:pt x="95" y="96"/>
                    </a:moveTo>
                    <a:lnTo>
                      <a:pt x="116" y="34"/>
                    </a:lnTo>
                    <a:lnTo>
                      <a:pt x="21" y="0"/>
                    </a:lnTo>
                    <a:lnTo>
                      <a:pt x="0" y="62"/>
                    </a:lnTo>
                    <a:lnTo>
                      <a:pt x="95" y="9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88" name="Freeform 687"/>
              <p:cNvSpPr>
                <a:spLocks/>
              </p:cNvSpPr>
              <p:nvPr/>
            </p:nvSpPr>
            <p:spPr bwMode="auto">
              <a:xfrm>
                <a:off x="2377737" y="1778649"/>
                <a:ext cx="44026" cy="35735"/>
              </a:xfrm>
              <a:custGeom>
                <a:avLst/>
                <a:gdLst>
                  <a:gd name="T0" fmla="*/ 95 w 117"/>
                  <a:gd name="T1" fmla="*/ 95 h 95"/>
                  <a:gd name="T2" fmla="*/ 117 w 117"/>
                  <a:gd name="T3" fmla="*/ 33 h 95"/>
                  <a:gd name="T4" fmla="*/ 22 w 117"/>
                  <a:gd name="T5" fmla="*/ 0 h 95"/>
                  <a:gd name="T6" fmla="*/ 0 w 117"/>
                  <a:gd name="T7" fmla="*/ 61 h 95"/>
                  <a:gd name="T8" fmla="*/ 95 w 117"/>
                  <a:gd name="T9" fmla="*/ 95 h 95"/>
                </a:gdLst>
                <a:ahLst/>
                <a:cxnLst>
                  <a:cxn ang="0">
                    <a:pos x="T0" y="T1"/>
                  </a:cxn>
                  <a:cxn ang="0">
                    <a:pos x="T2" y="T3"/>
                  </a:cxn>
                  <a:cxn ang="0">
                    <a:pos x="T4" y="T5"/>
                  </a:cxn>
                  <a:cxn ang="0">
                    <a:pos x="T6" y="T7"/>
                  </a:cxn>
                  <a:cxn ang="0">
                    <a:pos x="T8" y="T9"/>
                  </a:cxn>
                </a:cxnLst>
                <a:rect l="0" t="0" r="r" b="b"/>
                <a:pathLst>
                  <a:path w="117" h="95">
                    <a:moveTo>
                      <a:pt x="95" y="95"/>
                    </a:moveTo>
                    <a:lnTo>
                      <a:pt x="117" y="33"/>
                    </a:lnTo>
                    <a:lnTo>
                      <a:pt x="22" y="0"/>
                    </a:lnTo>
                    <a:lnTo>
                      <a:pt x="0" y="61"/>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89" name="Freeform 688"/>
              <p:cNvSpPr>
                <a:spLocks/>
              </p:cNvSpPr>
              <p:nvPr/>
            </p:nvSpPr>
            <p:spPr bwMode="auto">
              <a:xfrm>
                <a:off x="2391399" y="1741424"/>
                <a:ext cx="44026" cy="34248"/>
              </a:xfrm>
              <a:custGeom>
                <a:avLst/>
                <a:gdLst>
                  <a:gd name="T0" fmla="*/ 95 w 117"/>
                  <a:gd name="T1" fmla="*/ 95 h 95"/>
                  <a:gd name="T2" fmla="*/ 117 w 117"/>
                  <a:gd name="T3" fmla="*/ 34 h 95"/>
                  <a:gd name="T4" fmla="*/ 22 w 117"/>
                  <a:gd name="T5" fmla="*/ 0 h 95"/>
                  <a:gd name="T6" fmla="*/ 0 w 117"/>
                  <a:gd name="T7" fmla="*/ 62 h 95"/>
                  <a:gd name="T8" fmla="*/ 95 w 117"/>
                  <a:gd name="T9" fmla="*/ 95 h 95"/>
                </a:gdLst>
                <a:ahLst/>
                <a:cxnLst>
                  <a:cxn ang="0">
                    <a:pos x="T0" y="T1"/>
                  </a:cxn>
                  <a:cxn ang="0">
                    <a:pos x="T2" y="T3"/>
                  </a:cxn>
                  <a:cxn ang="0">
                    <a:pos x="T4" y="T5"/>
                  </a:cxn>
                  <a:cxn ang="0">
                    <a:pos x="T6" y="T7"/>
                  </a:cxn>
                  <a:cxn ang="0">
                    <a:pos x="T8" y="T9"/>
                  </a:cxn>
                </a:cxnLst>
                <a:rect l="0" t="0" r="r" b="b"/>
                <a:pathLst>
                  <a:path w="117" h="95">
                    <a:moveTo>
                      <a:pt x="95" y="95"/>
                    </a:moveTo>
                    <a:lnTo>
                      <a:pt x="117" y="34"/>
                    </a:lnTo>
                    <a:lnTo>
                      <a:pt x="22" y="0"/>
                    </a:lnTo>
                    <a:lnTo>
                      <a:pt x="0" y="62"/>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90" name="Freeform 689"/>
              <p:cNvSpPr>
                <a:spLocks/>
              </p:cNvSpPr>
              <p:nvPr/>
            </p:nvSpPr>
            <p:spPr bwMode="auto">
              <a:xfrm>
                <a:off x="2409617" y="1920103"/>
                <a:ext cx="44026" cy="35735"/>
              </a:xfrm>
              <a:custGeom>
                <a:avLst/>
                <a:gdLst>
                  <a:gd name="T0" fmla="*/ 95 w 117"/>
                  <a:gd name="T1" fmla="*/ 95 h 95"/>
                  <a:gd name="T2" fmla="*/ 117 w 117"/>
                  <a:gd name="T3" fmla="*/ 33 h 95"/>
                  <a:gd name="T4" fmla="*/ 22 w 117"/>
                  <a:gd name="T5" fmla="*/ 0 h 95"/>
                  <a:gd name="T6" fmla="*/ 0 w 117"/>
                  <a:gd name="T7" fmla="*/ 60 h 95"/>
                  <a:gd name="T8" fmla="*/ 95 w 117"/>
                  <a:gd name="T9" fmla="*/ 95 h 95"/>
                </a:gdLst>
                <a:ahLst/>
                <a:cxnLst>
                  <a:cxn ang="0">
                    <a:pos x="T0" y="T1"/>
                  </a:cxn>
                  <a:cxn ang="0">
                    <a:pos x="T2" y="T3"/>
                  </a:cxn>
                  <a:cxn ang="0">
                    <a:pos x="T4" y="T5"/>
                  </a:cxn>
                  <a:cxn ang="0">
                    <a:pos x="T6" y="T7"/>
                  </a:cxn>
                  <a:cxn ang="0">
                    <a:pos x="T8" y="T9"/>
                  </a:cxn>
                </a:cxnLst>
                <a:rect l="0" t="0" r="r" b="b"/>
                <a:pathLst>
                  <a:path w="117" h="95">
                    <a:moveTo>
                      <a:pt x="95" y="95"/>
                    </a:moveTo>
                    <a:lnTo>
                      <a:pt x="117" y="33"/>
                    </a:lnTo>
                    <a:lnTo>
                      <a:pt x="22" y="0"/>
                    </a:lnTo>
                    <a:lnTo>
                      <a:pt x="0" y="60"/>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91" name="Freeform 690"/>
              <p:cNvSpPr>
                <a:spLocks/>
              </p:cNvSpPr>
              <p:nvPr/>
            </p:nvSpPr>
            <p:spPr bwMode="auto">
              <a:xfrm>
                <a:off x="2423281" y="1882878"/>
                <a:ext cx="44026" cy="34248"/>
              </a:xfrm>
              <a:custGeom>
                <a:avLst/>
                <a:gdLst>
                  <a:gd name="T0" fmla="*/ 95 w 117"/>
                  <a:gd name="T1" fmla="*/ 95 h 95"/>
                  <a:gd name="T2" fmla="*/ 117 w 117"/>
                  <a:gd name="T3" fmla="*/ 34 h 95"/>
                  <a:gd name="T4" fmla="*/ 22 w 117"/>
                  <a:gd name="T5" fmla="*/ 0 h 95"/>
                  <a:gd name="T6" fmla="*/ 0 w 117"/>
                  <a:gd name="T7" fmla="*/ 61 h 95"/>
                  <a:gd name="T8" fmla="*/ 95 w 117"/>
                  <a:gd name="T9" fmla="*/ 95 h 95"/>
                </a:gdLst>
                <a:ahLst/>
                <a:cxnLst>
                  <a:cxn ang="0">
                    <a:pos x="T0" y="T1"/>
                  </a:cxn>
                  <a:cxn ang="0">
                    <a:pos x="T2" y="T3"/>
                  </a:cxn>
                  <a:cxn ang="0">
                    <a:pos x="T4" y="T5"/>
                  </a:cxn>
                  <a:cxn ang="0">
                    <a:pos x="T6" y="T7"/>
                  </a:cxn>
                  <a:cxn ang="0">
                    <a:pos x="T8" y="T9"/>
                  </a:cxn>
                </a:cxnLst>
                <a:rect l="0" t="0" r="r" b="b"/>
                <a:pathLst>
                  <a:path w="117" h="95">
                    <a:moveTo>
                      <a:pt x="95" y="95"/>
                    </a:moveTo>
                    <a:lnTo>
                      <a:pt x="117" y="34"/>
                    </a:lnTo>
                    <a:lnTo>
                      <a:pt x="22" y="0"/>
                    </a:lnTo>
                    <a:lnTo>
                      <a:pt x="0" y="61"/>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92" name="Freeform 691"/>
              <p:cNvSpPr>
                <a:spLocks/>
              </p:cNvSpPr>
              <p:nvPr/>
            </p:nvSpPr>
            <p:spPr bwMode="auto">
              <a:xfrm>
                <a:off x="2450608" y="1805451"/>
                <a:ext cx="45544" cy="34248"/>
              </a:xfrm>
              <a:custGeom>
                <a:avLst/>
                <a:gdLst>
                  <a:gd name="T0" fmla="*/ 95 w 116"/>
                  <a:gd name="T1" fmla="*/ 95 h 95"/>
                  <a:gd name="T2" fmla="*/ 116 w 116"/>
                  <a:gd name="T3" fmla="*/ 33 h 95"/>
                  <a:gd name="T4" fmla="*/ 21 w 116"/>
                  <a:gd name="T5" fmla="*/ 0 h 95"/>
                  <a:gd name="T6" fmla="*/ 0 w 116"/>
                  <a:gd name="T7" fmla="*/ 60 h 95"/>
                  <a:gd name="T8" fmla="*/ 95 w 116"/>
                  <a:gd name="T9" fmla="*/ 95 h 95"/>
                </a:gdLst>
                <a:ahLst/>
                <a:cxnLst>
                  <a:cxn ang="0">
                    <a:pos x="T0" y="T1"/>
                  </a:cxn>
                  <a:cxn ang="0">
                    <a:pos x="T2" y="T3"/>
                  </a:cxn>
                  <a:cxn ang="0">
                    <a:pos x="T4" y="T5"/>
                  </a:cxn>
                  <a:cxn ang="0">
                    <a:pos x="T6" y="T7"/>
                  </a:cxn>
                  <a:cxn ang="0">
                    <a:pos x="T8" y="T9"/>
                  </a:cxn>
                </a:cxnLst>
                <a:rect l="0" t="0" r="r" b="b"/>
                <a:pathLst>
                  <a:path w="116" h="95">
                    <a:moveTo>
                      <a:pt x="95" y="95"/>
                    </a:moveTo>
                    <a:lnTo>
                      <a:pt x="116" y="33"/>
                    </a:lnTo>
                    <a:lnTo>
                      <a:pt x="21" y="0"/>
                    </a:lnTo>
                    <a:lnTo>
                      <a:pt x="0" y="60"/>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93" name="Freeform 692"/>
              <p:cNvSpPr>
                <a:spLocks/>
              </p:cNvSpPr>
              <p:nvPr/>
            </p:nvSpPr>
            <p:spPr bwMode="auto">
              <a:xfrm>
                <a:off x="2465790" y="1766737"/>
                <a:ext cx="44026" cy="35735"/>
              </a:xfrm>
              <a:custGeom>
                <a:avLst/>
                <a:gdLst>
                  <a:gd name="T0" fmla="*/ 95 w 117"/>
                  <a:gd name="T1" fmla="*/ 95 h 95"/>
                  <a:gd name="T2" fmla="*/ 117 w 117"/>
                  <a:gd name="T3" fmla="*/ 34 h 95"/>
                  <a:gd name="T4" fmla="*/ 22 w 117"/>
                  <a:gd name="T5" fmla="*/ 0 h 95"/>
                  <a:gd name="T6" fmla="*/ 0 w 117"/>
                  <a:gd name="T7" fmla="*/ 61 h 95"/>
                  <a:gd name="T8" fmla="*/ 95 w 117"/>
                  <a:gd name="T9" fmla="*/ 95 h 95"/>
                </a:gdLst>
                <a:ahLst/>
                <a:cxnLst>
                  <a:cxn ang="0">
                    <a:pos x="T0" y="T1"/>
                  </a:cxn>
                  <a:cxn ang="0">
                    <a:pos x="T2" y="T3"/>
                  </a:cxn>
                  <a:cxn ang="0">
                    <a:pos x="T4" y="T5"/>
                  </a:cxn>
                  <a:cxn ang="0">
                    <a:pos x="T6" y="T7"/>
                  </a:cxn>
                  <a:cxn ang="0">
                    <a:pos x="T8" y="T9"/>
                  </a:cxn>
                </a:cxnLst>
                <a:rect l="0" t="0" r="r" b="b"/>
                <a:pathLst>
                  <a:path w="117" h="95">
                    <a:moveTo>
                      <a:pt x="95" y="95"/>
                    </a:moveTo>
                    <a:lnTo>
                      <a:pt x="117" y="34"/>
                    </a:lnTo>
                    <a:lnTo>
                      <a:pt x="22" y="0"/>
                    </a:lnTo>
                    <a:lnTo>
                      <a:pt x="0" y="61"/>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94" name="Freeform 693"/>
              <p:cNvSpPr>
                <a:spLocks/>
              </p:cNvSpPr>
              <p:nvPr/>
            </p:nvSpPr>
            <p:spPr bwMode="auto">
              <a:xfrm>
                <a:off x="2467307" y="1897768"/>
                <a:ext cx="45544" cy="35735"/>
              </a:xfrm>
              <a:custGeom>
                <a:avLst/>
                <a:gdLst>
                  <a:gd name="T0" fmla="*/ 95 w 118"/>
                  <a:gd name="T1" fmla="*/ 95 h 95"/>
                  <a:gd name="T2" fmla="*/ 118 w 118"/>
                  <a:gd name="T3" fmla="*/ 34 h 95"/>
                  <a:gd name="T4" fmla="*/ 21 w 118"/>
                  <a:gd name="T5" fmla="*/ 0 h 95"/>
                  <a:gd name="T6" fmla="*/ 0 w 118"/>
                  <a:gd name="T7" fmla="*/ 61 h 95"/>
                  <a:gd name="T8" fmla="*/ 95 w 118"/>
                  <a:gd name="T9" fmla="*/ 95 h 95"/>
                </a:gdLst>
                <a:ahLst/>
                <a:cxnLst>
                  <a:cxn ang="0">
                    <a:pos x="T0" y="T1"/>
                  </a:cxn>
                  <a:cxn ang="0">
                    <a:pos x="T2" y="T3"/>
                  </a:cxn>
                  <a:cxn ang="0">
                    <a:pos x="T4" y="T5"/>
                  </a:cxn>
                  <a:cxn ang="0">
                    <a:pos x="T6" y="T7"/>
                  </a:cxn>
                  <a:cxn ang="0">
                    <a:pos x="T8" y="T9"/>
                  </a:cxn>
                </a:cxnLst>
                <a:rect l="0" t="0" r="r" b="b"/>
                <a:pathLst>
                  <a:path w="118" h="95">
                    <a:moveTo>
                      <a:pt x="95" y="95"/>
                    </a:moveTo>
                    <a:lnTo>
                      <a:pt x="118" y="34"/>
                    </a:lnTo>
                    <a:lnTo>
                      <a:pt x="21" y="0"/>
                    </a:lnTo>
                    <a:lnTo>
                      <a:pt x="0" y="61"/>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95" name="Freeform 694"/>
              <p:cNvSpPr>
                <a:spLocks/>
              </p:cNvSpPr>
              <p:nvPr/>
            </p:nvSpPr>
            <p:spPr bwMode="auto">
              <a:xfrm>
                <a:off x="2482488" y="1859055"/>
                <a:ext cx="44026" cy="35735"/>
              </a:xfrm>
              <a:custGeom>
                <a:avLst/>
                <a:gdLst>
                  <a:gd name="T0" fmla="*/ 95 w 116"/>
                  <a:gd name="T1" fmla="*/ 95 h 95"/>
                  <a:gd name="T2" fmla="*/ 116 w 116"/>
                  <a:gd name="T3" fmla="*/ 33 h 95"/>
                  <a:gd name="T4" fmla="*/ 21 w 116"/>
                  <a:gd name="T5" fmla="*/ 0 h 95"/>
                  <a:gd name="T6" fmla="*/ 0 w 116"/>
                  <a:gd name="T7" fmla="*/ 60 h 95"/>
                  <a:gd name="T8" fmla="*/ 95 w 116"/>
                  <a:gd name="T9" fmla="*/ 95 h 95"/>
                </a:gdLst>
                <a:ahLst/>
                <a:cxnLst>
                  <a:cxn ang="0">
                    <a:pos x="T0" y="T1"/>
                  </a:cxn>
                  <a:cxn ang="0">
                    <a:pos x="T2" y="T3"/>
                  </a:cxn>
                  <a:cxn ang="0">
                    <a:pos x="T4" y="T5"/>
                  </a:cxn>
                  <a:cxn ang="0">
                    <a:pos x="T6" y="T7"/>
                  </a:cxn>
                  <a:cxn ang="0">
                    <a:pos x="T8" y="T9"/>
                  </a:cxn>
                </a:cxnLst>
                <a:rect l="0" t="0" r="r" b="b"/>
                <a:pathLst>
                  <a:path w="116" h="95">
                    <a:moveTo>
                      <a:pt x="95" y="95"/>
                    </a:moveTo>
                    <a:lnTo>
                      <a:pt x="116" y="33"/>
                    </a:lnTo>
                    <a:lnTo>
                      <a:pt x="21" y="0"/>
                    </a:lnTo>
                    <a:lnTo>
                      <a:pt x="0" y="60"/>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96" name="Freeform 695"/>
              <p:cNvSpPr>
                <a:spLocks/>
              </p:cNvSpPr>
              <p:nvPr/>
            </p:nvSpPr>
            <p:spPr bwMode="auto">
              <a:xfrm>
                <a:off x="2509814" y="1781627"/>
                <a:ext cx="44026" cy="35735"/>
              </a:xfrm>
              <a:custGeom>
                <a:avLst/>
                <a:gdLst>
                  <a:gd name="T0" fmla="*/ 95 w 117"/>
                  <a:gd name="T1" fmla="*/ 95 h 95"/>
                  <a:gd name="T2" fmla="*/ 117 w 117"/>
                  <a:gd name="T3" fmla="*/ 34 h 95"/>
                  <a:gd name="T4" fmla="*/ 22 w 117"/>
                  <a:gd name="T5" fmla="*/ 0 h 95"/>
                  <a:gd name="T6" fmla="*/ 0 w 117"/>
                  <a:gd name="T7" fmla="*/ 61 h 95"/>
                  <a:gd name="T8" fmla="*/ 95 w 117"/>
                  <a:gd name="T9" fmla="*/ 95 h 95"/>
                </a:gdLst>
                <a:ahLst/>
                <a:cxnLst>
                  <a:cxn ang="0">
                    <a:pos x="T0" y="T1"/>
                  </a:cxn>
                  <a:cxn ang="0">
                    <a:pos x="T2" y="T3"/>
                  </a:cxn>
                  <a:cxn ang="0">
                    <a:pos x="T4" y="T5"/>
                  </a:cxn>
                  <a:cxn ang="0">
                    <a:pos x="T6" y="T7"/>
                  </a:cxn>
                  <a:cxn ang="0">
                    <a:pos x="T8" y="T9"/>
                  </a:cxn>
                </a:cxnLst>
                <a:rect l="0" t="0" r="r" b="b"/>
                <a:pathLst>
                  <a:path w="117" h="95">
                    <a:moveTo>
                      <a:pt x="95" y="95"/>
                    </a:moveTo>
                    <a:lnTo>
                      <a:pt x="117" y="34"/>
                    </a:lnTo>
                    <a:lnTo>
                      <a:pt x="22" y="0"/>
                    </a:lnTo>
                    <a:lnTo>
                      <a:pt x="0" y="61"/>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97" name="Freeform 696"/>
              <p:cNvSpPr>
                <a:spLocks/>
              </p:cNvSpPr>
              <p:nvPr/>
            </p:nvSpPr>
            <p:spPr bwMode="auto">
              <a:xfrm>
                <a:off x="2526515" y="1961795"/>
                <a:ext cx="45544" cy="35735"/>
              </a:xfrm>
              <a:custGeom>
                <a:avLst/>
                <a:gdLst>
                  <a:gd name="T0" fmla="*/ 95 w 117"/>
                  <a:gd name="T1" fmla="*/ 95 h 95"/>
                  <a:gd name="T2" fmla="*/ 117 w 117"/>
                  <a:gd name="T3" fmla="*/ 35 h 95"/>
                  <a:gd name="T4" fmla="*/ 22 w 117"/>
                  <a:gd name="T5" fmla="*/ 0 h 95"/>
                  <a:gd name="T6" fmla="*/ 0 w 117"/>
                  <a:gd name="T7" fmla="*/ 62 h 95"/>
                  <a:gd name="T8" fmla="*/ 95 w 117"/>
                  <a:gd name="T9" fmla="*/ 95 h 95"/>
                </a:gdLst>
                <a:ahLst/>
                <a:cxnLst>
                  <a:cxn ang="0">
                    <a:pos x="T0" y="T1"/>
                  </a:cxn>
                  <a:cxn ang="0">
                    <a:pos x="T2" y="T3"/>
                  </a:cxn>
                  <a:cxn ang="0">
                    <a:pos x="T4" y="T5"/>
                  </a:cxn>
                  <a:cxn ang="0">
                    <a:pos x="T6" y="T7"/>
                  </a:cxn>
                  <a:cxn ang="0">
                    <a:pos x="T8" y="T9"/>
                  </a:cxn>
                </a:cxnLst>
                <a:rect l="0" t="0" r="r" b="b"/>
                <a:pathLst>
                  <a:path w="117" h="95">
                    <a:moveTo>
                      <a:pt x="95" y="95"/>
                    </a:moveTo>
                    <a:lnTo>
                      <a:pt x="117" y="35"/>
                    </a:lnTo>
                    <a:lnTo>
                      <a:pt x="22" y="0"/>
                    </a:lnTo>
                    <a:lnTo>
                      <a:pt x="0" y="62"/>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98" name="Freeform 697"/>
              <p:cNvSpPr>
                <a:spLocks/>
              </p:cNvSpPr>
              <p:nvPr/>
            </p:nvSpPr>
            <p:spPr bwMode="auto">
              <a:xfrm>
                <a:off x="2541696" y="1923081"/>
                <a:ext cx="44026" cy="35735"/>
              </a:xfrm>
              <a:custGeom>
                <a:avLst/>
                <a:gdLst>
                  <a:gd name="T0" fmla="*/ 95 w 117"/>
                  <a:gd name="T1" fmla="*/ 95 h 95"/>
                  <a:gd name="T2" fmla="*/ 117 w 117"/>
                  <a:gd name="T3" fmla="*/ 35 h 95"/>
                  <a:gd name="T4" fmla="*/ 22 w 117"/>
                  <a:gd name="T5" fmla="*/ 0 h 95"/>
                  <a:gd name="T6" fmla="*/ 0 w 117"/>
                  <a:gd name="T7" fmla="*/ 62 h 95"/>
                  <a:gd name="T8" fmla="*/ 95 w 117"/>
                  <a:gd name="T9" fmla="*/ 95 h 95"/>
                </a:gdLst>
                <a:ahLst/>
                <a:cxnLst>
                  <a:cxn ang="0">
                    <a:pos x="T0" y="T1"/>
                  </a:cxn>
                  <a:cxn ang="0">
                    <a:pos x="T2" y="T3"/>
                  </a:cxn>
                  <a:cxn ang="0">
                    <a:pos x="T4" y="T5"/>
                  </a:cxn>
                  <a:cxn ang="0">
                    <a:pos x="T6" y="T7"/>
                  </a:cxn>
                  <a:cxn ang="0">
                    <a:pos x="T8" y="T9"/>
                  </a:cxn>
                </a:cxnLst>
                <a:rect l="0" t="0" r="r" b="b"/>
                <a:pathLst>
                  <a:path w="117" h="95">
                    <a:moveTo>
                      <a:pt x="95" y="95"/>
                    </a:moveTo>
                    <a:lnTo>
                      <a:pt x="117" y="35"/>
                    </a:lnTo>
                    <a:lnTo>
                      <a:pt x="22" y="0"/>
                    </a:lnTo>
                    <a:lnTo>
                      <a:pt x="0" y="62"/>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99" name="Freeform 698"/>
              <p:cNvSpPr>
                <a:spLocks/>
              </p:cNvSpPr>
              <p:nvPr/>
            </p:nvSpPr>
            <p:spPr bwMode="auto">
              <a:xfrm>
                <a:off x="2555359" y="1884367"/>
                <a:ext cx="44026" cy="35735"/>
              </a:xfrm>
              <a:custGeom>
                <a:avLst/>
                <a:gdLst>
                  <a:gd name="T0" fmla="*/ 95 w 118"/>
                  <a:gd name="T1" fmla="*/ 95 h 95"/>
                  <a:gd name="T2" fmla="*/ 118 w 118"/>
                  <a:gd name="T3" fmla="*/ 34 h 95"/>
                  <a:gd name="T4" fmla="*/ 23 w 118"/>
                  <a:gd name="T5" fmla="*/ 0 h 95"/>
                  <a:gd name="T6" fmla="*/ 0 w 118"/>
                  <a:gd name="T7" fmla="*/ 61 h 95"/>
                  <a:gd name="T8" fmla="*/ 95 w 118"/>
                  <a:gd name="T9" fmla="*/ 95 h 95"/>
                </a:gdLst>
                <a:ahLst/>
                <a:cxnLst>
                  <a:cxn ang="0">
                    <a:pos x="T0" y="T1"/>
                  </a:cxn>
                  <a:cxn ang="0">
                    <a:pos x="T2" y="T3"/>
                  </a:cxn>
                  <a:cxn ang="0">
                    <a:pos x="T4" y="T5"/>
                  </a:cxn>
                  <a:cxn ang="0">
                    <a:pos x="T6" y="T7"/>
                  </a:cxn>
                  <a:cxn ang="0">
                    <a:pos x="T8" y="T9"/>
                  </a:cxn>
                </a:cxnLst>
                <a:rect l="0" t="0" r="r" b="b"/>
                <a:pathLst>
                  <a:path w="118" h="95">
                    <a:moveTo>
                      <a:pt x="95" y="95"/>
                    </a:moveTo>
                    <a:lnTo>
                      <a:pt x="118" y="34"/>
                    </a:lnTo>
                    <a:lnTo>
                      <a:pt x="23" y="0"/>
                    </a:lnTo>
                    <a:lnTo>
                      <a:pt x="0" y="61"/>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00" name="Freeform 699"/>
              <p:cNvSpPr>
                <a:spLocks/>
              </p:cNvSpPr>
              <p:nvPr/>
            </p:nvSpPr>
            <p:spPr bwMode="auto">
              <a:xfrm>
                <a:off x="2569022" y="1845655"/>
                <a:ext cx="44026" cy="35735"/>
              </a:xfrm>
              <a:custGeom>
                <a:avLst/>
                <a:gdLst>
                  <a:gd name="T0" fmla="*/ 95 w 116"/>
                  <a:gd name="T1" fmla="*/ 95 h 95"/>
                  <a:gd name="T2" fmla="*/ 116 w 116"/>
                  <a:gd name="T3" fmla="*/ 35 h 95"/>
                  <a:gd name="T4" fmla="*/ 21 w 116"/>
                  <a:gd name="T5" fmla="*/ 0 h 95"/>
                  <a:gd name="T6" fmla="*/ 0 w 116"/>
                  <a:gd name="T7" fmla="*/ 62 h 95"/>
                  <a:gd name="T8" fmla="*/ 95 w 116"/>
                  <a:gd name="T9" fmla="*/ 95 h 95"/>
                </a:gdLst>
                <a:ahLst/>
                <a:cxnLst>
                  <a:cxn ang="0">
                    <a:pos x="T0" y="T1"/>
                  </a:cxn>
                  <a:cxn ang="0">
                    <a:pos x="T2" y="T3"/>
                  </a:cxn>
                  <a:cxn ang="0">
                    <a:pos x="T4" y="T5"/>
                  </a:cxn>
                  <a:cxn ang="0">
                    <a:pos x="T6" y="T7"/>
                  </a:cxn>
                  <a:cxn ang="0">
                    <a:pos x="T8" y="T9"/>
                  </a:cxn>
                </a:cxnLst>
                <a:rect l="0" t="0" r="r" b="b"/>
                <a:pathLst>
                  <a:path w="116" h="95">
                    <a:moveTo>
                      <a:pt x="95" y="95"/>
                    </a:moveTo>
                    <a:lnTo>
                      <a:pt x="116" y="35"/>
                    </a:lnTo>
                    <a:lnTo>
                      <a:pt x="21" y="0"/>
                    </a:lnTo>
                    <a:lnTo>
                      <a:pt x="0" y="62"/>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01" name="Freeform 700"/>
              <p:cNvSpPr>
                <a:spLocks/>
              </p:cNvSpPr>
              <p:nvPr/>
            </p:nvSpPr>
            <p:spPr bwMode="auto">
              <a:xfrm>
                <a:off x="2582686" y="1806940"/>
                <a:ext cx="45544" cy="35735"/>
              </a:xfrm>
              <a:custGeom>
                <a:avLst/>
                <a:gdLst>
                  <a:gd name="T0" fmla="*/ 95 w 117"/>
                  <a:gd name="T1" fmla="*/ 95 h 95"/>
                  <a:gd name="T2" fmla="*/ 117 w 117"/>
                  <a:gd name="T3" fmla="*/ 35 h 95"/>
                  <a:gd name="T4" fmla="*/ 22 w 117"/>
                  <a:gd name="T5" fmla="*/ 0 h 95"/>
                  <a:gd name="T6" fmla="*/ 0 w 117"/>
                  <a:gd name="T7" fmla="*/ 62 h 95"/>
                  <a:gd name="T8" fmla="*/ 95 w 117"/>
                  <a:gd name="T9" fmla="*/ 95 h 95"/>
                </a:gdLst>
                <a:ahLst/>
                <a:cxnLst>
                  <a:cxn ang="0">
                    <a:pos x="T0" y="T1"/>
                  </a:cxn>
                  <a:cxn ang="0">
                    <a:pos x="T2" y="T3"/>
                  </a:cxn>
                  <a:cxn ang="0">
                    <a:pos x="T4" y="T5"/>
                  </a:cxn>
                  <a:cxn ang="0">
                    <a:pos x="T6" y="T7"/>
                  </a:cxn>
                  <a:cxn ang="0">
                    <a:pos x="T8" y="T9"/>
                  </a:cxn>
                </a:cxnLst>
                <a:rect l="0" t="0" r="r" b="b"/>
                <a:pathLst>
                  <a:path w="117" h="95">
                    <a:moveTo>
                      <a:pt x="95" y="95"/>
                    </a:moveTo>
                    <a:lnTo>
                      <a:pt x="117" y="35"/>
                    </a:lnTo>
                    <a:lnTo>
                      <a:pt x="22" y="0"/>
                    </a:lnTo>
                    <a:lnTo>
                      <a:pt x="0" y="62"/>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02" name="Freeform 701"/>
              <p:cNvSpPr>
                <a:spLocks/>
              </p:cNvSpPr>
              <p:nvPr/>
            </p:nvSpPr>
            <p:spPr bwMode="auto">
              <a:xfrm>
                <a:off x="2572059" y="1978174"/>
                <a:ext cx="44026" cy="34248"/>
              </a:xfrm>
              <a:custGeom>
                <a:avLst/>
                <a:gdLst>
                  <a:gd name="T0" fmla="*/ 95 w 117"/>
                  <a:gd name="T1" fmla="*/ 95 h 95"/>
                  <a:gd name="T2" fmla="*/ 117 w 117"/>
                  <a:gd name="T3" fmla="*/ 35 h 95"/>
                  <a:gd name="T4" fmla="*/ 22 w 117"/>
                  <a:gd name="T5" fmla="*/ 0 h 95"/>
                  <a:gd name="T6" fmla="*/ 0 w 117"/>
                  <a:gd name="T7" fmla="*/ 62 h 95"/>
                  <a:gd name="T8" fmla="*/ 95 w 117"/>
                  <a:gd name="T9" fmla="*/ 95 h 95"/>
                </a:gdLst>
                <a:ahLst/>
                <a:cxnLst>
                  <a:cxn ang="0">
                    <a:pos x="T0" y="T1"/>
                  </a:cxn>
                  <a:cxn ang="0">
                    <a:pos x="T2" y="T3"/>
                  </a:cxn>
                  <a:cxn ang="0">
                    <a:pos x="T4" y="T5"/>
                  </a:cxn>
                  <a:cxn ang="0">
                    <a:pos x="T6" y="T7"/>
                  </a:cxn>
                  <a:cxn ang="0">
                    <a:pos x="T8" y="T9"/>
                  </a:cxn>
                </a:cxnLst>
                <a:rect l="0" t="0" r="r" b="b"/>
                <a:pathLst>
                  <a:path w="117" h="95">
                    <a:moveTo>
                      <a:pt x="95" y="95"/>
                    </a:moveTo>
                    <a:lnTo>
                      <a:pt x="117" y="35"/>
                    </a:lnTo>
                    <a:lnTo>
                      <a:pt x="22" y="0"/>
                    </a:lnTo>
                    <a:lnTo>
                      <a:pt x="0" y="62"/>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03" name="Freeform 702"/>
              <p:cNvSpPr>
                <a:spLocks/>
              </p:cNvSpPr>
              <p:nvPr/>
            </p:nvSpPr>
            <p:spPr bwMode="auto">
              <a:xfrm>
                <a:off x="2585722" y="1939460"/>
                <a:ext cx="44026" cy="34248"/>
              </a:xfrm>
              <a:custGeom>
                <a:avLst/>
                <a:gdLst>
                  <a:gd name="T0" fmla="*/ 95 w 118"/>
                  <a:gd name="T1" fmla="*/ 95 h 95"/>
                  <a:gd name="T2" fmla="*/ 118 w 118"/>
                  <a:gd name="T3" fmla="*/ 34 h 95"/>
                  <a:gd name="T4" fmla="*/ 21 w 118"/>
                  <a:gd name="T5" fmla="*/ 0 h 95"/>
                  <a:gd name="T6" fmla="*/ 0 w 118"/>
                  <a:gd name="T7" fmla="*/ 61 h 95"/>
                  <a:gd name="T8" fmla="*/ 95 w 118"/>
                  <a:gd name="T9" fmla="*/ 95 h 95"/>
                </a:gdLst>
                <a:ahLst/>
                <a:cxnLst>
                  <a:cxn ang="0">
                    <a:pos x="T0" y="T1"/>
                  </a:cxn>
                  <a:cxn ang="0">
                    <a:pos x="T2" y="T3"/>
                  </a:cxn>
                  <a:cxn ang="0">
                    <a:pos x="T4" y="T5"/>
                  </a:cxn>
                  <a:cxn ang="0">
                    <a:pos x="T6" y="T7"/>
                  </a:cxn>
                  <a:cxn ang="0">
                    <a:pos x="T8" y="T9"/>
                  </a:cxn>
                </a:cxnLst>
                <a:rect l="0" t="0" r="r" b="b"/>
                <a:pathLst>
                  <a:path w="118" h="95">
                    <a:moveTo>
                      <a:pt x="95" y="95"/>
                    </a:moveTo>
                    <a:lnTo>
                      <a:pt x="118" y="34"/>
                    </a:lnTo>
                    <a:lnTo>
                      <a:pt x="21" y="0"/>
                    </a:lnTo>
                    <a:lnTo>
                      <a:pt x="0" y="61"/>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04" name="Freeform 703"/>
              <p:cNvSpPr>
                <a:spLocks/>
              </p:cNvSpPr>
              <p:nvPr/>
            </p:nvSpPr>
            <p:spPr bwMode="auto">
              <a:xfrm>
                <a:off x="2599385" y="1900746"/>
                <a:ext cx="45544" cy="34248"/>
              </a:xfrm>
              <a:custGeom>
                <a:avLst/>
                <a:gdLst>
                  <a:gd name="T0" fmla="*/ 96 w 117"/>
                  <a:gd name="T1" fmla="*/ 95 h 95"/>
                  <a:gd name="T2" fmla="*/ 117 w 117"/>
                  <a:gd name="T3" fmla="*/ 34 h 95"/>
                  <a:gd name="T4" fmla="*/ 22 w 117"/>
                  <a:gd name="T5" fmla="*/ 0 h 95"/>
                  <a:gd name="T6" fmla="*/ 0 w 117"/>
                  <a:gd name="T7" fmla="*/ 61 h 95"/>
                  <a:gd name="T8" fmla="*/ 96 w 117"/>
                  <a:gd name="T9" fmla="*/ 95 h 95"/>
                </a:gdLst>
                <a:ahLst/>
                <a:cxnLst>
                  <a:cxn ang="0">
                    <a:pos x="T0" y="T1"/>
                  </a:cxn>
                  <a:cxn ang="0">
                    <a:pos x="T2" y="T3"/>
                  </a:cxn>
                  <a:cxn ang="0">
                    <a:pos x="T4" y="T5"/>
                  </a:cxn>
                  <a:cxn ang="0">
                    <a:pos x="T6" y="T7"/>
                  </a:cxn>
                  <a:cxn ang="0">
                    <a:pos x="T8" y="T9"/>
                  </a:cxn>
                </a:cxnLst>
                <a:rect l="0" t="0" r="r" b="b"/>
                <a:pathLst>
                  <a:path w="117" h="95">
                    <a:moveTo>
                      <a:pt x="96" y="95"/>
                    </a:moveTo>
                    <a:lnTo>
                      <a:pt x="117" y="34"/>
                    </a:lnTo>
                    <a:lnTo>
                      <a:pt x="22" y="0"/>
                    </a:lnTo>
                    <a:lnTo>
                      <a:pt x="0" y="61"/>
                    </a:lnTo>
                    <a:lnTo>
                      <a:pt x="96"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05" name="Freeform 704"/>
              <p:cNvSpPr>
                <a:spLocks/>
              </p:cNvSpPr>
              <p:nvPr/>
            </p:nvSpPr>
            <p:spPr bwMode="auto">
              <a:xfrm>
                <a:off x="2614566" y="1862033"/>
                <a:ext cx="44026" cy="35735"/>
              </a:xfrm>
              <a:custGeom>
                <a:avLst/>
                <a:gdLst>
                  <a:gd name="T0" fmla="*/ 95 w 117"/>
                  <a:gd name="T1" fmla="*/ 95 h 95"/>
                  <a:gd name="T2" fmla="*/ 117 w 117"/>
                  <a:gd name="T3" fmla="*/ 35 h 95"/>
                  <a:gd name="T4" fmla="*/ 22 w 117"/>
                  <a:gd name="T5" fmla="*/ 0 h 95"/>
                  <a:gd name="T6" fmla="*/ 0 w 117"/>
                  <a:gd name="T7" fmla="*/ 62 h 95"/>
                  <a:gd name="T8" fmla="*/ 95 w 117"/>
                  <a:gd name="T9" fmla="*/ 95 h 95"/>
                </a:gdLst>
                <a:ahLst/>
                <a:cxnLst>
                  <a:cxn ang="0">
                    <a:pos x="T0" y="T1"/>
                  </a:cxn>
                  <a:cxn ang="0">
                    <a:pos x="T2" y="T3"/>
                  </a:cxn>
                  <a:cxn ang="0">
                    <a:pos x="T4" y="T5"/>
                  </a:cxn>
                  <a:cxn ang="0">
                    <a:pos x="T6" y="T7"/>
                  </a:cxn>
                  <a:cxn ang="0">
                    <a:pos x="T8" y="T9"/>
                  </a:cxn>
                </a:cxnLst>
                <a:rect l="0" t="0" r="r" b="b"/>
                <a:pathLst>
                  <a:path w="117" h="95">
                    <a:moveTo>
                      <a:pt x="95" y="95"/>
                    </a:moveTo>
                    <a:lnTo>
                      <a:pt x="117" y="35"/>
                    </a:lnTo>
                    <a:lnTo>
                      <a:pt x="22" y="0"/>
                    </a:lnTo>
                    <a:lnTo>
                      <a:pt x="0" y="62"/>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06" name="Freeform 705"/>
              <p:cNvSpPr>
                <a:spLocks/>
              </p:cNvSpPr>
              <p:nvPr/>
            </p:nvSpPr>
            <p:spPr bwMode="auto">
              <a:xfrm>
                <a:off x="2628231" y="1823318"/>
                <a:ext cx="44026" cy="35735"/>
              </a:xfrm>
              <a:custGeom>
                <a:avLst/>
                <a:gdLst>
                  <a:gd name="T0" fmla="*/ 95 w 117"/>
                  <a:gd name="T1" fmla="*/ 95 h 95"/>
                  <a:gd name="T2" fmla="*/ 117 w 117"/>
                  <a:gd name="T3" fmla="*/ 34 h 95"/>
                  <a:gd name="T4" fmla="*/ 22 w 117"/>
                  <a:gd name="T5" fmla="*/ 0 h 95"/>
                  <a:gd name="T6" fmla="*/ 0 w 117"/>
                  <a:gd name="T7" fmla="*/ 61 h 95"/>
                  <a:gd name="T8" fmla="*/ 95 w 117"/>
                  <a:gd name="T9" fmla="*/ 95 h 95"/>
                </a:gdLst>
                <a:ahLst/>
                <a:cxnLst>
                  <a:cxn ang="0">
                    <a:pos x="T0" y="T1"/>
                  </a:cxn>
                  <a:cxn ang="0">
                    <a:pos x="T2" y="T3"/>
                  </a:cxn>
                  <a:cxn ang="0">
                    <a:pos x="T4" y="T5"/>
                  </a:cxn>
                  <a:cxn ang="0">
                    <a:pos x="T6" y="T7"/>
                  </a:cxn>
                  <a:cxn ang="0">
                    <a:pos x="T8" y="T9"/>
                  </a:cxn>
                </a:cxnLst>
                <a:rect l="0" t="0" r="r" b="b"/>
                <a:pathLst>
                  <a:path w="117" h="95">
                    <a:moveTo>
                      <a:pt x="95" y="95"/>
                    </a:moveTo>
                    <a:lnTo>
                      <a:pt x="117" y="34"/>
                    </a:lnTo>
                    <a:lnTo>
                      <a:pt x="22" y="0"/>
                    </a:lnTo>
                    <a:lnTo>
                      <a:pt x="0" y="61"/>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07" name="Freeform 706"/>
              <p:cNvSpPr>
                <a:spLocks/>
              </p:cNvSpPr>
              <p:nvPr/>
            </p:nvSpPr>
            <p:spPr bwMode="auto">
              <a:xfrm>
                <a:off x="2644929" y="2003485"/>
                <a:ext cx="44026" cy="35735"/>
              </a:xfrm>
              <a:custGeom>
                <a:avLst/>
                <a:gdLst>
                  <a:gd name="T0" fmla="*/ 96 w 117"/>
                  <a:gd name="T1" fmla="*/ 95 h 95"/>
                  <a:gd name="T2" fmla="*/ 117 w 117"/>
                  <a:gd name="T3" fmla="*/ 34 h 95"/>
                  <a:gd name="T4" fmla="*/ 22 w 117"/>
                  <a:gd name="T5" fmla="*/ 0 h 95"/>
                  <a:gd name="T6" fmla="*/ 0 w 117"/>
                  <a:gd name="T7" fmla="*/ 62 h 95"/>
                  <a:gd name="T8" fmla="*/ 96 w 117"/>
                  <a:gd name="T9" fmla="*/ 95 h 95"/>
                </a:gdLst>
                <a:ahLst/>
                <a:cxnLst>
                  <a:cxn ang="0">
                    <a:pos x="T0" y="T1"/>
                  </a:cxn>
                  <a:cxn ang="0">
                    <a:pos x="T2" y="T3"/>
                  </a:cxn>
                  <a:cxn ang="0">
                    <a:pos x="T4" y="T5"/>
                  </a:cxn>
                  <a:cxn ang="0">
                    <a:pos x="T6" y="T7"/>
                  </a:cxn>
                  <a:cxn ang="0">
                    <a:pos x="T8" y="T9"/>
                  </a:cxn>
                </a:cxnLst>
                <a:rect l="0" t="0" r="r" b="b"/>
                <a:pathLst>
                  <a:path w="117" h="95">
                    <a:moveTo>
                      <a:pt x="96" y="95"/>
                    </a:moveTo>
                    <a:lnTo>
                      <a:pt x="117" y="34"/>
                    </a:lnTo>
                    <a:lnTo>
                      <a:pt x="22" y="0"/>
                    </a:lnTo>
                    <a:lnTo>
                      <a:pt x="0" y="62"/>
                    </a:lnTo>
                    <a:lnTo>
                      <a:pt x="96"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08" name="Freeform 707"/>
              <p:cNvSpPr>
                <a:spLocks/>
              </p:cNvSpPr>
              <p:nvPr/>
            </p:nvSpPr>
            <p:spPr bwMode="auto">
              <a:xfrm>
                <a:off x="2658593" y="1964773"/>
                <a:ext cx="44026" cy="35735"/>
              </a:xfrm>
              <a:custGeom>
                <a:avLst/>
                <a:gdLst>
                  <a:gd name="T0" fmla="*/ 95 w 117"/>
                  <a:gd name="T1" fmla="*/ 95 h 95"/>
                  <a:gd name="T2" fmla="*/ 117 w 117"/>
                  <a:gd name="T3" fmla="*/ 33 h 95"/>
                  <a:gd name="T4" fmla="*/ 22 w 117"/>
                  <a:gd name="T5" fmla="*/ 0 h 95"/>
                  <a:gd name="T6" fmla="*/ 0 w 117"/>
                  <a:gd name="T7" fmla="*/ 61 h 95"/>
                  <a:gd name="T8" fmla="*/ 95 w 117"/>
                  <a:gd name="T9" fmla="*/ 95 h 95"/>
                </a:gdLst>
                <a:ahLst/>
                <a:cxnLst>
                  <a:cxn ang="0">
                    <a:pos x="T0" y="T1"/>
                  </a:cxn>
                  <a:cxn ang="0">
                    <a:pos x="T2" y="T3"/>
                  </a:cxn>
                  <a:cxn ang="0">
                    <a:pos x="T4" y="T5"/>
                  </a:cxn>
                  <a:cxn ang="0">
                    <a:pos x="T6" y="T7"/>
                  </a:cxn>
                  <a:cxn ang="0">
                    <a:pos x="T8" y="T9"/>
                  </a:cxn>
                </a:cxnLst>
                <a:rect l="0" t="0" r="r" b="b"/>
                <a:pathLst>
                  <a:path w="117" h="95">
                    <a:moveTo>
                      <a:pt x="95" y="95"/>
                    </a:moveTo>
                    <a:lnTo>
                      <a:pt x="117" y="33"/>
                    </a:lnTo>
                    <a:lnTo>
                      <a:pt x="22" y="0"/>
                    </a:lnTo>
                    <a:lnTo>
                      <a:pt x="0" y="61"/>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09" name="Freeform 708"/>
              <p:cNvSpPr>
                <a:spLocks/>
              </p:cNvSpPr>
              <p:nvPr/>
            </p:nvSpPr>
            <p:spPr bwMode="auto">
              <a:xfrm>
                <a:off x="2672257" y="1926059"/>
                <a:ext cx="45544" cy="35735"/>
              </a:xfrm>
              <a:custGeom>
                <a:avLst/>
                <a:gdLst>
                  <a:gd name="T0" fmla="*/ 95 w 118"/>
                  <a:gd name="T1" fmla="*/ 95 h 95"/>
                  <a:gd name="T2" fmla="*/ 118 w 118"/>
                  <a:gd name="T3" fmla="*/ 33 h 95"/>
                  <a:gd name="T4" fmla="*/ 22 w 118"/>
                  <a:gd name="T5" fmla="*/ 0 h 95"/>
                  <a:gd name="T6" fmla="*/ 0 w 118"/>
                  <a:gd name="T7" fmla="*/ 62 h 95"/>
                  <a:gd name="T8" fmla="*/ 95 w 118"/>
                  <a:gd name="T9" fmla="*/ 95 h 95"/>
                </a:gdLst>
                <a:ahLst/>
                <a:cxnLst>
                  <a:cxn ang="0">
                    <a:pos x="T0" y="T1"/>
                  </a:cxn>
                  <a:cxn ang="0">
                    <a:pos x="T2" y="T3"/>
                  </a:cxn>
                  <a:cxn ang="0">
                    <a:pos x="T4" y="T5"/>
                  </a:cxn>
                  <a:cxn ang="0">
                    <a:pos x="T6" y="T7"/>
                  </a:cxn>
                  <a:cxn ang="0">
                    <a:pos x="T8" y="T9"/>
                  </a:cxn>
                </a:cxnLst>
                <a:rect l="0" t="0" r="r" b="b"/>
                <a:pathLst>
                  <a:path w="118" h="95">
                    <a:moveTo>
                      <a:pt x="95" y="95"/>
                    </a:moveTo>
                    <a:lnTo>
                      <a:pt x="118" y="33"/>
                    </a:lnTo>
                    <a:lnTo>
                      <a:pt x="22" y="0"/>
                    </a:lnTo>
                    <a:lnTo>
                      <a:pt x="0" y="62"/>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10" name="Freeform 709"/>
              <p:cNvSpPr>
                <a:spLocks/>
              </p:cNvSpPr>
              <p:nvPr/>
            </p:nvSpPr>
            <p:spPr bwMode="auto">
              <a:xfrm>
                <a:off x="2687438" y="1887347"/>
                <a:ext cx="44026" cy="35735"/>
              </a:xfrm>
              <a:custGeom>
                <a:avLst/>
                <a:gdLst>
                  <a:gd name="T0" fmla="*/ 95 w 116"/>
                  <a:gd name="T1" fmla="*/ 95 h 95"/>
                  <a:gd name="T2" fmla="*/ 116 w 116"/>
                  <a:gd name="T3" fmla="*/ 34 h 95"/>
                  <a:gd name="T4" fmla="*/ 21 w 116"/>
                  <a:gd name="T5" fmla="*/ 0 h 95"/>
                  <a:gd name="T6" fmla="*/ 0 w 116"/>
                  <a:gd name="T7" fmla="*/ 62 h 95"/>
                  <a:gd name="T8" fmla="*/ 95 w 116"/>
                  <a:gd name="T9" fmla="*/ 95 h 95"/>
                </a:gdLst>
                <a:ahLst/>
                <a:cxnLst>
                  <a:cxn ang="0">
                    <a:pos x="T0" y="T1"/>
                  </a:cxn>
                  <a:cxn ang="0">
                    <a:pos x="T2" y="T3"/>
                  </a:cxn>
                  <a:cxn ang="0">
                    <a:pos x="T4" y="T5"/>
                  </a:cxn>
                  <a:cxn ang="0">
                    <a:pos x="T6" y="T7"/>
                  </a:cxn>
                  <a:cxn ang="0">
                    <a:pos x="T8" y="T9"/>
                  </a:cxn>
                </a:cxnLst>
                <a:rect l="0" t="0" r="r" b="b"/>
                <a:pathLst>
                  <a:path w="116" h="95">
                    <a:moveTo>
                      <a:pt x="95" y="95"/>
                    </a:moveTo>
                    <a:lnTo>
                      <a:pt x="116" y="34"/>
                    </a:lnTo>
                    <a:lnTo>
                      <a:pt x="21" y="0"/>
                    </a:lnTo>
                    <a:lnTo>
                      <a:pt x="0" y="62"/>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11" name="Freeform 710"/>
              <p:cNvSpPr>
                <a:spLocks/>
              </p:cNvSpPr>
              <p:nvPr/>
            </p:nvSpPr>
            <p:spPr bwMode="auto">
              <a:xfrm>
                <a:off x="2701101" y="1848632"/>
                <a:ext cx="44026" cy="35735"/>
              </a:xfrm>
              <a:custGeom>
                <a:avLst/>
                <a:gdLst>
                  <a:gd name="T0" fmla="*/ 95 w 117"/>
                  <a:gd name="T1" fmla="*/ 95 h 95"/>
                  <a:gd name="T2" fmla="*/ 117 w 117"/>
                  <a:gd name="T3" fmla="*/ 34 h 95"/>
                  <a:gd name="T4" fmla="*/ 22 w 117"/>
                  <a:gd name="T5" fmla="*/ 0 h 95"/>
                  <a:gd name="T6" fmla="*/ 0 w 117"/>
                  <a:gd name="T7" fmla="*/ 61 h 95"/>
                  <a:gd name="T8" fmla="*/ 95 w 117"/>
                  <a:gd name="T9" fmla="*/ 95 h 95"/>
                </a:gdLst>
                <a:ahLst/>
                <a:cxnLst>
                  <a:cxn ang="0">
                    <a:pos x="T0" y="T1"/>
                  </a:cxn>
                  <a:cxn ang="0">
                    <a:pos x="T2" y="T3"/>
                  </a:cxn>
                  <a:cxn ang="0">
                    <a:pos x="T4" y="T5"/>
                  </a:cxn>
                  <a:cxn ang="0">
                    <a:pos x="T6" y="T7"/>
                  </a:cxn>
                  <a:cxn ang="0">
                    <a:pos x="T8" y="T9"/>
                  </a:cxn>
                </a:cxnLst>
                <a:rect l="0" t="0" r="r" b="b"/>
                <a:pathLst>
                  <a:path w="117" h="95">
                    <a:moveTo>
                      <a:pt x="95" y="95"/>
                    </a:moveTo>
                    <a:lnTo>
                      <a:pt x="117" y="34"/>
                    </a:lnTo>
                    <a:lnTo>
                      <a:pt x="22" y="0"/>
                    </a:lnTo>
                    <a:lnTo>
                      <a:pt x="0" y="61"/>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12" name="Freeform 711"/>
              <p:cNvSpPr>
                <a:spLocks/>
              </p:cNvSpPr>
              <p:nvPr/>
            </p:nvSpPr>
            <p:spPr bwMode="auto">
              <a:xfrm>
                <a:off x="2690475" y="2018376"/>
                <a:ext cx="44026" cy="35735"/>
              </a:xfrm>
              <a:custGeom>
                <a:avLst/>
                <a:gdLst>
                  <a:gd name="T0" fmla="*/ 95 w 117"/>
                  <a:gd name="T1" fmla="*/ 96 h 96"/>
                  <a:gd name="T2" fmla="*/ 117 w 117"/>
                  <a:gd name="T3" fmla="*/ 34 h 96"/>
                  <a:gd name="T4" fmla="*/ 22 w 117"/>
                  <a:gd name="T5" fmla="*/ 0 h 96"/>
                  <a:gd name="T6" fmla="*/ 0 w 117"/>
                  <a:gd name="T7" fmla="*/ 61 h 96"/>
                  <a:gd name="T8" fmla="*/ 95 w 117"/>
                  <a:gd name="T9" fmla="*/ 96 h 96"/>
                </a:gdLst>
                <a:ahLst/>
                <a:cxnLst>
                  <a:cxn ang="0">
                    <a:pos x="T0" y="T1"/>
                  </a:cxn>
                  <a:cxn ang="0">
                    <a:pos x="T2" y="T3"/>
                  </a:cxn>
                  <a:cxn ang="0">
                    <a:pos x="T4" y="T5"/>
                  </a:cxn>
                  <a:cxn ang="0">
                    <a:pos x="T6" y="T7"/>
                  </a:cxn>
                  <a:cxn ang="0">
                    <a:pos x="T8" y="T9"/>
                  </a:cxn>
                </a:cxnLst>
                <a:rect l="0" t="0" r="r" b="b"/>
                <a:pathLst>
                  <a:path w="117" h="96">
                    <a:moveTo>
                      <a:pt x="95" y="96"/>
                    </a:moveTo>
                    <a:lnTo>
                      <a:pt x="117" y="34"/>
                    </a:lnTo>
                    <a:lnTo>
                      <a:pt x="22" y="0"/>
                    </a:lnTo>
                    <a:lnTo>
                      <a:pt x="0" y="61"/>
                    </a:lnTo>
                    <a:lnTo>
                      <a:pt x="95" y="9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13" name="Freeform 712"/>
              <p:cNvSpPr>
                <a:spLocks/>
              </p:cNvSpPr>
              <p:nvPr/>
            </p:nvSpPr>
            <p:spPr bwMode="auto">
              <a:xfrm>
                <a:off x="2704137" y="1979662"/>
                <a:ext cx="44026" cy="35735"/>
              </a:xfrm>
              <a:custGeom>
                <a:avLst/>
                <a:gdLst>
                  <a:gd name="T0" fmla="*/ 95 w 117"/>
                  <a:gd name="T1" fmla="*/ 95 h 95"/>
                  <a:gd name="T2" fmla="*/ 117 w 117"/>
                  <a:gd name="T3" fmla="*/ 33 h 95"/>
                  <a:gd name="T4" fmla="*/ 22 w 117"/>
                  <a:gd name="T5" fmla="*/ 0 h 95"/>
                  <a:gd name="T6" fmla="*/ 0 w 117"/>
                  <a:gd name="T7" fmla="*/ 61 h 95"/>
                  <a:gd name="T8" fmla="*/ 95 w 117"/>
                  <a:gd name="T9" fmla="*/ 95 h 95"/>
                </a:gdLst>
                <a:ahLst/>
                <a:cxnLst>
                  <a:cxn ang="0">
                    <a:pos x="T0" y="T1"/>
                  </a:cxn>
                  <a:cxn ang="0">
                    <a:pos x="T2" y="T3"/>
                  </a:cxn>
                  <a:cxn ang="0">
                    <a:pos x="T4" y="T5"/>
                  </a:cxn>
                  <a:cxn ang="0">
                    <a:pos x="T6" y="T7"/>
                  </a:cxn>
                  <a:cxn ang="0">
                    <a:pos x="T8" y="T9"/>
                  </a:cxn>
                </a:cxnLst>
                <a:rect l="0" t="0" r="r" b="b"/>
                <a:pathLst>
                  <a:path w="117" h="95">
                    <a:moveTo>
                      <a:pt x="95" y="95"/>
                    </a:moveTo>
                    <a:lnTo>
                      <a:pt x="117" y="33"/>
                    </a:lnTo>
                    <a:lnTo>
                      <a:pt x="22" y="0"/>
                    </a:lnTo>
                    <a:lnTo>
                      <a:pt x="0" y="61"/>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14" name="Freeform 713"/>
              <p:cNvSpPr>
                <a:spLocks/>
              </p:cNvSpPr>
              <p:nvPr/>
            </p:nvSpPr>
            <p:spPr bwMode="auto">
              <a:xfrm>
                <a:off x="2717801" y="1942438"/>
                <a:ext cx="44026" cy="34248"/>
              </a:xfrm>
              <a:custGeom>
                <a:avLst/>
                <a:gdLst>
                  <a:gd name="T0" fmla="*/ 96 w 117"/>
                  <a:gd name="T1" fmla="*/ 95 h 95"/>
                  <a:gd name="T2" fmla="*/ 117 w 117"/>
                  <a:gd name="T3" fmla="*/ 34 h 95"/>
                  <a:gd name="T4" fmla="*/ 22 w 117"/>
                  <a:gd name="T5" fmla="*/ 0 h 95"/>
                  <a:gd name="T6" fmla="*/ 0 w 117"/>
                  <a:gd name="T7" fmla="*/ 62 h 95"/>
                  <a:gd name="T8" fmla="*/ 96 w 117"/>
                  <a:gd name="T9" fmla="*/ 95 h 95"/>
                </a:gdLst>
                <a:ahLst/>
                <a:cxnLst>
                  <a:cxn ang="0">
                    <a:pos x="T0" y="T1"/>
                  </a:cxn>
                  <a:cxn ang="0">
                    <a:pos x="T2" y="T3"/>
                  </a:cxn>
                  <a:cxn ang="0">
                    <a:pos x="T4" y="T5"/>
                  </a:cxn>
                  <a:cxn ang="0">
                    <a:pos x="T6" y="T7"/>
                  </a:cxn>
                  <a:cxn ang="0">
                    <a:pos x="T8" y="T9"/>
                  </a:cxn>
                </a:cxnLst>
                <a:rect l="0" t="0" r="r" b="b"/>
                <a:pathLst>
                  <a:path w="117" h="95">
                    <a:moveTo>
                      <a:pt x="96" y="95"/>
                    </a:moveTo>
                    <a:lnTo>
                      <a:pt x="117" y="34"/>
                    </a:lnTo>
                    <a:lnTo>
                      <a:pt x="22" y="0"/>
                    </a:lnTo>
                    <a:lnTo>
                      <a:pt x="0" y="62"/>
                    </a:lnTo>
                    <a:lnTo>
                      <a:pt x="96"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15" name="Freeform 714"/>
              <p:cNvSpPr>
                <a:spLocks/>
              </p:cNvSpPr>
              <p:nvPr/>
            </p:nvSpPr>
            <p:spPr bwMode="auto">
              <a:xfrm>
                <a:off x="2763345" y="2045177"/>
                <a:ext cx="44026" cy="34248"/>
              </a:xfrm>
              <a:custGeom>
                <a:avLst/>
                <a:gdLst>
                  <a:gd name="T0" fmla="*/ 95 w 116"/>
                  <a:gd name="T1" fmla="*/ 95 h 95"/>
                  <a:gd name="T2" fmla="*/ 116 w 116"/>
                  <a:gd name="T3" fmla="*/ 33 h 95"/>
                  <a:gd name="T4" fmla="*/ 21 w 116"/>
                  <a:gd name="T5" fmla="*/ 0 h 95"/>
                  <a:gd name="T6" fmla="*/ 0 w 116"/>
                  <a:gd name="T7" fmla="*/ 60 h 95"/>
                  <a:gd name="T8" fmla="*/ 95 w 116"/>
                  <a:gd name="T9" fmla="*/ 95 h 95"/>
                </a:gdLst>
                <a:ahLst/>
                <a:cxnLst>
                  <a:cxn ang="0">
                    <a:pos x="T0" y="T1"/>
                  </a:cxn>
                  <a:cxn ang="0">
                    <a:pos x="T2" y="T3"/>
                  </a:cxn>
                  <a:cxn ang="0">
                    <a:pos x="T4" y="T5"/>
                  </a:cxn>
                  <a:cxn ang="0">
                    <a:pos x="T6" y="T7"/>
                  </a:cxn>
                  <a:cxn ang="0">
                    <a:pos x="T8" y="T9"/>
                  </a:cxn>
                </a:cxnLst>
                <a:rect l="0" t="0" r="r" b="b"/>
                <a:pathLst>
                  <a:path w="116" h="95">
                    <a:moveTo>
                      <a:pt x="95" y="95"/>
                    </a:moveTo>
                    <a:lnTo>
                      <a:pt x="116" y="33"/>
                    </a:lnTo>
                    <a:lnTo>
                      <a:pt x="21" y="0"/>
                    </a:lnTo>
                    <a:lnTo>
                      <a:pt x="0" y="60"/>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16" name="Freeform 715"/>
              <p:cNvSpPr>
                <a:spLocks/>
              </p:cNvSpPr>
              <p:nvPr/>
            </p:nvSpPr>
            <p:spPr bwMode="auto">
              <a:xfrm>
                <a:off x="2777007" y="2006465"/>
                <a:ext cx="44026" cy="34248"/>
              </a:xfrm>
              <a:custGeom>
                <a:avLst/>
                <a:gdLst>
                  <a:gd name="T0" fmla="*/ 95 w 117"/>
                  <a:gd name="T1" fmla="*/ 95 h 95"/>
                  <a:gd name="T2" fmla="*/ 117 w 117"/>
                  <a:gd name="T3" fmla="*/ 33 h 95"/>
                  <a:gd name="T4" fmla="*/ 22 w 117"/>
                  <a:gd name="T5" fmla="*/ 0 h 95"/>
                  <a:gd name="T6" fmla="*/ 0 w 117"/>
                  <a:gd name="T7" fmla="*/ 60 h 95"/>
                  <a:gd name="T8" fmla="*/ 95 w 117"/>
                  <a:gd name="T9" fmla="*/ 95 h 95"/>
                </a:gdLst>
                <a:ahLst/>
                <a:cxnLst>
                  <a:cxn ang="0">
                    <a:pos x="T0" y="T1"/>
                  </a:cxn>
                  <a:cxn ang="0">
                    <a:pos x="T2" y="T3"/>
                  </a:cxn>
                  <a:cxn ang="0">
                    <a:pos x="T4" y="T5"/>
                  </a:cxn>
                  <a:cxn ang="0">
                    <a:pos x="T6" y="T7"/>
                  </a:cxn>
                  <a:cxn ang="0">
                    <a:pos x="T8" y="T9"/>
                  </a:cxn>
                </a:cxnLst>
                <a:rect l="0" t="0" r="r" b="b"/>
                <a:pathLst>
                  <a:path w="117" h="95">
                    <a:moveTo>
                      <a:pt x="95" y="95"/>
                    </a:moveTo>
                    <a:lnTo>
                      <a:pt x="117" y="33"/>
                    </a:lnTo>
                    <a:lnTo>
                      <a:pt x="22" y="0"/>
                    </a:lnTo>
                    <a:lnTo>
                      <a:pt x="0" y="60"/>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17" name="Freeform 716"/>
              <p:cNvSpPr>
                <a:spLocks/>
              </p:cNvSpPr>
              <p:nvPr/>
            </p:nvSpPr>
            <p:spPr bwMode="auto">
              <a:xfrm>
                <a:off x="2790671" y="1967750"/>
                <a:ext cx="44026" cy="35735"/>
              </a:xfrm>
              <a:custGeom>
                <a:avLst/>
                <a:gdLst>
                  <a:gd name="T0" fmla="*/ 95 w 117"/>
                  <a:gd name="T1" fmla="*/ 95 h 95"/>
                  <a:gd name="T2" fmla="*/ 117 w 117"/>
                  <a:gd name="T3" fmla="*/ 34 h 95"/>
                  <a:gd name="T4" fmla="*/ 22 w 117"/>
                  <a:gd name="T5" fmla="*/ 0 h 95"/>
                  <a:gd name="T6" fmla="*/ 0 w 117"/>
                  <a:gd name="T7" fmla="*/ 61 h 95"/>
                  <a:gd name="T8" fmla="*/ 95 w 117"/>
                  <a:gd name="T9" fmla="*/ 95 h 95"/>
                </a:gdLst>
                <a:ahLst/>
                <a:cxnLst>
                  <a:cxn ang="0">
                    <a:pos x="T0" y="T1"/>
                  </a:cxn>
                  <a:cxn ang="0">
                    <a:pos x="T2" y="T3"/>
                  </a:cxn>
                  <a:cxn ang="0">
                    <a:pos x="T4" y="T5"/>
                  </a:cxn>
                  <a:cxn ang="0">
                    <a:pos x="T6" y="T7"/>
                  </a:cxn>
                  <a:cxn ang="0">
                    <a:pos x="T8" y="T9"/>
                  </a:cxn>
                </a:cxnLst>
                <a:rect l="0" t="0" r="r" b="b"/>
                <a:pathLst>
                  <a:path w="117" h="95">
                    <a:moveTo>
                      <a:pt x="95" y="95"/>
                    </a:moveTo>
                    <a:lnTo>
                      <a:pt x="117" y="34"/>
                    </a:lnTo>
                    <a:lnTo>
                      <a:pt x="22" y="0"/>
                    </a:lnTo>
                    <a:lnTo>
                      <a:pt x="0" y="61"/>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18" name="Freeform 717"/>
              <p:cNvSpPr>
                <a:spLocks/>
              </p:cNvSpPr>
              <p:nvPr/>
            </p:nvSpPr>
            <p:spPr bwMode="auto">
              <a:xfrm>
                <a:off x="2804333" y="1929039"/>
                <a:ext cx="45544" cy="35735"/>
              </a:xfrm>
              <a:custGeom>
                <a:avLst/>
                <a:gdLst>
                  <a:gd name="T0" fmla="*/ 96 w 117"/>
                  <a:gd name="T1" fmla="*/ 95 h 95"/>
                  <a:gd name="T2" fmla="*/ 117 w 117"/>
                  <a:gd name="T3" fmla="*/ 33 h 95"/>
                  <a:gd name="T4" fmla="*/ 22 w 117"/>
                  <a:gd name="T5" fmla="*/ 0 h 95"/>
                  <a:gd name="T6" fmla="*/ 0 w 117"/>
                  <a:gd name="T7" fmla="*/ 60 h 95"/>
                  <a:gd name="T8" fmla="*/ 96 w 117"/>
                  <a:gd name="T9" fmla="*/ 95 h 95"/>
                </a:gdLst>
                <a:ahLst/>
                <a:cxnLst>
                  <a:cxn ang="0">
                    <a:pos x="T0" y="T1"/>
                  </a:cxn>
                  <a:cxn ang="0">
                    <a:pos x="T2" y="T3"/>
                  </a:cxn>
                  <a:cxn ang="0">
                    <a:pos x="T4" y="T5"/>
                  </a:cxn>
                  <a:cxn ang="0">
                    <a:pos x="T6" y="T7"/>
                  </a:cxn>
                  <a:cxn ang="0">
                    <a:pos x="T8" y="T9"/>
                  </a:cxn>
                </a:cxnLst>
                <a:rect l="0" t="0" r="r" b="b"/>
                <a:pathLst>
                  <a:path w="117" h="95">
                    <a:moveTo>
                      <a:pt x="96" y="95"/>
                    </a:moveTo>
                    <a:lnTo>
                      <a:pt x="117" y="33"/>
                    </a:lnTo>
                    <a:lnTo>
                      <a:pt x="22" y="0"/>
                    </a:lnTo>
                    <a:lnTo>
                      <a:pt x="0" y="60"/>
                    </a:lnTo>
                    <a:lnTo>
                      <a:pt x="96"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19" name="Freeform 718"/>
              <p:cNvSpPr>
                <a:spLocks/>
              </p:cNvSpPr>
              <p:nvPr/>
            </p:nvSpPr>
            <p:spPr bwMode="auto">
              <a:xfrm>
                <a:off x="2819515" y="1890323"/>
                <a:ext cx="44026" cy="35735"/>
              </a:xfrm>
              <a:custGeom>
                <a:avLst/>
                <a:gdLst>
                  <a:gd name="T0" fmla="*/ 96 w 117"/>
                  <a:gd name="T1" fmla="*/ 95 h 95"/>
                  <a:gd name="T2" fmla="*/ 117 w 117"/>
                  <a:gd name="T3" fmla="*/ 33 h 95"/>
                  <a:gd name="T4" fmla="*/ 22 w 117"/>
                  <a:gd name="T5" fmla="*/ 0 h 95"/>
                  <a:gd name="T6" fmla="*/ 0 w 117"/>
                  <a:gd name="T7" fmla="*/ 60 h 95"/>
                  <a:gd name="T8" fmla="*/ 96 w 117"/>
                  <a:gd name="T9" fmla="*/ 95 h 95"/>
                </a:gdLst>
                <a:ahLst/>
                <a:cxnLst>
                  <a:cxn ang="0">
                    <a:pos x="T0" y="T1"/>
                  </a:cxn>
                  <a:cxn ang="0">
                    <a:pos x="T2" y="T3"/>
                  </a:cxn>
                  <a:cxn ang="0">
                    <a:pos x="T4" y="T5"/>
                  </a:cxn>
                  <a:cxn ang="0">
                    <a:pos x="T6" y="T7"/>
                  </a:cxn>
                  <a:cxn ang="0">
                    <a:pos x="T8" y="T9"/>
                  </a:cxn>
                </a:cxnLst>
                <a:rect l="0" t="0" r="r" b="b"/>
                <a:pathLst>
                  <a:path w="117" h="95">
                    <a:moveTo>
                      <a:pt x="96" y="95"/>
                    </a:moveTo>
                    <a:lnTo>
                      <a:pt x="117" y="33"/>
                    </a:lnTo>
                    <a:lnTo>
                      <a:pt x="22" y="0"/>
                    </a:lnTo>
                    <a:lnTo>
                      <a:pt x="0" y="60"/>
                    </a:lnTo>
                    <a:lnTo>
                      <a:pt x="96"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20" name="Freeform 719"/>
              <p:cNvSpPr>
                <a:spLocks/>
              </p:cNvSpPr>
              <p:nvPr/>
            </p:nvSpPr>
            <p:spPr bwMode="auto">
              <a:xfrm>
                <a:off x="2807370" y="2060068"/>
                <a:ext cx="44026" cy="35735"/>
              </a:xfrm>
              <a:custGeom>
                <a:avLst/>
                <a:gdLst>
                  <a:gd name="T0" fmla="*/ 95 w 117"/>
                  <a:gd name="T1" fmla="*/ 95 h 95"/>
                  <a:gd name="T2" fmla="*/ 117 w 117"/>
                  <a:gd name="T3" fmla="*/ 33 h 95"/>
                  <a:gd name="T4" fmla="*/ 22 w 117"/>
                  <a:gd name="T5" fmla="*/ 0 h 95"/>
                  <a:gd name="T6" fmla="*/ 0 w 117"/>
                  <a:gd name="T7" fmla="*/ 60 h 95"/>
                  <a:gd name="T8" fmla="*/ 95 w 117"/>
                  <a:gd name="T9" fmla="*/ 95 h 95"/>
                </a:gdLst>
                <a:ahLst/>
                <a:cxnLst>
                  <a:cxn ang="0">
                    <a:pos x="T0" y="T1"/>
                  </a:cxn>
                  <a:cxn ang="0">
                    <a:pos x="T2" y="T3"/>
                  </a:cxn>
                  <a:cxn ang="0">
                    <a:pos x="T4" y="T5"/>
                  </a:cxn>
                  <a:cxn ang="0">
                    <a:pos x="T6" y="T7"/>
                  </a:cxn>
                  <a:cxn ang="0">
                    <a:pos x="T8" y="T9"/>
                  </a:cxn>
                </a:cxnLst>
                <a:rect l="0" t="0" r="r" b="b"/>
                <a:pathLst>
                  <a:path w="117" h="95">
                    <a:moveTo>
                      <a:pt x="95" y="95"/>
                    </a:moveTo>
                    <a:lnTo>
                      <a:pt x="117" y="33"/>
                    </a:lnTo>
                    <a:lnTo>
                      <a:pt x="22" y="0"/>
                    </a:lnTo>
                    <a:lnTo>
                      <a:pt x="0" y="60"/>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21" name="Freeform 720"/>
              <p:cNvSpPr>
                <a:spLocks/>
              </p:cNvSpPr>
              <p:nvPr/>
            </p:nvSpPr>
            <p:spPr bwMode="auto">
              <a:xfrm>
                <a:off x="2821034" y="2021354"/>
                <a:ext cx="45544" cy="35735"/>
              </a:xfrm>
              <a:custGeom>
                <a:avLst/>
                <a:gdLst>
                  <a:gd name="T0" fmla="*/ 95 w 117"/>
                  <a:gd name="T1" fmla="*/ 95 h 95"/>
                  <a:gd name="T2" fmla="*/ 117 w 117"/>
                  <a:gd name="T3" fmla="*/ 34 h 95"/>
                  <a:gd name="T4" fmla="*/ 22 w 117"/>
                  <a:gd name="T5" fmla="*/ 0 h 95"/>
                  <a:gd name="T6" fmla="*/ 0 w 117"/>
                  <a:gd name="T7" fmla="*/ 61 h 95"/>
                  <a:gd name="T8" fmla="*/ 95 w 117"/>
                  <a:gd name="T9" fmla="*/ 95 h 95"/>
                </a:gdLst>
                <a:ahLst/>
                <a:cxnLst>
                  <a:cxn ang="0">
                    <a:pos x="T0" y="T1"/>
                  </a:cxn>
                  <a:cxn ang="0">
                    <a:pos x="T2" y="T3"/>
                  </a:cxn>
                  <a:cxn ang="0">
                    <a:pos x="T4" y="T5"/>
                  </a:cxn>
                  <a:cxn ang="0">
                    <a:pos x="T6" y="T7"/>
                  </a:cxn>
                  <a:cxn ang="0">
                    <a:pos x="T8" y="T9"/>
                  </a:cxn>
                </a:cxnLst>
                <a:rect l="0" t="0" r="r" b="b"/>
                <a:pathLst>
                  <a:path w="117" h="95">
                    <a:moveTo>
                      <a:pt x="95" y="95"/>
                    </a:moveTo>
                    <a:lnTo>
                      <a:pt x="117" y="34"/>
                    </a:lnTo>
                    <a:lnTo>
                      <a:pt x="22" y="0"/>
                    </a:lnTo>
                    <a:lnTo>
                      <a:pt x="0" y="61"/>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22" name="Freeform 721"/>
              <p:cNvSpPr>
                <a:spLocks/>
              </p:cNvSpPr>
              <p:nvPr/>
            </p:nvSpPr>
            <p:spPr bwMode="auto">
              <a:xfrm>
                <a:off x="2836215" y="1982641"/>
                <a:ext cx="44026" cy="35735"/>
              </a:xfrm>
              <a:custGeom>
                <a:avLst/>
                <a:gdLst>
                  <a:gd name="T0" fmla="*/ 95 w 117"/>
                  <a:gd name="T1" fmla="*/ 95 h 95"/>
                  <a:gd name="T2" fmla="*/ 117 w 117"/>
                  <a:gd name="T3" fmla="*/ 34 h 95"/>
                  <a:gd name="T4" fmla="*/ 22 w 117"/>
                  <a:gd name="T5" fmla="*/ 0 h 95"/>
                  <a:gd name="T6" fmla="*/ 0 w 117"/>
                  <a:gd name="T7" fmla="*/ 61 h 95"/>
                  <a:gd name="T8" fmla="*/ 95 w 117"/>
                  <a:gd name="T9" fmla="*/ 95 h 95"/>
                </a:gdLst>
                <a:ahLst/>
                <a:cxnLst>
                  <a:cxn ang="0">
                    <a:pos x="T0" y="T1"/>
                  </a:cxn>
                  <a:cxn ang="0">
                    <a:pos x="T2" y="T3"/>
                  </a:cxn>
                  <a:cxn ang="0">
                    <a:pos x="T4" y="T5"/>
                  </a:cxn>
                  <a:cxn ang="0">
                    <a:pos x="T6" y="T7"/>
                  </a:cxn>
                  <a:cxn ang="0">
                    <a:pos x="T8" y="T9"/>
                  </a:cxn>
                </a:cxnLst>
                <a:rect l="0" t="0" r="r" b="b"/>
                <a:pathLst>
                  <a:path w="117" h="95">
                    <a:moveTo>
                      <a:pt x="95" y="95"/>
                    </a:moveTo>
                    <a:lnTo>
                      <a:pt x="117" y="34"/>
                    </a:lnTo>
                    <a:lnTo>
                      <a:pt x="22" y="0"/>
                    </a:lnTo>
                    <a:lnTo>
                      <a:pt x="0" y="61"/>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23" name="Freeform 722"/>
              <p:cNvSpPr>
                <a:spLocks/>
              </p:cNvSpPr>
              <p:nvPr/>
            </p:nvSpPr>
            <p:spPr bwMode="auto">
              <a:xfrm>
                <a:off x="2849878" y="1943927"/>
                <a:ext cx="44026" cy="35735"/>
              </a:xfrm>
              <a:custGeom>
                <a:avLst/>
                <a:gdLst>
                  <a:gd name="T0" fmla="*/ 96 w 117"/>
                  <a:gd name="T1" fmla="*/ 95 h 95"/>
                  <a:gd name="T2" fmla="*/ 117 w 117"/>
                  <a:gd name="T3" fmla="*/ 33 h 95"/>
                  <a:gd name="T4" fmla="*/ 22 w 117"/>
                  <a:gd name="T5" fmla="*/ 0 h 95"/>
                  <a:gd name="T6" fmla="*/ 0 w 117"/>
                  <a:gd name="T7" fmla="*/ 60 h 95"/>
                  <a:gd name="T8" fmla="*/ 96 w 117"/>
                  <a:gd name="T9" fmla="*/ 95 h 95"/>
                </a:gdLst>
                <a:ahLst/>
                <a:cxnLst>
                  <a:cxn ang="0">
                    <a:pos x="T0" y="T1"/>
                  </a:cxn>
                  <a:cxn ang="0">
                    <a:pos x="T2" y="T3"/>
                  </a:cxn>
                  <a:cxn ang="0">
                    <a:pos x="T4" y="T5"/>
                  </a:cxn>
                  <a:cxn ang="0">
                    <a:pos x="T6" y="T7"/>
                  </a:cxn>
                  <a:cxn ang="0">
                    <a:pos x="T8" y="T9"/>
                  </a:cxn>
                </a:cxnLst>
                <a:rect l="0" t="0" r="r" b="b"/>
                <a:pathLst>
                  <a:path w="117" h="95">
                    <a:moveTo>
                      <a:pt x="96" y="95"/>
                    </a:moveTo>
                    <a:lnTo>
                      <a:pt x="117" y="33"/>
                    </a:lnTo>
                    <a:lnTo>
                      <a:pt x="22" y="0"/>
                    </a:lnTo>
                    <a:lnTo>
                      <a:pt x="0" y="60"/>
                    </a:lnTo>
                    <a:lnTo>
                      <a:pt x="96"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724" name="Freeform 723"/>
              <p:cNvSpPr>
                <a:spLocks/>
              </p:cNvSpPr>
              <p:nvPr/>
            </p:nvSpPr>
            <p:spPr bwMode="auto">
              <a:xfrm>
                <a:off x="2863542" y="1906702"/>
                <a:ext cx="44026" cy="34248"/>
              </a:xfrm>
              <a:custGeom>
                <a:avLst/>
                <a:gdLst>
                  <a:gd name="T0" fmla="*/ 95 w 117"/>
                  <a:gd name="T1" fmla="*/ 95 h 95"/>
                  <a:gd name="T2" fmla="*/ 117 w 117"/>
                  <a:gd name="T3" fmla="*/ 33 h 95"/>
                  <a:gd name="T4" fmla="*/ 22 w 117"/>
                  <a:gd name="T5" fmla="*/ 0 h 95"/>
                  <a:gd name="T6" fmla="*/ 0 w 117"/>
                  <a:gd name="T7" fmla="*/ 60 h 95"/>
                  <a:gd name="T8" fmla="*/ 95 w 117"/>
                  <a:gd name="T9" fmla="*/ 95 h 95"/>
                </a:gdLst>
                <a:ahLst/>
                <a:cxnLst>
                  <a:cxn ang="0">
                    <a:pos x="T0" y="T1"/>
                  </a:cxn>
                  <a:cxn ang="0">
                    <a:pos x="T2" y="T3"/>
                  </a:cxn>
                  <a:cxn ang="0">
                    <a:pos x="T4" y="T5"/>
                  </a:cxn>
                  <a:cxn ang="0">
                    <a:pos x="T6" y="T7"/>
                  </a:cxn>
                  <a:cxn ang="0">
                    <a:pos x="T8" y="T9"/>
                  </a:cxn>
                </a:cxnLst>
                <a:rect l="0" t="0" r="r" b="b"/>
                <a:pathLst>
                  <a:path w="117" h="95">
                    <a:moveTo>
                      <a:pt x="95" y="95"/>
                    </a:moveTo>
                    <a:lnTo>
                      <a:pt x="117" y="33"/>
                    </a:lnTo>
                    <a:lnTo>
                      <a:pt x="22" y="0"/>
                    </a:lnTo>
                    <a:lnTo>
                      <a:pt x="0" y="60"/>
                    </a:lnTo>
                    <a:lnTo>
                      <a:pt x="95" y="9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grpSp>
          <p:nvGrpSpPr>
            <p:cNvPr id="564" name="Group 563"/>
            <p:cNvGrpSpPr/>
            <p:nvPr/>
          </p:nvGrpSpPr>
          <p:grpSpPr>
            <a:xfrm>
              <a:off x="3402138" y="3852800"/>
              <a:ext cx="681221" cy="1027517"/>
              <a:chOff x="3699123" y="3472188"/>
              <a:chExt cx="601184" cy="906793"/>
            </a:xfrm>
          </p:grpSpPr>
          <p:sp>
            <p:nvSpPr>
              <p:cNvPr id="658" name="Freeform 657"/>
              <p:cNvSpPr>
                <a:spLocks/>
              </p:cNvSpPr>
              <p:nvPr/>
            </p:nvSpPr>
            <p:spPr bwMode="auto">
              <a:xfrm>
                <a:off x="3699123" y="3472188"/>
                <a:ext cx="601184" cy="906793"/>
              </a:xfrm>
              <a:custGeom>
                <a:avLst/>
                <a:gdLst>
                  <a:gd name="T0" fmla="*/ 11 w 1585"/>
                  <a:gd name="T1" fmla="*/ 2046 h 2434"/>
                  <a:gd name="T2" fmla="*/ 11 w 1585"/>
                  <a:gd name="T3" fmla="*/ 2046 h 2434"/>
                  <a:gd name="T4" fmla="*/ 7 w 1585"/>
                  <a:gd name="T5" fmla="*/ 2060 h 2434"/>
                  <a:gd name="T6" fmla="*/ 3 w 1585"/>
                  <a:gd name="T7" fmla="*/ 2074 h 2434"/>
                  <a:gd name="T8" fmla="*/ 1 w 1585"/>
                  <a:gd name="T9" fmla="*/ 2087 h 2434"/>
                  <a:gd name="T10" fmla="*/ 0 w 1585"/>
                  <a:gd name="T11" fmla="*/ 2101 h 2434"/>
                  <a:gd name="T12" fmla="*/ 1 w 1585"/>
                  <a:gd name="T13" fmla="*/ 2115 h 2434"/>
                  <a:gd name="T14" fmla="*/ 3 w 1585"/>
                  <a:gd name="T15" fmla="*/ 2128 h 2434"/>
                  <a:gd name="T16" fmla="*/ 7 w 1585"/>
                  <a:gd name="T17" fmla="*/ 2142 h 2434"/>
                  <a:gd name="T18" fmla="*/ 11 w 1585"/>
                  <a:gd name="T19" fmla="*/ 2155 h 2434"/>
                  <a:gd name="T20" fmla="*/ 16 w 1585"/>
                  <a:gd name="T21" fmla="*/ 2167 h 2434"/>
                  <a:gd name="T22" fmla="*/ 24 w 1585"/>
                  <a:gd name="T23" fmla="*/ 2179 h 2434"/>
                  <a:gd name="T24" fmla="*/ 32 w 1585"/>
                  <a:gd name="T25" fmla="*/ 2190 h 2434"/>
                  <a:gd name="T26" fmla="*/ 41 w 1585"/>
                  <a:gd name="T27" fmla="*/ 2201 h 2434"/>
                  <a:gd name="T28" fmla="*/ 51 w 1585"/>
                  <a:gd name="T29" fmla="*/ 2209 h 2434"/>
                  <a:gd name="T30" fmla="*/ 62 w 1585"/>
                  <a:gd name="T31" fmla="*/ 2218 h 2434"/>
                  <a:gd name="T32" fmla="*/ 75 w 1585"/>
                  <a:gd name="T33" fmla="*/ 2226 h 2434"/>
                  <a:gd name="T34" fmla="*/ 88 w 1585"/>
                  <a:gd name="T35" fmla="*/ 2232 h 2434"/>
                  <a:gd name="T36" fmla="*/ 543 w 1585"/>
                  <a:gd name="T37" fmla="*/ 2422 h 2434"/>
                  <a:gd name="T38" fmla="*/ 543 w 1585"/>
                  <a:gd name="T39" fmla="*/ 2422 h 2434"/>
                  <a:gd name="T40" fmla="*/ 558 w 1585"/>
                  <a:gd name="T41" fmla="*/ 2428 h 2434"/>
                  <a:gd name="T42" fmla="*/ 570 w 1585"/>
                  <a:gd name="T43" fmla="*/ 2431 h 2434"/>
                  <a:gd name="T44" fmla="*/ 585 w 1585"/>
                  <a:gd name="T45" fmla="*/ 2433 h 2434"/>
                  <a:gd name="T46" fmla="*/ 599 w 1585"/>
                  <a:gd name="T47" fmla="*/ 2434 h 2434"/>
                  <a:gd name="T48" fmla="*/ 613 w 1585"/>
                  <a:gd name="T49" fmla="*/ 2433 h 2434"/>
                  <a:gd name="T50" fmla="*/ 626 w 1585"/>
                  <a:gd name="T51" fmla="*/ 2431 h 2434"/>
                  <a:gd name="T52" fmla="*/ 639 w 1585"/>
                  <a:gd name="T53" fmla="*/ 2428 h 2434"/>
                  <a:gd name="T54" fmla="*/ 651 w 1585"/>
                  <a:gd name="T55" fmla="*/ 2423 h 2434"/>
                  <a:gd name="T56" fmla="*/ 664 w 1585"/>
                  <a:gd name="T57" fmla="*/ 2417 h 2434"/>
                  <a:gd name="T58" fmla="*/ 675 w 1585"/>
                  <a:gd name="T59" fmla="*/ 2410 h 2434"/>
                  <a:gd name="T60" fmla="*/ 687 w 1585"/>
                  <a:gd name="T61" fmla="*/ 2403 h 2434"/>
                  <a:gd name="T62" fmla="*/ 697 w 1585"/>
                  <a:gd name="T63" fmla="*/ 2393 h 2434"/>
                  <a:gd name="T64" fmla="*/ 707 w 1585"/>
                  <a:gd name="T65" fmla="*/ 2383 h 2434"/>
                  <a:gd name="T66" fmla="*/ 715 w 1585"/>
                  <a:gd name="T67" fmla="*/ 2371 h 2434"/>
                  <a:gd name="T68" fmla="*/ 723 w 1585"/>
                  <a:gd name="T69" fmla="*/ 2360 h 2434"/>
                  <a:gd name="T70" fmla="*/ 728 w 1585"/>
                  <a:gd name="T71" fmla="*/ 2347 h 2434"/>
                  <a:gd name="T72" fmla="*/ 1585 w 1585"/>
                  <a:gd name="T73" fmla="*/ 299 h 2434"/>
                  <a:gd name="T74" fmla="*/ 867 w 1585"/>
                  <a:gd name="T75" fmla="*/ 0 h 2434"/>
                  <a:gd name="T76" fmla="*/ 11 w 1585"/>
                  <a:gd name="T77" fmla="*/ 2046 h 2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85" h="2434">
                    <a:moveTo>
                      <a:pt x="11" y="2046"/>
                    </a:moveTo>
                    <a:lnTo>
                      <a:pt x="11" y="2046"/>
                    </a:lnTo>
                    <a:lnTo>
                      <a:pt x="7" y="2060"/>
                    </a:lnTo>
                    <a:lnTo>
                      <a:pt x="3" y="2074"/>
                    </a:lnTo>
                    <a:lnTo>
                      <a:pt x="1" y="2087"/>
                    </a:lnTo>
                    <a:lnTo>
                      <a:pt x="0" y="2101"/>
                    </a:lnTo>
                    <a:lnTo>
                      <a:pt x="1" y="2115"/>
                    </a:lnTo>
                    <a:lnTo>
                      <a:pt x="3" y="2128"/>
                    </a:lnTo>
                    <a:lnTo>
                      <a:pt x="7" y="2142"/>
                    </a:lnTo>
                    <a:lnTo>
                      <a:pt x="11" y="2155"/>
                    </a:lnTo>
                    <a:lnTo>
                      <a:pt x="16" y="2167"/>
                    </a:lnTo>
                    <a:lnTo>
                      <a:pt x="24" y="2179"/>
                    </a:lnTo>
                    <a:lnTo>
                      <a:pt x="32" y="2190"/>
                    </a:lnTo>
                    <a:lnTo>
                      <a:pt x="41" y="2201"/>
                    </a:lnTo>
                    <a:lnTo>
                      <a:pt x="51" y="2209"/>
                    </a:lnTo>
                    <a:lnTo>
                      <a:pt x="62" y="2218"/>
                    </a:lnTo>
                    <a:lnTo>
                      <a:pt x="75" y="2226"/>
                    </a:lnTo>
                    <a:lnTo>
                      <a:pt x="88" y="2232"/>
                    </a:lnTo>
                    <a:lnTo>
                      <a:pt x="543" y="2422"/>
                    </a:lnTo>
                    <a:lnTo>
                      <a:pt x="543" y="2422"/>
                    </a:lnTo>
                    <a:lnTo>
                      <a:pt x="558" y="2428"/>
                    </a:lnTo>
                    <a:lnTo>
                      <a:pt x="570" y="2431"/>
                    </a:lnTo>
                    <a:lnTo>
                      <a:pt x="585" y="2433"/>
                    </a:lnTo>
                    <a:lnTo>
                      <a:pt x="599" y="2434"/>
                    </a:lnTo>
                    <a:lnTo>
                      <a:pt x="613" y="2433"/>
                    </a:lnTo>
                    <a:lnTo>
                      <a:pt x="626" y="2431"/>
                    </a:lnTo>
                    <a:lnTo>
                      <a:pt x="639" y="2428"/>
                    </a:lnTo>
                    <a:lnTo>
                      <a:pt x="651" y="2423"/>
                    </a:lnTo>
                    <a:lnTo>
                      <a:pt x="664" y="2417"/>
                    </a:lnTo>
                    <a:lnTo>
                      <a:pt x="675" y="2410"/>
                    </a:lnTo>
                    <a:lnTo>
                      <a:pt x="687" y="2403"/>
                    </a:lnTo>
                    <a:lnTo>
                      <a:pt x="697" y="2393"/>
                    </a:lnTo>
                    <a:lnTo>
                      <a:pt x="707" y="2383"/>
                    </a:lnTo>
                    <a:lnTo>
                      <a:pt x="715" y="2371"/>
                    </a:lnTo>
                    <a:lnTo>
                      <a:pt x="723" y="2360"/>
                    </a:lnTo>
                    <a:lnTo>
                      <a:pt x="728" y="2347"/>
                    </a:lnTo>
                    <a:lnTo>
                      <a:pt x="1585" y="299"/>
                    </a:lnTo>
                    <a:lnTo>
                      <a:pt x="867" y="0"/>
                    </a:lnTo>
                    <a:lnTo>
                      <a:pt x="11" y="2046"/>
                    </a:lnTo>
                    <a:close/>
                  </a:path>
                </a:pathLst>
              </a:custGeom>
              <a:solidFill>
                <a:sysClr val="window" lastClr="FFFFFF">
                  <a:lumMod val="8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59" name="Freeform 658"/>
              <p:cNvSpPr>
                <a:spLocks/>
              </p:cNvSpPr>
              <p:nvPr/>
            </p:nvSpPr>
            <p:spPr bwMode="auto">
              <a:xfrm>
                <a:off x="3796284" y="4073739"/>
                <a:ext cx="221649" cy="114652"/>
              </a:xfrm>
              <a:custGeom>
                <a:avLst/>
                <a:gdLst>
                  <a:gd name="T0" fmla="*/ 585 w 585"/>
                  <a:gd name="T1" fmla="*/ 231 h 308"/>
                  <a:gd name="T2" fmla="*/ 33 w 585"/>
                  <a:gd name="T3" fmla="*/ 0 h 308"/>
                  <a:gd name="T4" fmla="*/ 0 w 585"/>
                  <a:gd name="T5" fmla="*/ 77 h 308"/>
                  <a:gd name="T6" fmla="*/ 552 w 585"/>
                  <a:gd name="T7" fmla="*/ 308 h 308"/>
                  <a:gd name="T8" fmla="*/ 585 w 585"/>
                  <a:gd name="T9" fmla="*/ 231 h 308"/>
                </a:gdLst>
                <a:ahLst/>
                <a:cxnLst>
                  <a:cxn ang="0">
                    <a:pos x="T0" y="T1"/>
                  </a:cxn>
                  <a:cxn ang="0">
                    <a:pos x="T2" y="T3"/>
                  </a:cxn>
                  <a:cxn ang="0">
                    <a:pos x="T4" y="T5"/>
                  </a:cxn>
                  <a:cxn ang="0">
                    <a:pos x="T6" y="T7"/>
                  </a:cxn>
                  <a:cxn ang="0">
                    <a:pos x="T8" y="T9"/>
                  </a:cxn>
                </a:cxnLst>
                <a:rect l="0" t="0" r="r" b="b"/>
                <a:pathLst>
                  <a:path w="585" h="308">
                    <a:moveTo>
                      <a:pt x="585" y="231"/>
                    </a:moveTo>
                    <a:lnTo>
                      <a:pt x="33" y="0"/>
                    </a:lnTo>
                    <a:lnTo>
                      <a:pt x="0" y="77"/>
                    </a:lnTo>
                    <a:lnTo>
                      <a:pt x="552" y="308"/>
                    </a:lnTo>
                    <a:lnTo>
                      <a:pt x="585" y="231"/>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60" name="Freeform 659"/>
              <p:cNvSpPr>
                <a:spLocks/>
              </p:cNvSpPr>
              <p:nvPr/>
            </p:nvSpPr>
            <p:spPr bwMode="auto">
              <a:xfrm>
                <a:off x="3914698" y="3796786"/>
                <a:ext cx="221649" cy="114652"/>
              </a:xfrm>
              <a:custGeom>
                <a:avLst/>
                <a:gdLst>
                  <a:gd name="T0" fmla="*/ 585 w 585"/>
                  <a:gd name="T1" fmla="*/ 230 h 307"/>
                  <a:gd name="T2" fmla="*/ 33 w 585"/>
                  <a:gd name="T3" fmla="*/ 0 h 307"/>
                  <a:gd name="T4" fmla="*/ 0 w 585"/>
                  <a:gd name="T5" fmla="*/ 76 h 307"/>
                  <a:gd name="T6" fmla="*/ 552 w 585"/>
                  <a:gd name="T7" fmla="*/ 307 h 307"/>
                  <a:gd name="T8" fmla="*/ 585 w 585"/>
                  <a:gd name="T9" fmla="*/ 230 h 307"/>
                </a:gdLst>
                <a:ahLst/>
                <a:cxnLst>
                  <a:cxn ang="0">
                    <a:pos x="T0" y="T1"/>
                  </a:cxn>
                  <a:cxn ang="0">
                    <a:pos x="T2" y="T3"/>
                  </a:cxn>
                  <a:cxn ang="0">
                    <a:pos x="T4" y="T5"/>
                  </a:cxn>
                  <a:cxn ang="0">
                    <a:pos x="T6" y="T7"/>
                  </a:cxn>
                  <a:cxn ang="0">
                    <a:pos x="T8" y="T9"/>
                  </a:cxn>
                </a:cxnLst>
                <a:rect l="0" t="0" r="r" b="b"/>
                <a:pathLst>
                  <a:path w="585" h="307">
                    <a:moveTo>
                      <a:pt x="585" y="230"/>
                    </a:moveTo>
                    <a:lnTo>
                      <a:pt x="33" y="0"/>
                    </a:lnTo>
                    <a:lnTo>
                      <a:pt x="0" y="76"/>
                    </a:lnTo>
                    <a:lnTo>
                      <a:pt x="552" y="307"/>
                    </a:lnTo>
                    <a:lnTo>
                      <a:pt x="585" y="230"/>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61" name="Freeform 660"/>
              <p:cNvSpPr>
                <a:spLocks/>
              </p:cNvSpPr>
              <p:nvPr/>
            </p:nvSpPr>
            <p:spPr bwMode="auto">
              <a:xfrm>
                <a:off x="3820574" y="4018645"/>
                <a:ext cx="221649" cy="114652"/>
              </a:xfrm>
              <a:custGeom>
                <a:avLst/>
                <a:gdLst>
                  <a:gd name="T0" fmla="*/ 583 w 583"/>
                  <a:gd name="T1" fmla="*/ 231 h 308"/>
                  <a:gd name="T2" fmla="*/ 32 w 583"/>
                  <a:gd name="T3" fmla="*/ 0 h 308"/>
                  <a:gd name="T4" fmla="*/ 0 w 583"/>
                  <a:gd name="T5" fmla="*/ 77 h 308"/>
                  <a:gd name="T6" fmla="*/ 552 w 583"/>
                  <a:gd name="T7" fmla="*/ 308 h 308"/>
                  <a:gd name="T8" fmla="*/ 583 w 583"/>
                  <a:gd name="T9" fmla="*/ 231 h 308"/>
                </a:gdLst>
                <a:ahLst/>
                <a:cxnLst>
                  <a:cxn ang="0">
                    <a:pos x="T0" y="T1"/>
                  </a:cxn>
                  <a:cxn ang="0">
                    <a:pos x="T2" y="T3"/>
                  </a:cxn>
                  <a:cxn ang="0">
                    <a:pos x="T4" y="T5"/>
                  </a:cxn>
                  <a:cxn ang="0">
                    <a:pos x="T6" y="T7"/>
                  </a:cxn>
                  <a:cxn ang="0">
                    <a:pos x="T8" y="T9"/>
                  </a:cxn>
                </a:cxnLst>
                <a:rect l="0" t="0" r="r" b="b"/>
                <a:pathLst>
                  <a:path w="583" h="308">
                    <a:moveTo>
                      <a:pt x="583" y="231"/>
                    </a:moveTo>
                    <a:lnTo>
                      <a:pt x="32" y="0"/>
                    </a:lnTo>
                    <a:lnTo>
                      <a:pt x="0" y="77"/>
                    </a:lnTo>
                    <a:lnTo>
                      <a:pt x="552" y="308"/>
                    </a:lnTo>
                    <a:lnTo>
                      <a:pt x="583" y="231"/>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62" name="Freeform 661"/>
              <p:cNvSpPr>
                <a:spLocks/>
              </p:cNvSpPr>
              <p:nvPr/>
            </p:nvSpPr>
            <p:spPr bwMode="auto">
              <a:xfrm>
                <a:off x="3891926" y="3851879"/>
                <a:ext cx="220130" cy="114652"/>
              </a:xfrm>
              <a:custGeom>
                <a:avLst/>
                <a:gdLst>
                  <a:gd name="T0" fmla="*/ 583 w 583"/>
                  <a:gd name="T1" fmla="*/ 231 h 308"/>
                  <a:gd name="T2" fmla="*/ 31 w 583"/>
                  <a:gd name="T3" fmla="*/ 0 h 308"/>
                  <a:gd name="T4" fmla="*/ 0 w 583"/>
                  <a:gd name="T5" fmla="*/ 77 h 308"/>
                  <a:gd name="T6" fmla="*/ 551 w 583"/>
                  <a:gd name="T7" fmla="*/ 308 h 308"/>
                  <a:gd name="T8" fmla="*/ 583 w 583"/>
                  <a:gd name="T9" fmla="*/ 231 h 308"/>
                </a:gdLst>
                <a:ahLst/>
                <a:cxnLst>
                  <a:cxn ang="0">
                    <a:pos x="T0" y="T1"/>
                  </a:cxn>
                  <a:cxn ang="0">
                    <a:pos x="T2" y="T3"/>
                  </a:cxn>
                  <a:cxn ang="0">
                    <a:pos x="T4" y="T5"/>
                  </a:cxn>
                  <a:cxn ang="0">
                    <a:pos x="T6" y="T7"/>
                  </a:cxn>
                  <a:cxn ang="0">
                    <a:pos x="T8" y="T9"/>
                  </a:cxn>
                </a:cxnLst>
                <a:rect l="0" t="0" r="r" b="b"/>
                <a:pathLst>
                  <a:path w="583" h="308">
                    <a:moveTo>
                      <a:pt x="583" y="231"/>
                    </a:moveTo>
                    <a:lnTo>
                      <a:pt x="31" y="0"/>
                    </a:lnTo>
                    <a:lnTo>
                      <a:pt x="0" y="77"/>
                    </a:lnTo>
                    <a:lnTo>
                      <a:pt x="551" y="308"/>
                    </a:lnTo>
                    <a:lnTo>
                      <a:pt x="583" y="231"/>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63" name="Freeform 662"/>
              <p:cNvSpPr>
                <a:spLocks/>
              </p:cNvSpPr>
              <p:nvPr/>
            </p:nvSpPr>
            <p:spPr bwMode="auto">
              <a:xfrm>
                <a:off x="3773511" y="4128830"/>
                <a:ext cx="221649" cy="114652"/>
              </a:xfrm>
              <a:custGeom>
                <a:avLst/>
                <a:gdLst>
                  <a:gd name="T0" fmla="*/ 583 w 583"/>
                  <a:gd name="T1" fmla="*/ 230 h 307"/>
                  <a:gd name="T2" fmla="*/ 31 w 583"/>
                  <a:gd name="T3" fmla="*/ 0 h 307"/>
                  <a:gd name="T4" fmla="*/ 0 w 583"/>
                  <a:gd name="T5" fmla="*/ 77 h 307"/>
                  <a:gd name="T6" fmla="*/ 551 w 583"/>
                  <a:gd name="T7" fmla="*/ 307 h 307"/>
                  <a:gd name="T8" fmla="*/ 583 w 583"/>
                  <a:gd name="T9" fmla="*/ 230 h 307"/>
                </a:gdLst>
                <a:ahLst/>
                <a:cxnLst>
                  <a:cxn ang="0">
                    <a:pos x="T0" y="T1"/>
                  </a:cxn>
                  <a:cxn ang="0">
                    <a:pos x="T2" y="T3"/>
                  </a:cxn>
                  <a:cxn ang="0">
                    <a:pos x="T4" y="T5"/>
                  </a:cxn>
                  <a:cxn ang="0">
                    <a:pos x="T6" y="T7"/>
                  </a:cxn>
                  <a:cxn ang="0">
                    <a:pos x="T8" y="T9"/>
                  </a:cxn>
                </a:cxnLst>
                <a:rect l="0" t="0" r="r" b="b"/>
                <a:pathLst>
                  <a:path w="583" h="307">
                    <a:moveTo>
                      <a:pt x="583" y="230"/>
                    </a:moveTo>
                    <a:lnTo>
                      <a:pt x="31" y="0"/>
                    </a:lnTo>
                    <a:lnTo>
                      <a:pt x="0" y="77"/>
                    </a:lnTo>
                    <a:lnTo>
                      <a:pt x="551" y="307"/>
                    </a:lnTo>
                    <a:lnTo>
                      <a:pt x="583" y="230"/>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64" name="Freeform 663"/>
              <p:cNvSpPr>
                <a:spLocks/>
              </p:cNvSpPr>
              <p:nvPr/>
            </p:nvSpPr>
            <p:spPr bwMode="auto">
              <a:xfrm>
                <a:off x="3867636" y="3906972"/>
                <a:ext cx="221649" cy="114652"/>
              </a:xfrm>
              <a:custGeom>
                <a:avLst/>
                <a:gdLst>
                  <a:gd name="T0" fmla="*/ 583 w 583"/>
                  <a:gd name="T1" fmla="*/ 231 h 307"/>
                  <a:gd name="T2" fmla="*/ 33 w 583"/>
                  <a:gd name="T3" fmla="*/ 0 h 307"/>
                  <a:gd name="T4" fmla="*/ 0 w 583"/>
                  <a:gd name="T5" fmla="*/ 77 h 307"/>
                  <a:gd name="T6" fmla="*/ 552 w 583"/>
                  <a:gd name="T7" fmla="*/ 307 h 307"/>
                  <a:gd name="T8" fmla="*/ 583 w 583"/>
                  <a:gd name="T9" fmla="*/ 231 h 307"/>
                </a:gdLst>
                <a:ahLst/>
                <a:cxnLst>
                  <a:cxn ang="0">
                    <a:pos x="T0" y="T1"/>
                  </a:cxn>
                  <a:cxn ang="0">
                    <a:pos x="T2" y="T3"/>
                  </a:cxn>
                  <a:cxn ang="0">
                    <a:pos x="T4" y="T5"/>
                  </a:cxn>
                  <a:cxn ang="0">
                    <a:pos x="T6" y="T7"/>
                  </a:cxn>
                  <a:cxn ang="0">
                    <a:pos x="T8" y="T9"/>
                  </a:cxn>
                </a:cxnLst>
                <a:rect l="0" t="0" r="r" b="b"/>
                <a:pathLst>
                  <a:path w="583" h="307">
                    <a:moveTo>
                      <a:pt x="583" y="231"/>
                    </a:moveTo>
                    <a:lnTo>
                      <a:pt x="33" y="0"/>
                    </a:lnTo>
                    <a:lnTo>
                      <a:pt x="0" y="77"/>
                    </a:lnTo>
                    <a:lnTo>
                      <a:pt x="552" y="307"/>
                    </a:lnTo>
                    <a:lnTo>
                      <a:pt x="583" y="231"/>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65" name="Freeform 664"/>
              <p:cNvSpPr>
                <a:spLocks/>
              </p:cNvSpPr>
              <p:nvPr/>
            </p:nvSpPr>
            <p:spPr bwMode="auto">
              <a:xfrm>
                <a:off x="3754695" y="4239017"/>
                <a:ext cx="209503" cy="107207"/>
              </a:xfrm>
              <a:custGeom>
                <a:avLst/>
                <a:gdLst>
                  <a:gd name="T0" fmla="*/ 66 w 555"/>
                  <a:gd name="T1" fmla="*/ 132 h 288"/>
                  <a:gd name="T2" fmla="*/ 417 w 555"/>
                  <a:gd name="T3" fmla="*/ 279 h 288"/>
                  <a:gd name="T4" fmla="*/ 417 w 555"/>
                  <a:gd name="T5" fmla="*/ 279 h 288"/>
                  <a:gd name="T6" fmla="*/ 427 w 555"/>
                  <a:gd name="T7" fmla="*/ 282 h 288"/>
                  <a:gd name="T8" fmla="*/ 437 w 555"/>
                  <a:gd name="T9" fmla="*/ 286 h 288"/>
                  <a:gd name="T10" fmla="*/ 447 w 555"/>
                  <a:gd name="T11" fmla="*/ 287 h 288"/>
                  <a:gd name="T12" fmla="*/ 457 w 555"/>
                  <a:gd name="T13" fmla="*/ 288 h 288"/>
                  <a:gd name="T14" fmla="*/ 467 w 555"/>
                  <a:gd name="T15" fmla="*/ 288 h 288"/>
                  <a:gd name="T16" fmla="*/ 477 w 555"/>
                  <a:gd name="T17" fmla="*/ 287 h 288"/>
                  <a:gd name="T18" fmla="*/ 487 w 555"/>
                  <a:gd name="T19" fmla="*/ 284 h 288"/>
                  <a:gd name="T20" fmla="*/ 495 w 555"/>
                  <a:gd name="T21" fmla="*/ 281 h 288"/>
                  <a:gd name="T22" fmla="*/ 505 w 555"/>
                  <a:gd name="T23" fmla="*/ 278 h 288"/>
                  <a:gd name="T24" fmla="*/ 514 w 555"/>
                  <a:gd name="T25" fmla="*/ 274 h 288"/>
                  <a:gd name="T26" fmla="*/ 522 w 555"/>
                  <a:gd name="T27" fmla="*/ 268 h 288"/>
                  <a:gd name="T28" fmla="*/ 530 w 555"/>
                  <a:gd name="T29" fmla="*/ 262 h 288"/>
                  <a:gd name="T30" fmla="*/ 537 w 555"/>
                  <a:gd name="T31" fmla="*/ 255 h 288"/>
                  <a:gd name="T32" fmla="*/ 544 w 555"/>
                  <a:gd name="T33" fmla="*/ 248 h 288"/>
                  <a:gd name="T34" fmla="*/ 549 w 555"/>
                  <a:gd name="T35" fmla="*/ 240 h 288"/>
                  <a:gd name="T36" fmla="*/ 555 w 555"/>
                  <a:gd name="T37" fmla="*/ 232 h 288"/>
                  <a:gd name="T38" fmla="*/ 5 w 555"/>
                  <a:gd name="T39" fmla="*/ 0 h 288"/>
                  <a:gd name="T40" fmla="*/ 5 w 555"/>
                  <a:gd name="T41" fmla="*/ 0 h 288"/>
                  <a:gd name="T42" fmla="*/ 2 w 555"/>
                  <a:gd name="T43" fmla="*/ 10 h 288"/>
                  <a:gd name="T44" fmla="*/ 1 w 555"/>
                  <a:gd name="T45" fmla="*/ 21 h 288"/>
                  <a:gd name="T46" fmla="*/ 0 w 555"/>
                  <a:gd name="T47" fmla="*/ 31 h 288"/>
                  <a:gd name="T48" fmla="*/ 1 w 555"/>
                  <a:gd name="T49" fmla="*/ 40 h 288"/>
                  <a:gd name="T50" fmla="*/ 2 w 555"/>
                  <a:gd name="T51" fmla="*/ 50 h 288"/>
                  <a:gd name="T52" fmla="*/ 4 w 555"/>
                  <a:gd name="T53" fmla="*/ 60 h 288"/>
                  <a:gd name="T54" fmla="*/ 6 w 555"/>
                  <a:gd name="T55" fmla="*/ 70 h 288"/>
                  <a:gd name="T56" fmla="*/ 10 w 555"/>
                  <a:gd name="T57" fmla="*/ 78 h 288"/>
                  <a:gd name="T58" fmla="*/ 15 w 555"/>
                  <a:gd name="T59" fmla="*/ 87 h 288"/>
                  <a:gd name="T60" fmla="*/ 20 w 555"/>
                  <a:gd name="T61" fmla="*/ 95 h 288"/>
                  <a:gd name="T62" fmla="*/ 27 w 555"/>
                  <a:gd name="T63" fmla="*/ 103 h 288"/>
                  <a:gd name="T64" fmla="*/ 33 w 555"/>
                  <a:gd name="T65" fmla="*/ 111 h 288"/>
                  <a:gd name="T66" fmla="*/ 41 w 555"/>
                  <a:gd name="T67" fmla="*/ 117 h 288"/>
                  <a:gd name="T68" fmla="*/ 48 w 555"/>
                  <a:gd name="T69" fmla="*/ 122 h 288"/>
                  <a:gd name="T70" fmla="*/ 58 w 555"/>
                  <a:gd name="T71" fmla="*/ 128 h 288"/>
                  <a:gd name="T72" fmla="*/ 66 w 555"/>
                  <a:gd name="T73" fmla="*/ 132 h 288"/>
                  <a:gd name="T74" fmla="*/ 66 w 555"/>
                  <a:gd name="T75" fmla="*/ 13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5" h="288">
                    <a:moveTo>
                      <a:pt x="66" y="132"/>
                    </a:moveTo>
                    <a:lnTo>
                      <a:pt x="417" y="279"/>
                    </a:lnTo>
                    <a:lnTo>
                      <a:pt x="417" y="279"/>
                    </a:lnTo>
                    <a:lnTo>
                      <a:pt x="427" y="282"/>
                    </a:lnTo>
                    <a:lnTo>
                      <a:pt x="437" y="286"/>
                    </a:lnTo>
                    <a:lnTo>
                      <a:pt x="447" y="287"/>
                    </a:lnTo>
                    <a:lnTo>
                      <a:pt x="457" y="288"/>
                    </a:lnTo>
                    <a:lnTo>
                      <a:pt x="467" y="288"/>
                    </a:lnTo>
                    <a:lnTo>
                      <a:pt x="477" y="287"/>
                    </a:lnTo>
                    <a:lnTo>
                      <a:pt x="487" y="284"/>
                    </a:lnTo>
                    <a:lnTo>
                      <a:pt x="495" y="281"/>
                    </a:lnTo>
                    <a:lnTo>
                      <a:pt x="505" y="278"/>
                    </a:lnTo>
                    <a:lnTo>
                      <a:pt x="514" y="274"/>
                    </a:lnTo>
                    <a:lnTo>
                      <a:pt x="522" y="268"/>
                    </a:lnTo>
                    <a:lnTo>
                      <a:pt x="530" y="262"/>
                    </a:lnTo>
                    <a:lnTo>
                      <a:pt x="537" y="255"/>
                    </a:lnTo>
                    <a:lnTo>
                      <a:pt x="544" y="248"/>
                    </a:lnTo>
                    <a:lnTo>
                      <a:pt x="549" y="240"/>
                    </a:lnTo>
                    <a:lnTo>
                      <a:pt x="555" y="232"/>
                    </a:lnTo>
                    <a:lnTo>
                      <a:pt x="5" y="0"/>
                    </a:lnTo>
                    <a:lnTo>
                      <a:pt x="5" y="0"/>
                    </a:lnTo>
                    <a:lnTo>
                      <a:pt x="2" y="10"/>
                    </a:lnTo>
                    <a:lnTo>
                      <a:pt x="1" y="21"/>
                    </a:lnTo>
                    <a:lnTo>
                      <a:pt x="0" y="31"/>
                    </a:lnTo>
                    <a:lnTo>
                      <a:pt x="1" y="40"/>
                    </a:lnTo>
                    <a:lnTo>
                      <a:pt x="2" y="50"/>
                    </a:lnTo>
                    <a:lnTo>
                      <a:pt x="4" y="60"/>
                    </a:lnTo>
                    <a:lnTo>
                      <a:pt x="6" y="70"/>
                    </a:lnTo>
                    <a:lnTo>
                      <a:pt x="10" y="78"/>
                    </a:lnTo>
                    <a:lnTo>
                      <a:pt x="15" y="87"/>
                    </a:lnTo>
                    <a:lnTo>
                      <a:pt x="20" y="95"/>
                    </a:lnTo>
                    <a:lnTo>
                      <a:pt x="27" y="103"/>
                    </a:lnTo>
                    <a:lnTo>
                      <a:pt x="33" y="111"/>
                    </a:lnTo>
                    <a:lnTo>
                      <a:pt x="41" y="117"/>
                    </a:lnTo>
                    <a:lnTo>
                      <a:pt x="48" y="122"/>
                    </a:lnTo>
                    <a:lnTo>
                      <a:pt x="58" y="128"/>
                    </a:lnTo>
                    <a:lnTo>
                      <a:pt x="66" y="132"/>
                    </a:lnTo>
                    <a:lnTo>
                      <a:pt x="66" y="132"/>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66" name="Freeform 665"/>
              <p:cNvSpPr>
                <a:spLocks/>
              </p:cNvSpPr>
              <p:nvPr/>
            </p:nvSpPr>
            <p:spPr bwMode="auto">
              <a:xfrm>
                <a:off x="3749220" y="4183924"/>
                <a:ext cx="221649" cy="114652"/>
              </a:xfrm>
              <a:custGeom>
                <a:avLst/>
                <a:gdLst>
                  <a:gd name="T0" fmla="*/ 552 w 583"/>
                  <a:gd name="T1" fmla="*/ 308 h 308"/>
                  <a:gd name="T2" fmla="*/ 583 w 583"/>
                  <a:gd name="T3" fmla="*/ 231 h 308"/>
                  <a:gd name="T4" fmla="*/ 32 w 583"/>
                  <a:gd name="T5" fmla="*/ 0 h 308"/>
                  <a:gd name="T6" fmla="*/ 0 w 583"/>
                  <a:gd name="T7" fmla="*/ 77 h 308"/>
                  <a:gd name="T8" fmla="*/ 552 w 583"/>
                  <a:gd name="T9" fmla="*/ 308 h 308"/>
                </a:gdLst>
                <a:ahLst/>
                <a:cxnLst>
                  <a:cxn ang="0">
                    <a:pos x="T0" y="T1"/>
                  </a:cxn>
                  <a:cxn ang="0">
                    <a:pos x="T2" y="T3"/>
                  </a:cxn>
                  <a:cxn ang="0">
                    <a:pos x="T4" y="T5"/>
                  </a:cxn>
                  <a:cxn ang="0">
                    <a:pos x="T6" y="T7"/>
                  </a:cxn>
                  <a:cxn ang="0">
                    <a:pos x="T8" y="T9"/>
                  </a:cxn>
                </a:cxnLst>
                <a:rect l="0" t="0" r="r" b="b"/>
                <a:pathLst>
                  <a:path w="583" h="308">
                    <a:moveTo>
                      <a:pt x="552" y="308"/>
                    </a:moveTo>
                    <a:lnTo>
                      <a:pt x="583" y="231"/>
                    </a:lnTo>
                    <a:lnTo>
                      <a:pt x="32" y="0"/>
                    </a:lnTo>
                    <a:lnTo>
                      <a:pt x="0" y="77"/>
                    </a:lnTo>
                    <a:lnTo>
                      <a:pt x="552" y="308"/>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67" name="Freeform 666"/>
              <p:cNvSpPr>
                <a:spLocks/>
              </p:cNvSpPr>
              <p:nvPr/>
            </p:nvSpPr>
            <p:spPr bwMode="auto">
              <a:xfrm>
                <a:off x="3938989" y="3741693"/>
                <a:ext cx="221649" cy="114652"/>
              </a:xfrm>
              <a:custGeom>
                <a:avLst/>
                <a:gdLst>
                  <a:gd name="T0" fmla="*/ 583 w 583"/>
                  <a:gd name="T1" fmla="*/ 231 h 307"/>
                  <a:gd name="T2" fmla="*/ 32 w 583"/>
                  <a:gd name="T3" fmla="*/ 0 h 307"/>
                  <a:gd name="T4" fmla="*/ 0 w 583"/>
                  <a:gd name="T5" fmla="*/ 77 h 307"/>
                  <a:gd name="T6" fmla="*/ 552 w 583"/>
                  <a:gd name="T7" fmla="*/ 307 h 307"/>
                  <a:gd name="T8" fmla="*/ 583 w 583"/>
                  <a:gd name="T9" fmla="*/ 231 h 307"/>
                </a:gdLst>
                <a:ahLst/>
                <a:cxnLst>
                  <a:cxn ang="0">
                    <a:pos x="T0" y="T1"/>
                  </a:cxn>
                  <a:cxn ang="0">
                    <a:pos x="T2" y="T3"/>
                  </a:cxn>
                  <a:cxn ang="0">
                    <a:pos x="T4" y="T5"/>
                  </a:cxn>
                  <a:cxn ang="0">
                    <a:pos x="T6" y="T7"/>
                  </a:cxn>
                  <a:cxn ang="0">
                    <a:pos x="T8" y="T9"/>
                  </a:cxn>
                </a:cxnLst>
                <a:rect l="0" t="0" r="r" b="b"/>
                <a:pathLst>
                  <a:path w="583" h="307">
                    <a:moveTo>
                      <a:pt x="583" y="231"/>
                    </a:moveTo>
                    <a:lnTo>
                      <a:pt x="32" y="0"/>
                    </a:lnTo>
                    <a:lnTo>
                      <a:pt x="0" y="77"/>
                    </a:lnTo>
                    <a:lnTo>
                      <a:pt x="552" y="307"/>
                    </a:lnTo>
                    <a:lnTo>
                      <a:pt x="583" y="231"/>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68" name="Freeform 667"/>
              <p:cNvSpPr>
                <a:spLocks/>
              </p:cNvSpPr>
              <p:nvPr/>
            </p:nvSpPr>
            <p:spPr bwMode="auto">
              <a:xfrm>
                <a:off x="3844865" y="3963553"/>
                <a:ext cx="220130" cy="113164"/>
              </a:xfrm>
              <a:custGeom>
                <a:avLst/>
                <a:gdLst>
                  <a:gd name="T0" fmla="*/ 583 w 583"/>
                  <a:gd name="T1" fmla="*/ 230 h 307"/>
                  <a:gd name="T2" fmla="*/ 31 w 583"/>
                  <a:gd name="T3" fmla="*/ 0 h 307"/>
                  <a:gd name="T4" fmla="*/ 0 w 583"/>
                  <a:gd name="T5" fmla="*/ 77 h 307"/>
                  <a:gd name="T6" fmla="*/ 550 w 583"/>
                  <a:gd name="T7" fmla="*/ 307 h 307"/>
                  <a:gd name="T8" fmla="*/ 583 w 583"/>
                  <a:gd name="T9" fmla="*/ 230 h 307"/>
                </a:gdLst>
                <a:ahLst/>
                <a:cxnLst>
                  <a:cxn ang="0">
                    <a:pos x="T0" y="T1"/>
                  </a:cxn>
                  <a:cxn ang="0">
                    <a:pos x="T2" y="T3"/>
                  </a:cxn>
                  <a:cxn ang="0">
                    <a:pos x="T4" y="T5"/>
                  </a:cxn>
                  <a:cxn ang="0">
                    <a:pos x="T6" y="T7"/>
                  </a:cxn>
                  <a:cxn ang="0">
                    <a:pos x="T8" y="T9"/>
                  </a:cxn>
                </a:cxnLst>
                <a:rect l="0" t="0" r="r" b="b"/>
                <a:pathLst>
                  <a:path w="583" h="307">
                    <a:moveTo>
                      <a:pt x="583" y="230"/>
                    </a:moveTo>
                    <a:lnTo>
                      <a:pt x="31" y="0"/>
                    </a:lnTo>
                    <a:lnTo>
                      <a:pt x="0" y="77"/>
                    </a:lnTo>
                    <a:lnTo>
                      <a:pt x="550" y="307"/>
                    </a:lnTo>
                    <a:lnTo>
                      <a:pt x="583" y="230"/>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69" name="Freeform 668"/>
              <p:cNvSpPr>
                <a:spLocks/>
              </p:cNvSpPr>
              <p:nvPr/>
            </p:nvSpPr>
            <p:spPr bwMode="auto">
              <a:xfrm>
                <a:off x="3738594" y="4212214"/>
                <a:ext cx="220130" cy="113164"/>
              </a:xfrm>
              <a:custGeom>
                <a:avLst/>
                <a:gdLst>
                  <a:gd name="T0" fmla="*/ 3 w 581"/>
                  <a:gd name="T1" fmla="*/ 62 h 304"/>
                  <a:gd name="T2" fmla="*/ 3 w 581"/>
                  <a:gd name="T3" fmla="*/ 62 h 304"/>
                  <a:gd name="T4" fmla="*/ 0 w 581"/>
                  <a:gd name="T5" fmla="*/ 72 h 304"/>
                  <a:gd name="T6" fmla="*/ 550 w 581"/>
                  <a:gd name="T7" fmla="*/ 304 h 304"/>
                  <a:gd name="T8" fmla="*/ 550 w 581"/>
                  <a:gd name="T9" fmla="*/ 304 h 304"/>
                  <a:gd name="T10" fmla="*/ 555 w 581"/>
                  <a:gd name="T11" fmla="*/ 293 h 304"/>
                  <a:gd name="T12" fmla="*/ 581 w 581"/>
                  <a:gd name="T13" fmla="*/ 231 h 304"/>
                  <a:gd name="T14" fmla="*/ 29 w 581"/>
                  <a:gd name="T15" fmla="*/ 0 h 304"/>
                  <a:gd name="T16" fmla="*/ 3 w 581"/>
                  <a:gd name="T17" fmla="*/ 62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1" h="304">
                    <a:moveTo>
                      <a:pt x="3" y="62"/>
                    </a:moveTo>
                    <a:lnTo>
                      <a:pt x="3" y="62"/>
                    </a:lnTo>
                    <a:lnTo>
                      <a:pt x="0" y="72"/>
                    </a:lnTo>
                    <a:lnTo>
                      <a:pt x="550" y="304"/>
                    </a:lnTo>
                    <a:lnTo>
                      <a:pt x="550" y="304"/>
                    </a:lnTo>
                    <a:lnTo>
                      <a:pt x="555" y="293"/>
                    </a:lnTo>
                    <a:lnTo>
                      <a:pt x="581" y="231"/>
                    </a:lnTo>
                    <a:lnTo>
                      <a:pt x="29" y="0"/>
                    </a:lnTo>
                    <a:lnTo>
                      <a:pt x="3" y="62"/>
                    </a:lnTo>
                    <a:close/>
                  </a:path>
                </a:pathLst>
              </a:custGeom>
              <a:solidFill>
                <a:sysClr val="window" lastClr="FFFFFF">
                  <a:lumMod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70" name="Freeform 669"/>
              <p:cNvSpPr>
                <a:spLocks/>
              </p:cNvSpPr>
              <p:nvPr/>
            </p:nvSpPr>
            <p:spPr bwMode="auto">
              <a:xfrm>
                <a:off x="3761366" y="4157121"/>
                <a:ext cx="221649" cy="113164"/>
              </a:xfrm>
              <a:custGeom>
                <a:avLst/>
                <a:gdLst>
                  <a:gd name="T0" fmla="*/ 582 w 582"/>
                  <a:gd name="T1" fmla="*/ 230 h 302"/>
                  <a:gd name="T2" fmla="*/ 31 w 582"/>
                  <a:gd name="T3" fmla="*/ 0 h 302"/>
                  <a:gd name="T4" fmla="*/ 0 w 582"/>
                  <a:gd name="T5" fmla="*/ 71 h 302"/>
                  <a:gd name="T6" fmla="*/ 551 w 582"/>
                  <a:gd name="T7" fmla="*/ 302 h 302"/>
                  <a:gd name="T8" fmla="*/ 582 w 582"/>
                  <a:gd name="T9" fmla="*/ 230 h 302"/>
                </a:gdLst>
                <a:ahLst/>
                <a:cxnLst>
                  <a:cxn ang="0">
                    <a:pos x="T0" y="T1"/>
                  </a:cxn>
                  <a:cxn ang="0">
                    <a:pos x="T2" y="T3"/>
                  </a:cxn>
                  <a:cxn ang="0">
                    <a:pos x="T4" y="T5"/>
                  </a:cxn>
                  <a:cxn ang="0">
                    <a:pos x="T6" y="T7"/>
                  </a:cxn>
                  <a:cxn ang="0">
                    <a:pos x="T8" y="T9"/>
                  </a:cxn>
                </a:cxnLst>
                <a:rect l="0" t="0" r="r" b="b"/>
                <a:pathLst>
                  <a:path w="582" h="302">
                    <a:moveTo>
                      <a:pt x="582" y="230"/>
                    </a:moveTo>
                    <a:lnTo>
                      <a:pt x="31" y="0"/>
                    </a:lnTo>
                    <a:lnTo>
                      <a:pt x="0" y="71"/>
                    </a:lnTo>
                    <a:lnTo>
                      <a:pt x="551" y="302"/>
                    </a:lnTo>
                    <a:lnTo>
                      <a:pt x="582" y="230"/>
                    </a:lnTo>
                    <a:close/>
                  </a:path>
                </a:pathLst>
              </a:custGeom>
              <a:solidFill>
                <a:sysClr val="window" lastClr="FFFFFF">
                  <a:lumMod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71" name="Freeform 670"/>
              <p:cNvSpPr>
                <a:spLocks/>
              </p:cNvSpPr>
              <p:nvPr/>
            </p:nvSpPr>
            <p:spPr bwMode="auto">
              <a:xfrm>
                <a:off x="3785656" y="4102029"/>
                <a:ext cx="220130" cy="113164"/>
              </a:xfrm>
              <a:custGeom>
                <a:avLst/>
                <a:gdLst>
                  <a:gd name="T0" fmla="*/ 582 w 582"/>
                  <a:gd name="T1" fmla="*/ 231 h 302"/>
                  <a:gd name="T2" fmla="*/ 30 w 582"/>
                  <a:gd name="T3" fmla="*/ 0 h 302"/>
                  <a:gd name="T4" fmla="*/ 0 w 582"/>
                  <a:gd name="T5" fmla="*/ 72 h 302"/>
                  <a:gd name="T6" fmla="*/ 552 w 582"/>
                  <a:gd name="T7" fmla="*/ 302 h 302"/>
                  <a:gd name="T8" fmla="*/ 582 w 582"/>
                  <a:gd name="T9" fmla="*/ 231 h 302"/>
                </a:gdLst>
                <a:ahLst/>
                <a:cxnLst>
                  <a:cxn ang="0">
                    <a:pos x="T0" y="T1"/>
                  </a:cxn>
                  <a:cxn ang="0">
                    <a:pos x="T2" y="T3"/>
                  </a:cxn>
                  <a:cxn ang="0">
                    <a:pos x="T4" y="T5"/>
                  </a:cxn>
                  <a:cxn ang="0">
                    <a:pos x="T6" y="T7"/>
                  </a:cxn>
                  <a:cxn ang="0">
                    <a:pos x="T8" y="T9"/>
                  </a:cxn>
                </a:cxnLst>
                <a:rect l="0" t="0" r="r" b="b"/>
                <a:pathLst>
                  <a:path w="582" h="302">
                    <a:moveTo>
                      <a:pt x="582" y="231"/>
                    </a:moveTo>
                    <a:lnTo>
                      <a:pt x="30" y="0"/>
                    </a:lnTo>
                    <a:lnTo>
                      <a:pt x="0" y="72"/>
                    </a:lnTo>
                    <a:lnTo>
                      <a:pt x="552" y="302"/>
                    </a:lnTo>
                    <a:lnTo>
                      <a:pt x="582" y="231"/>
                    </a:lnTo>
                    <a:close/>
                  </a:path>
                </a:pathLst>
              </a:custGeom>
              <a:solidFill>
                <a:sysClr val="window" lastClr="FFFFFF">
                  <a:lumMod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72" name="Freeform 671"/>
              <p:cNvSpPr>
                <a:spLocks/>
              </p:cNvSpPr>
              <p:nvPr/>
            </p:nvSpPr>
            <p:spPr bwMode="auto">
              <a:xfrm>
                <a:off x="3808428" y="4046936"/>
                <a:ext cx="221649" cy="113164"/>
              </a:xfrm>
              <a:custGeom>
                <a:avLst/>
                <a:gdLst>
                  <a:gd name="T0" fmla="*/ 582 w 582"/>
                  <a:gd name="T1" fmla="*/ 231 h 303"/>
                  <a:gd name="T2" fmla="*/ 30 w 582"/>
                  <a:gd name="T3" fmla="*/ 0 h 303"/>
                  <a:gd name="T4" fmla="*/ 0 w 582"/>
                  <a:gd name="T5" fmla="*/ 72 h 303"/>
                  <a:gd name="T6" fmla="*/ 552 w 582"/>
                  <a:gd name="T7" fmla="*/ 303 h 303"/>
                  <a:gd name="T8" fmla="*/ 582 w 582"/>
                  <a:gd name="T9" fmla="*/ 231 h 303"/>
                </a:gdLst>
                <a:ahLst/>
                <a:cxnLst>
                  <a:cxn ang="0">
                    <a:pos x="T0" y="T1"/>
                  </a:cxn>
                  <a:cxn ang="0">
                    <a:pos x="T2" y="T3"/>
                  </a:cxn>
                  <a:cxn ang="0">
                    <a:pos x="T4" y="T5"/>
                  </a:cxn>
                  <a:cxn ang="0">
                    <a:pos x="T6" y="T7"/>
                  </a:cxn>
                  <a:cxn ang="0">
                    <a:pos x="T8" y="T9"/>
                  </a:cxn>
                </a:cxnLst>
                <a:rect l="0" t="0" r="r" b="b"/>
                <a:pathLst>
                  <a:path w="582" h="303">
                    <a:moveTo>
                      <a:pt x="582" y="231"/>
                    </a:moveTo>
                    <a:lnTo>
                      <a:pt x="30" y="0"/>
                    </a:lnTo>
                    <a:lnTo>
                      <a:pt x="0" y="72"/>
                    </a:lnTo>
                    <a:lnTo>
                      <a:pt x="552" y="303"/>
                    </a:lnTo>
                    <a:lnTo>
                      <a:pt x="582" y="231"/>
                    </a:lnTo>
                    <a:close/>
                  </a:path>
                </a:pathLst>
              </a:custGeom>
              <a:solidFill>
                <a:sysClr val="window" lastClr="FFFFFF">
                  <a:lumMod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73" name="Freeform 672"/>
              <p:cNvSpPr>
                <a:spLocks/>
              </p:cNvSpPr>
              <p:nvPr/>
            </p:nvSpPr>
            <p:spPr bwMode="auto">
              <a:xfrm>
                <a:off x="3832719" y="3991844"/>
                <a:ext cx="220130" cy="111674"/>
              </a:xfrm>
              <a:custGeom>
                <a:avLst/>
                <a:gdLst>
                  <a:gd name="T0" fmla="*/ 581 w 581"/>
                  <a:gd name="T1" fmla="*/ 230 h 302"/>
                  <a:gd name="T2" fmla="*/ 31 w 581"/>
                  <a:gd name="T3" fmla="*/ 0 h 302"/>
                  <a:gd name="T4" fmla="*/ 0 w 581"/>
                  <a:gd name="T5" fmla="*/ 71 h 302"/>
                  <a:gd name="T6" fmla="*/ 551 w 581"/>
                  <a:gd name="T7" fmla="*/ 302 h 302"/>
                  <a:gd name="T8" fmla="*/ 581 w 581"/>
                  <a:gd name="T9" fmla="*/ 230 h 302"/>
                </a:gdLst>
                <a:ahLst/>
                <a:cxnLst>
                  <a:cxn ang="0">
                    <a:pos x="T0" y="T1"/>
                  </a:cxn>
                  <a:cxn ang="0">
                    <a:pos x="T2" y="T3"/>
                  </a:cxn>
                  <a:cxn ang="0">
                    <a:pos x="T4" y="T5"/>
                  </a:cxn>
                  <a:cxn ang="0">
                    <a:pos x="T6" y="T7"/>
                  </a:cxn>
                  <a:cxn ang="0">
                    <a:pos x="T8" y="T9"/>
                  </a:cxn>
                </a:cxnLst>
                <a:rect l="0" t="0" r="r" b="b"/>
                <a:pathLst>
                  <a:path w="581" h="302">
                    <a:moveTo>
                      <a:pt x="581" y="230"/>
                    </a:moveTo>
                    <a:lnTo>
                      <a:pt x="31" y="0"/>
                    </a:lnTo>
                    <a:lnTo>
                      <a:pt x="0" y="71"/>
                    </a:lnTo>
                    <a:lnTo>
                      <a:pt x="551" y="302"/>
                    </a:lnTo>
                    <a:lnTo>
                      <a:pt x="581" y="230"/>
                    </a:lnTo>
                    <a:close/>
                  </a:path>
                </a:pathLst>
              </a:custGeom>
              <a:solidFill>
                <a:sysClr val="window" lastClr="FFFFFF">
                  <a:lumMod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74" name="Freeform 673"/>
              <p:cNvSpPr>
                <a:spLocks/>
              </p:cNvSpPr>
              <p:nvPr/>
            </p:nvSpPr>
            <p:spPr bwMode="auto">
              <a:xfrm>
                <a:off x="3855491" y="3936751"/>
                <a:ext cx="221649" cy="111674"/>
              </a:xfrm>
              <a:custGeom>
                <a:avLst/>
                <a:gdLst>
                  <a:gd name="T0" fmla="*/ 582 w 582"/>
                  <a:gd name="T1" fmla="*/ 230 h 302"/>
                  <a:gd name="T2" fmla="*/ 30 w 582"/>
                  <a:gd name="T3" fmla="*/ 0 h 302"/>
                  <a:gd name="T4" fmla="*/ 0 w 582"/>
                  <a:gd name="T5" fmla="*/ 72 h 302"/>
                  <a:gd name="T6" fmla="*/ 552 w 582"/>
                  <a:gd name="T7" fmla="*/ 302 h 302"/>
                  <a:gd name="T8" fmla="*/ 582 w 582"/>
                  <a:gd name="T9" fmla="*/ 230 h 302"/>
                </a:gdLst>
                <a:ahLst/>
                <a:cxnLst>
                  <a:cxn ang="0">
                    <a:pos x="T0" y="T1"/>
                  </a:cxn>
                  <a:cxn ang="0">
                    <a:pos x="T2" y="T3"/>
                  </a:cxn>
                  <a:cxn ang="0">
                    <a:pos x="T4" y="T5"/>
                  </a:cxn>
                  <a:cxn ang="0">
                    <a:pos x="T6" y="T7"/>
                  </a:cxn>
                  <a:cxn ang="0">
                    <a:pos x="T8" y="T9"/>
                  </a:cxn>
                </a:cxnLst>
                <a:rect l="0" t="0" r="r" b="b"/>
                <a:pathLst>
                  <a:path w="582" h="302">
                    <a:moveTo>
                      <a:pt x="582" y="230"/>
                    </a:moveTo>
                    <a:lnTo>
                      <a:pt x="30" y="0"/>
                    </a:lnTo>
                    <a:lnTo>
                      <a:pt x="0" y="72"/>
                    </a:lnTo>
                    <a:lnTo>
                      <a:pt x="552" y="302"/>
                    </a:lnTo>
                    <a:lnTo>
                      <a:pt x="582" y="230"/>
                    </a:lnTo>
                    <a:close/>
                  </a:path>
                </a:pathLst>
              </a:custGeom>
              <a:solidFill>
                <a:sysClr val="window" lastClr="FFFFFF">
                  <a:lumMod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75" name="Freeform 674"/>
              <p:cNvSpPr>
                <a:spLocks/>
              </p:cNvSpPr>
              <p:nvPr/>
            </p:nvSpPr>
            <p:spPr bwMode="auto">
              <a:xfrm>
                <a:off x="3879780" y="3880170"/>
                <a:ext cx="220130" cy="113164"/>
              </a:xfrm>
              <a:custGeom>
                <a:avLst/>
                <a:gdLst>
                  <a:gd name="T0" fmla="*/ 581 w 581"/>
                  <a:gd name="T1" fmla="*/ 231 h 303"/>
                  <a:gd name="T2" fmla="*/ 30 w 581"/>
                  <a:gd name="T3" fmla="*/ 0 h 303"/>
                  <a:gd name="T4" fmla="*/ 0 w 581"/>
                  <a:gd name="T5" fmla="*/ 72 h 303"/>
                  <a:gd name="T6" fmla="*/ 550 w 581"/>
                  <a:gd name="T7" fmla="*/ 303 h 303"/>
                  <a:gd name="T8" fmla="*/ 581 w 581"/>
                  <a:gd name="T9" fmla="*/ 231 h 303"/>
                </a:gdLst>
                <a:ahLst/>
                <a:cxnLst>
                  <a:cxn ang="0">
                    <a:pos x="T0" y="T1"/>
                  </a:cxn>
                  <a:cxn ang="0">
                    <a:pos x="T2" y="T3"/>
                  </a:cxn>
                  <a:cxn ang="0">
                    <a:pos x="T4" y="T5"/>
                  </a:cxn>
                  <a:cxn ang="0">
                    <a:pos x="T6" y="T7"/>
                  </a:cxn>
                  <a:cxn ang="0">
                    <a:pos x="T8" y="T9"/>
                  </a:cxn>
                </a:cxnLst>
                <a:rect l="0" t="0" r="r" b="b"/>
                <a:pathLst>
                  <a:path w="581" h="303">
                    <a:moveTo>
                      <a:pt x="581" y="231"/>
                    </a:moveTo>
                    <a:lnTo>
                      <a:pt x="30" y="0"/>
                    </a:lnTo>
                    <a:lnTo>
                      <a:pt x="0" y="72"/>
                    </a:lnTo>
                    <a:lnTo>
                      <a:pt x="550" y="303"/>
                    </a:lnTo>
                    <a:lnTo>
                      <a:pt x="581" y="231"/>
                    </a:lnTo>
                    <a:close/>
                  </a:path>
                </a:pathLst>
              </a:custGeom>
              <a:solidFill>
                <a:sysClr val="window" lastClr="FFFFFF">
                  <a:lumMod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76" name="Freeform 675"/>
              <p:cNvSpPr>
                <a:spLocks/>
              </p:cNvSpPr>
              <p:nvPr/>
            </p:nvSpPr>
            <p:spPr bwMode="auto">
              <a:xfrm>
                <a:off x="3904071" y="3825077"/>
                <a:ext cx="220130" cy="113164"/>
              </a:xfrm>
              <a:custGeom>
                <a:avLst/>
                <a:gdLst>
                  <a:gd name="T0" fmla="*/ 582 w 582"/>
                  <a:gd name="T1" fmla="*/ 231 h 303"/>
                  <a:gd name="T2" fmla="*/ 30 w 582"/>
                  <a:gd name="T3" fmla="*/ 0 h 303"/>
                  <a:gd name="T4" fmla="*/ 0 w 582"/>
                  <a:gd name="T5" fmla="*/ 72 h 303"/>
                  <a:gd name="T6" fmla="*/ 552 w 582"/>
                  <a:gd name="T7" fmla="*/ 303 h 303"/>
                  <a:gd name="T8" fmla="*/ 582 w 582"/>
                  <a:gd name="T9" fmla="*/ 231 h 303"/>
                </a:gdLst>
                <a:ahLst/>
                <a:cxnLst>
                  <a:cxn ang="0">
                    <a:pos x="T0" y="T1"/>
                  </a:cxn>
                  <a:cxn ang="0">
                    <a:pos x="T2" y="T3"/>
                  </a:cxn>
                  <a:cxn ang="0">
                    <a:pos x="T4" y="T5"/>
                  </a:cxn>
                  <a:cxn ang="0">
                    <a:pos x="T6" y="T7"/>
                  </a:cxn>
                  <a:cxn ang="0">
                    <a:pos x="T8" y="T9"/>
                  </a:cxn>
                </a:cxnLst>
                <a:rect l="0" t="0" r="r" b="b"/>
                <a:pathLst>
                  <a:path w="582" h="303">
                    <a:moveTo>
                      <a:pt x="582" y="231"/>
                    </a:moveTo>
                    <a:lnTo>
                      <a:pt x="30" y="0"/>
                    </a:lnTo>
                    <a:lnTo>
                      <a:pt x="0" y="72"/>
                    </a:lnTo>
                    <a:lnTo>
                      <a:pt x="552" y="303"/>
                    </a:lnTo>
                    <a:lnTo>
                      <a:pt x="582" y="231"/>
                    </a:lnTo>
                    <a:close/>
                  </a:path>
                </a:pathLst>
              </a:custGeom>
              <a:solidFill>
                <a:sysClr val="window" lastClr="FFFFFF">
                  <a:lumMod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77" name="Freeform 676"/>
              <p:cNvSpPr>
                <a:spLocks/>
              </p:cNvSpPr>
              <p:nvPr/>
            </p:nvSpPr>
            <p:spPr bwMode="auto">
              <a:xfrm>
                <a:off x="3926844" y="3769984"/>
                <a:ext cx="221649" cy="113164"/>
              </a:xfrm>
              <a:custGeom>
                <a:avLst/>
                <a:gdLst>
                  <a:gd name="T0" fmla="*/ 582 w 582"/>
                  <a:gd name="T1" fmla="*/ 230 h 302"/>
                  <a:gd name="T2" fmla="*/ 30 w 582"/>
                  <a:gd name="T3" fmla="*/ 0 h 302"/>
                  <a:gd name="T4" fmla="*/ 0 w 582"/>
                  <a:gd name="T5" fmla="*/ 72 h 302"/>
                  <a:gd name="T6" fmla="*/ 552 w 582"/>
                  <a:gd name="T7" fmla="*/ 302 h 302"/>
                  <a:gd name="T8" fmla="*/ 582 w 582"/>
                  <a:gd name="T9" fmla="*/ 230 h 302"/>
                </a:gdLst>
                <a:ahLst/>
                <a:cxnLst>
                  <a:cxn ang="0">
                    <a:pos x="T0" y="T1"/>
                  </a:cxn>
                  <a:cxn ang="0">
                    <a:pos x="T2" y="T3"/>
                  </a:cxn>
                  <a:cxn ang="0">
                    <a:pos x="T4" y="T5"/>
                  </a:cxn>
                  <a:cxn ang="0">
                    <a:pos x="T6" y="T7"/>
                  </a:cxn>
                  <a:cxn ang="0">
                    <a:pos x="T8" y="T9"/>
                  </a:cxn>
                </a:cxnLst>
                <a:rect l="0" t="0" r="r" b="b"/>
                <a:pathLst>
                  <a:path w="582" h="302">
                    <a:moveTo>
                      <a:pt x="582" y="230"/>
                    </a:moveTo>
                    <a:lnTo>
                      <a:pt x="30" y="0"/>
                    </a:lnTo>
                    <a:lnTo>
                      <a:pt x="0" y="72"/>
                    </a:lnTo>
                    <a:lnTo>
                      <a:pt x="552" y="302"/>
                    </a:lnTo>
                    <a:lnTo>
                      <a:pt x="582" y="230"/>
                    </a:lnTo>
                    <a:close/>
                  </a:path>
                </a:pathLst>
              </a:custGeom>
              <a:solidFill>
                <a:sysClr val="window" lastClr="FFFFFF">
                  <a:lumMod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78" name="Freeform 677"/>
              <p:cNvSpPr>
                <a:spLocks/>
              </p:cNvSpPr>
              <p:nvPr/>
            </p:nvSpPr>
            <p:spPr bwMode="auto">
              <a:xfrm>
                <a:off x="3951134" y="3714892"/>
                <a:ext cx="220130" cy="113164"/>
              </a:xfrm>
              <a:custGeom>
                <a:avLst/>
                <a:gdLst>
                  <a:gd name="T0" fmla="*/ 581 w 581"/>
                  <a:gd name="T1" fmla="*/ 231 h 303"/>
                  <a:gd name="T2" fmla="*/ 31 w 581"/>
                  <a:gd name="T3" fmla="*/ 0 h 303"/>
                  <a:gd name="T4" fmla="*/ 0 w 581"/>
                  <a:gd name="T5" fmla="*/ 72 h 303"/>
                  <a:gd name="T6" fmla="*/ 551 w 581"/>
                  <a:gd name="T7" fmla="*/ 303 h 303"/>
                  <a:gd name="T8" fmla="*/ 581 w 581"/>
                  <a:gd name="T9" fmla="*/ 231 h 303"/>
                </a:gdLst>
                <a:ahLst/>
                <a:cxnLst>
                  <a:cxn ang="0">
                    <a:pos x="T0" y="T1"/>
                  </a:cxn>
                  <a:cxn ang="0">
                    <a:pos x="T2" y="T3"/>
                  </a:cxn>
                  <a:cxn ang="0">
                    <a:pos x="T4" y="T5"/>
                  </a:cxn>
                  <a:cxn ang="0">
                    <a:pos x="T6" y="T7"/>
                  </a:cxn>
                  <a:cxn ang="0">
                    <a:pos x="T8" y="T9"/>
                  </a:cxn>
                </a:cxnLst>
                <a:rect l="0" t="0" r="r" b="b"/>
                <a:pathLst>
                  <a:path w="581" h="303">
                    <a:moveTo>
                      <a:pt x="581" y="231"/>
                    </a:moveTo>
                    <a:lnTo>
                      <a:pt x="31" y="0"/>
                    </a:lnTo>
                    <a:lnTo>
                      <a:pt x="0" y="72"/>
                    </a:lnTo>
                    <a:lnTo>
                      <a:pt x="551" y="303"/>
                    </a:lnTo>
                    <a:lnTo>
                      <a:pt x="581" y="231"/>
                    </a:lnTo>
                    <a:close/>
                  </a:path>
                </a:pathLst>
              </a:custGeom>
              <a:solidFill>
                <a:sysClr val="window" lastClr="FFFFFF">
                  <a:lumMod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sp>
          <p:nvSpPr>
            <p:cNvPr id="565" name="Freeform 564"/>
            <p:cNvSpPr>
              <a:spLocks/>
            </p:cNvSpPr>
            <p:nvPr/>
          </p:nvSpPr>
          <p:spPr bwMode="auto">
            <a:xfrm>
              <a:off x="4933241" y="4035799"/>
              <a:ext cx="562523" cy="636082"/>
            </a:xfrm>
            <a:custGeom>
              <a:avLst/>
              <a:gdLst>
                <a:gd name="T0" fmla="*/ 1173 w 1306"/>
                <a:gd name="T1" fmla="*/ 1217 h 1509"/>
                <a:gd name="T2" fmla="*/ 1306 w 1306"/>
                <a:gd name="T3" fmla="*/ 1157 h 1509"/>
                <a:gd name="T4" fmla="*/ 791 w 1306"/>
                <a:gd name="T5" fmla="*/ 0 h 1509"/>
                <a:gd name="T6" fmla="*/ 0 w 1306"/>
                <a:gd name="T7" fmla="*/ 352 h 1509"/>
                <a:gd name="T8" fmla="*/ 68 w 1306"/>
                <a:gd name="T9" fmla="*/ 504 h 1509"/>
                <a:gd name="T10" fmla="*/ 516 w 1306"/>
                <a:gd name="T11" fmla="*/ 1509 h 1509"/>
                <a:gd name="T12" fmla="*/ 1173 w 1306"/>
                <a:gd name="T13" fmla="*/ 1217 h 1509"/>
              </a:gdLst>
              <a:ahLst/>
              <a:cxnLst>
                <a:cxn ang="0">
                  <a:pos x="T0" y="T1"/>
                </a:cxn>
                <a:cxn ang="0">
                  <a:pos x="T2" y="T3"/>
                </a:cxn>
                <a:cxn ang="0">
                  <a:pos x="T4" y="T5"/>
                </a:cxn>
                <a:cxn ang="0">
                  <a:pos x="T6" y="T7"/>
                </a:cxn>
                <a:cxn ang="0">
                  <a:pos x="T8" y="T9"/>
                </a:cxn>
                <a:cxn ang="0">
                  <a:pos x="T10" y="T11"/>
                </a:cxn>
                <a:cxn ang="0">
                  <a:pos x="T12" y="T13"/>
                </a:cxn>
              </a:cxnLst>
              <a:rect l="0" t="0" r="r" b="b"/>
              <a:pathLst>
                <a:path w="1306" h="1509">
                  <a:moveTo>
                    <a:pt x="1173" y="1217"/>
                  </a:moveTo>
                  <a:lnTo>
                    <a:pt x="1306" y="1157"/>
                  </a:lnTo>
                  <a:lnTo>
                    <a:pt x="791" y="0"/>
                  </a:lnTo>
                  <a:lnTo>
                    <a:pt x="0" y="352"/>
                  </a:lnTo>
                  <a:lnTo>
                    <a:pt x="68" y="504"/>
                  </a:lnTo>
                  <a:lnTo>
                    <a:pt x="516" y="1509"/>
                  </a:lnTo>
                  <a:lnTo>
                    <a:pt x="1173" y="1217"/>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66" name="Freeform 565"/>
            <p:cNvSpPr>
              <a:spLocks/>
            </p:cNvSpPr>
            <p:nvPr/>
          </p:nvSpPr>
          <p:spPr bwMode="auto">
            <a:xfrm>
              <a:off x="5113867" y="4466039"/>
              <a:ext cx="430064" cy="249710"/>
            </a:xfrm>
            <a:custGeom>
              <a:avLst/>
              <a:gdLst>
                <a:gd name="T0" fmla="*/ 953 w 999"/>
                <a:gd name="T1" fmla="*/ 61 h 590"/>
                <a:gd name="T2" fmla="*/ 878 w 999"/>
                <a:gd name="T3" fmla="*/ 30 h 590"/>
                <a:gd name="T4" fmla="*/ 859 w 999"/>
                <a:gd name="T5" fmla="*/ 8 h 590"/>
                <a:gd name="T6" fmla="*/ 831 w 999"/>
                <a:gd name="T7" fmla="*/ 0 h 590"/>
                <a:gd name="T8" fmla="*/ 811 w 999"/>
                <a:gd name="T9" fmla="*/ 5 h 590"/>
                <a:gd name="T10" fmla="*/ 794 w 999"/>
                <a:gd name="T11" fmla="*/ 18 h 590"/>
                <a:gd name="T12" fmla="*/ 783 w 999"/>
                <a:gd name="T13" fmla="*/ 37 h 590"/>
                <a:gd name="T14" fmla="*/ 782 w 999"/>
                <a:gd name="T15" fmla="*/ 51 h 590"/>
                <a:gd name="T16" fmla="*/ 763 w 999"/>
                <a:gd name="T17" fmla="*/ 40 h 590"/>
                <a:gd name="T18" fmla="*/ 741 w 999"/>
                <a:gd name="T19" fmla="*/ 38 h 590"/>
                <a:gd name="T20" fmla="*/ 727 w 999"/>
                <a:gd name="T21" fmla="*/ 42 h 590"/>
                <a:gd name="T22" fmla="*/ 710 w 999"/>
                <a:gd name="T23" fmla="*/ 55 h 590"/>
                <a:gd name="T24" fmla="*/ 699 w 999"/>
                <a:gd name="T25" fmla="*/ 74 h 590"/>
                <a:gd name="T26" fmla="*/ 697 w 999"/>
                <a:gd name="T27" fmla="*/ 89 h 590"/>
                <a:gd name="T28" fmla="*/ 678 w 999"/>
                <a:gd name="T29" fmla="*/ 78 h 590"/>
                <a:gd name="T30" fmla="*/ 657 w 999"/>
                <a:gd name="T31" fmla="*/ 76 h 590"/>
                <a:gd name="T32" fmla="*/ 643 w 999"/>
                <a:gd name="T33" fmla="*/ 79 h 590"/>
                <a:gd name="T34" fmla="*/ 624 w 999"/>
                <a:gd name="T35" fmla="*/ 93 h 590"/>
                <a:gd name="T36" fmla="*/ 615 w 999"/>
                <a:gd name="T37" fmla="*/ 112 h 590"/>
                <a:gd name="T38" fmla="*/ 613 w 999"/>
                <a:gd name="T39" fmla="*/ 126 h 590"/>
                <a:gd name="T40" fmla="*/ 594 w 999"/>
                <a:gd name="T41" fmla="*/ 115 h 590"/>
                <a:gd name="T42" fmla="*/ 573 w 999"/>
                <a:gd name="T43" fmla="*/ 113 h 590"/>
                <a:gd name="T44" fmla="*/ 559 w 999"/>
                <a:gd name="T45" fmla="*/ 117 h 590"/>
                <a:gd name="T46" fmla="*/ 540 w 999"/>
                <a:gd name="T47" fmla="*/ 130 h 590"/>
                <a:gd name="T48" fmla="*/ 530 w 999"/>
                <a:gd name="T49" fmla="*/ 149 h 590"/>
                <a:gd name="T50" fmla="*/ 528 w 999"/>
                <a:gd name="T51" fmla="*/ 163 h 590"/>
                <a:gd name="T52" fmla="*/ 510 w 999"/>
                <a:gd name="T53" fmla="*/ 153 h 590"/>
                <a:gd name="T54" fmla="*/ 488 w 999"/>
                <a:gd name="T55" fmla="*/ 150 h 590"/>
                <a:gd name="T56" fmla="*/ 474 w 999"/>
                <a:gd name="T57" fmla="*/ 155 h 590"/>
                <a:gd name="T58" fmla="*/ 456 w 999"/>
                <a:gd name="T59" fmla="*/ 168 h 590"/>
                <a:gd name="T60" fmla="*/ 446 w 999"/>
                <a:gd name="T61" fmla="*/ 187 h 590"/>
                <a:gd name="T62" fmla="*/ 444 w 999"/>
                <a:gd name="T63" fmla="*/ 201 h 590"/>
                <a:gd name="T64" fmla="*/ 426 w 999"/>
                <a:gd name="T65" fmla="*/ 190 h 590"/>
                <a:gd name="T66" fmla="*/ 404 w 999"/>
                <a:gd name="T67" fmla="*/ 188 h 590"/>
                <a:gd name="T68" fmla="*/ 390 w 999"/>
                <a:gd name="T69" fmla="*/ 193 h 590"/>
                <a:gd name="T70" fmla="*/ 372 w 999"/>
                <a:gd name="T71" fmla="*/ 206 h 590"/>
                <a:gd name="T72" fmla="*/ 362 w 999"/>
                <a:gd name="T73" fmla="*/ 225 h 590"/>
                <a:gd name="T74" fmla="*/ 360 w 999"/>
                <a:gd name="T75" fmla="*/ 239 h 590"/>
                <a:gd name="T76" fmla="*/ 341 w 999"/>
                <a:gd name="T77" fmla="*/ 228 h 590"/>
                <a:gd name="T78" fmla="*/ 320 w 999"/>
                <a:gd name="T79" fmla="*/ 226 h 590"/>
                <a:gd name="T80" fmla="*/ 306 w 999"/>
                <a:gd name="T81" fmla="*/ 230 h 590"/>
                <a:gd name="T82" fmla="*/ 287 w 999"/>
                <a:gd name="T83" fmla="*/ 243 h 590"/>
                <a:gd name="T84" fmla="*/ 278 w 999"/>
                <a:gd name="T85" fmla="*/ 262 h 590"/>
                <a:gd name="T86" fmla="*/ 276 w 999"/>
                <a:gd name="T87" fmla="*/ 277 h 590"/>
                <a:gd name="T88" fmla="*/ 257 w 999"/>
                <a:gd name="T89" fmla="*/ 266 h 590"/>
                <a:gd name="T90" fmla="*/ 236 w 999"/>
                <a:gd name="T91" fmla="*/ 264 h 590"/>
                <a:gd name="T92" fmla="*/ 221 w 999"/>
                <a:gd name="T93" fmla="*/ 267 h 590"/>
                <a:gd name="T94" fmla="*/ 203 w 999"/>
                <a:gd name="T95" fmla="*/ 281 h 590"/>
                <a:gd name="T96" fmla="*/ 194 w 999"/>
                <a:gd name="T97" fmla="*/ 300 h 590"/>
                <a:gd name="T98" fmla="*/ 191 w 999"/>
                <a:gd name="T99" fmla="*/ 314 h 590"/>
                <a:gd name="T100" fmla="*/ 173 w 999"/>
                <a:gd name="T101" fmla="*/ 303 h 590"/>
                <a:gd name="T102" fmla="*/ 151 w 999"/>
                <a:gd name="T103" fmla="*/ 301 h 590"/>
                <a:gd name="T104" fmla="*/ 136 w 999"/>
                <a:gd name="T105" fmla="*/ 305 h 590"/>
                <a:gd name="T106" fmla="*/ 119 w 999"/>
                <a:gd name="T107" fmla="*/ 318 h 590"/>
                <a:gd name="T108" fmla="*/ 109 w 999"/>
                <a:gd name="T109" fmla="*/ 337 h 590"/>
                <a:gd name="T110" fmla="*/ 107 w 999"/>
                <a:gd name="T111" fmla="*/ 351 h 590"/>
                <a:gd name="T112" fmla="*/ 89 w 999"/>
                <a:gd name="T113" fmla="*/ 341 h 590"/>
                <a:gd name="T114" fmla="*/ 67 w 999"/>
                <a:gd name="T115" fmla="*/ 338 h 590"/>
                <a:gd name="T116" fmla="*/ 52 w 999"/>
                <a:gd name="T117" fmla="*/ 343 h 590"/>
                <a:gd name="T118" fmla="*/ 30 w 999"/>
                <a:gd name="T119" fmla="*/ 362 h 590"/>
                <a:gd name="T120" fmla="*/ 23 w 999"/>
                <a:gd name="T121" fmla="*/ 389 h 590"/>
                <a:gd name="T122" fmla="*/ 51 w 999"/>
                <a:gd name="T123" fmla="*/ 463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9" h="590">
                  <a:moveTo>
                    <a:pt x="47" y="590"/>
                  </a:moveTo>
                  <a:lnTo>
                    <a:pt x="999" y="166"/>
                  </a:lnTo>
                  <a:lnTo>
                    <a:pt x="953" y="61"/>
                  </a:lnTo>
                  <a:lnTo>
                    <a:pt x="902" y="84"/>
                  </a:lnTo>
                  <a:lnTo>
                    <a:pt x="878" y="30"/>
                  </a:lnTo>
                  <a:lnTo>
                    <a:pt x="878" y="30"/>
                  </a:lnTo>
                  <a:lnTo>
                    <a:pt x="873" y="21"/>
                  </a:lnTo>
                  <a:lnTo>
                    <a:pt x="866" y="13"/>
                  </a:lnTo>
                  <a:lnTo>
                    <a:pt x="859" y="8"/>
                  </a:lnTo>
                  <a:lnTo>
                    <a:pt x="850" y="4"/>
                  </a:lnTo>
                  <a:lnTo>
                    <a:pt x="840" y="0"/>
                  </a:lnTo>
                  <a:lnTo>
                    <a:pt x="831" y="0"/>
                  </a:lnTo>
                  <a:lnTo>
                    <a:pt x="821" y="1"/>
                  </a:lnTo>
                  <a:lnTo>
                    <a:pt x="811" y="5"/>
                  </a:lnTo>
                  <a:lnTo>
                    <a:pt x="811" y="5"/>
                  </a:lnTo>
                  <a:lnTo>
                    <a:pt x="805" y="8"/>
                  </a:lnTo>
                  <a:lnTo>
                    <a:pt x="798" y="12"/>
                  </a:lnTo>
                  <a:lnTo>
                    <a:pt x="794" y="18"/>
                  </a:lnTo>
                  <a:lnTo>
                    <a:pt x="790" y="23"/>
                  </a:lnTo>
                  <a:lnTo>
                    <a:pt x="786" y="30"/>
                  </a:lnTo>
                  <a:lnTo>
                    <a:pt x="783" y="37"/>
                  </a:lnTo>
                  <a:lnTo>
                    <a:pt x="782" y="44"/>
                  </a:lnTo>
                  <a:lnTo>
                    <a:pt x="782" y="51"/>
                  </a:lnTo>
                  <a:lnTo>
                    <a:pt x="782" y="51"/>
                  </a:lnTo>
                  <a:lnTo>
                    <a:pt x="776" y="47"/>
                  </a:lnTo>
                  <a:lnTo>
                    <a:pt x="770" y="42"/>
                  </a:lnTo>
                  <a:lnTo>
                    <a:pt x="763" y="40"/>
                  </a:lnTo>
                  <a:lnTo>
                    <a:pt x="756" y="38"/>
                  </a:lnTo>
                  <a:lnTo>
                    <a:pt x="749" y="37"/>
                  </a:lnTo>
                  <a:lnTo>
                    <a:pt x="741" y="38"/>
                  </a:lnTo>
                  <a:lnTo>
                    <a:pt x="735" y="39"/>
                  </a:lnTo>
                  <a:lnTo>
                    <a:pt x="727" y="42"/>
                  </a:lnTo>
                  <a:lnTo>
                    <a:pt x="727" y="42"/>
                  </a:lnTo>
                  <a:lnTo>
                    <a:pt x="721" y="46"/>
                  </a:lnTo>
                  <a:lnTo>
                    <a:pt x="714" y="50"/>
                  </a:lnTo>
                  <a:lnTo>
                    <a:pt x="710" y="55"/>
                  </a:lnTo>
                  <a:lnTo>
                    <a:pt x="705" y="61"/>
                  </a:lnTo>
                  <a:lnTo>
                    <a:pt x="701" y="67"/>
                  </a:lnTo>
                  <a:lnTo>
                    <a:pt x="699" y="74"/>
                  </a:lnTo>
                  <a:lnTo>
                    <a:pt x="698" y="81"/>
                  </a:lnTo>
                  <a:lnTo>
                    <a:pt x="697" y="89"/>
                  </a:lnTo>
                  <a:lnTo>
                    <a:pt x="697" y="89"/>
                  </a:lnTo>
                  <a:lnTo>
                    <a:pt x="691" y="84"/>
                  </a:lnTo>
                  <a:lnTo>
                    <a:pt x="685" y="80"/>
                  </a:lnTo>
                  <a:lnTo>
                    <a:pt x="678" y="78"/>
                  </a:lnTo>
                  <a:lnTo>
                    <a:pt x="672" y="76"/>
                  </a:lnTo>
                  <a:lnTo>
                    <a:pt x="664" y="75"/>
                  </a:lnTo>
                  <a:lnTo>
                    <a:pt x="657" y="76"/>
                  </a:lnTo>
                  <a:lnTo>
                    <a:pt x="650" y="77"/>
                  </a:lnTo>
                  <a:lnTo>
                    <a:pt x="643" y="79"/>
                  </a:lnTo>
                  <a:lnTo>
                    <a:pt x="643" y="79"/>
                  </a:lnTo>
                  <a:lnTo>
                    <a:pt x="636" y="84"/>
                  </a:lnTo>
                  <a:lnTo>
                    <a:pt x="630" y="88"/>
                  </a:lnTo>
                  <a:lnTo>
                    <a:pt x="624" y="93"/>
                  </a:lnTo>
                  <a:lnTo>
                    <a:pt x="621" y="99"/>
                  </a:lnTo>
                  <a:lnTo>
                    <a:pt x="617" y="105"/>
                  </a:lnTo>
                  <a:lnTo>
                    <a:pt x="615" y="112"/>
                  </a:lnTo>
                  <a:lnTo>
                    <a:pt x="614" y="119"/>
                  </a:lnTo>
                  <a:lnTo>
                    <a:pt x="613" y="126"/>
                  </a:lnTo>
                  <a:lnTo>
                    <a:pt x="613" y="126"/>
                  </a:lnTo>
                  <a:lnTo>
                    <a:pt x="607" y="121"/>
                  </a:lnTo>
                  <a:lnTo>
                    <a:pt x="601" y="118"/>
                  </a:lnTo>
                  <a:lnTo>
                    <a:pt x="594" y="115"/>
                  </a:lnTo>
                  <a:lnTo>
                    <a:pt x="588" y="114"/>
                  </a:lnTo>
                  <a:lnTo>
                    <a:pt x="580" y="113"/>
                  </a:lnTo>
                  <a:lnTo>
                    <a:pt x="573" y="113"/>
                  </a:lnTo>
                  <a:lnTo>
                    <a:pt x="566" y="115"/>
                  </a:lnTo>
                  <a:lnTo>
                    <a:pt x="559" y="117"/>
                  </a:lnTo>
                  <a:lnTo>
                    <a:pt x="559" y="117"/>
                  </a:lnTo>
                  <a:lnTo>
                    <a:pt x="552" y="120"/>
                  </a:lnTo>
                  <a:lnTo>
                    <a:pt x="546" y="126"/>
                  </a:lnTo>
                  <a:lnTo>
                    <a:pt x="540" y="130"/>
                  </a:lnTo>
                  <a:lnTo>
                    <a:pt x="536" y="136"/>
                  </a:lnTo>
                  <a:lnTo>
                    <a:pt x="533" y="143"/>
                  </a:lnTo>
                  <a:lnTo>
                    <a:pt x="530" y="149"/>
                  </a:lnTo>
                  <a:lnTo>
                    <a:pt x="529" y="157"/>
                  </a:lnTo>
                  <a:lnTo>
                    <a:pt x="528" y="163"/>
                  </a:lnTo>
                  <a:lnTo>
                    <a:pt x="528" y="163"/>
                  </a:lnTo>
                  <a:lnTo>
                    <a:pt x="523" y="159"/>
                  </a:lnTo>
                  <a:lnTo>
                    <a:pt x="516" y="156"/>
                  </a:lnTo>
                  <a:lnTo>
                    <a:pt x="510" y="153"/>
                  </a:lnTo>
                  <a:lnTo>
                    <a:pt x="503" y="152"/>
                  </a:lnTo>
                  <a:lnTo>
                    <a:pt x="496" y="150"/>
                  </a:lnTo>
                  <a:lnTo>
                    <a:pt x="488" y="150"/>
                  </a:lnTo>
                  <a:lnTo>
                    <a:pt x="481" y="153"/>
                  </a:lnTo>
                  <a:lnTo>
                    <a:pt x="474" y="155"/>
                  </a:lnTo>
                  <a:lnTo>
                    <a:pt x="474" y="155"/>
                  </a:lnTo>
                  <a:lnTo>
                    <a:pt x="468" y="158"/>
                  </a:lnTo>
                  <a:lnTo>
                    <a:pt x="461" y="162"/>
                  </a:lnTo>
                  <a:lnTo>
                    <a:pt x="456" y="168"/>
                  </a:lnTo>
                  <a:lnTo>
                    <a:pt x="452" y="174"/>
                  </a:lnTo>
                  <a:lnTo>
                    <a:pt x="448" y="181"/>
                  </a:lnTo>
                  <a:lnTo>
                    <a:pt x="446" y="187"/>
                  </a:lnTo>
                  <a:lnTo>
                    <a:pt x="445" y="194"/>
                  </a:lnTo>
                  <a:lnTo>
                    <a:pt x="444" y="201"/>
                  </a:lnTo>
                  <a:lnTo>
                    <a:pt x="444" y="201"/>
                  </a:lnTo>
                  <a:lnTo>
                    <a:pt x="439" y="197"/>
                  </a:lnTo>
                  <a:lnTo>
                    <a:pt x="432" y="194"/>
                  </a:lnTo>
                  <a:lnTo>
                    <a:pt x="426" y="190"/>
                  </a:lnTo>
                  <a:lnTo>
                    <a:pt x="419" y="188"/>
                  </a:lnTo>
                  <a:lnTo>
                    <a:pt x="412" y="188"/>
                  </a:lnTo>
                  <a:lnTo>
                    <a:pt x="404" y="188"/>
                  </a:lnTo>
                  <a:lnTo>
                    <a:pt x="397" y="189"/>
                  </a:lnTo>
                  <a:lnTo>
                    <a:pt x="390" y="193"/>
                  </a:lnTo>
                  <a:lnTo>
                    <a:pt x="390" y="193"/>
                  </a:lnTo>
                  <a:lnTo>
                    <a:pt x="383" y="196"/>
                  </a:lnTo>
                  <a:lnTo>
                    <a:pt x="377" y="200"/>
                  </a:lnTo>
                  <a:lnTo>
                    <a:pt x="372" y="206"/>
                  </a:lnTo>
                  <a:lnTo>
                    <a:pt x="367" y="211"/>
                  </a:lnTo>
                  <a:lnTo>
                    <a:pt x="364" y="217"/>
                  </a:lnTo>
                  <a:lnTo>
                    <a:pt x="362" y="225"/>
                  </a:lnTo>
                  <a:lnTo>
                    <a:pt x="360" y="231"/>
                  </a:lnTo>
                  <a:lnTo>
                    <a:pt x="360" y="239"/>
                  </a:lnTo>
                  <a:lnTo>
                    <a:pt x="360" y="239"/>
                  </a:lnTo>
                  <a:lnTo>
                    <a:pt x="354" y="235"/>
                  </a:lnTo>
                  <a:lnTo>
                    <a:pt x="348" y="230"/>
                  </a:lnTo>
                  <a:lnTo>
                    <a:pt x="341" y="228"/>
                  </a:lnTo>
                  <a:lnTo>
                    <a:pt x="334" y="226"/>
                  </a:lnTo>
                  <a:lnTo>
                    <a:pt x="327" y="226"/>
                  </a:lnTo>
                  <a:lnTo>
                    <a:pt x="320" y="226"/>
                  </a:lnTo>
                  <a:lnTo>
                    <a:pt x="312" y="227"/>
                  </a:lnTo>
                  <a:lnTo>
                    <a:pt x="306" y="230"/>
                  </a:lnTo>
                  <a:lnTo>
                    <a:pt x="306" y="230"/>
                  </a:lnTo>
                  <a:lnTo>
                    <a:pt x="298" y="234"/>
                  </a:lnTo>
                  <a:lnTo>
                    <a:pt x="293" y="238"/>
                  </a:lnTo>
                  <a:lnTo>
                    <a:pt x="287" y="243"/>
                  </a:lnTo>
                  <a:lnTo>
                    <a:pt x="283" y="249"/>
                  </a:lnTo>
                  <a:lnTo>
                    <a:pt x="280" y="255"/>
                  </a:lnTo>
                  <a:lnTo>
                    <a:pt x="278" y="262"/>
                  </a:lnTo>
                  <a:lnTo>
                    <a:pt x="276" y="269"/>
                  </a:lnTo>
                  <a:lnTo>
                    <a:pt x="276" y="277"/>
                  </a:lnTo>
                  <a:lnTo>
                    <a:pt x="276" y="277"/>
                  </a:lnTo>
                  <a:lnTo>
                    <a:pt x="270" y="273"/>
                  </a:lnTo>
                  <a:lnTo>
                    <a:pt x="264" y="268"/>
                  </a:lnTo>
                  <a:lnTo>
                    <a:pt x="257" y="266"/>
                  </a:lnTo>
                  <a:lnTo>
                    <a:pt x="250" y="264"/>
                  </a:lnTo>
                  <a:lnTo>
                    <a:pt x="243" y="263"/>
                  </a:lnTo>
                  <a:lnTo>
                    <a:pt x="236" y="264"/>
                  </a:lnTo>
                  <a:lnTo>
                    <a:pt x="228" y="265"/>
                  </a:lnTo>
                  <a:lnTo>
                    <a:pt x="221" y="267"/>
                  </a:lnTo>
                  <a:lnTo>
                    <a:pt x="221" y="267"/>
                  </a:lnTo>
                  <a:lnTo>
                    <a:pt x="214" y="271"/>
                  </a:lnTo>
                  <a:lnTo>
                    <a:pt x="209" y="276"/>
                  </a:lnTo>
                  <a:lnTo>
                    <a:pt x="203" y="281"/>
                  </a:lnTo>
                  <a:lnTo>
                    <a:pt x="199" y="287"/>
                  </a:lnTo>
                  <a:lnTo>
                    <a:pt x="196" y="293"/>
                  </a:lnTo>
                  <a:lnTo>
                    <a:pt x="194" y="300"/>
                  </a:lnTo>
                  <a:lnTo>
                    <a:pt x="191" y="307"/>
                  </a:lnTo>
                  <a:lnTo>
                    <a:pt x="191" y="314"/>
                  </a:lnTo>
                  <a:lnTo>
                    <a:pt x="191" y="314"/>
                  </a:lnTo>
                  <a:lnTo>
                    <a:pt x="186" y="309"/>
                  </a:lnTo>
                  <a:lnTo>
                    <a:pt x="179" y="306"/>
                  </a:lnTo>
                  <a:lnTo>
                    <a:pt x="173" y="303"/>
                  </a:lnTo>
                  <a:lnTo>
                    <a:pt x="165" y="302"/>
                  </a:lnTo>
                  <a:lnTo>
                    <a:pt x="159" y="301"/>
                  </a:lnTo>
                  <a:lnTo>
                    <a:pt x="151" y="301"/>
                  </a:lnTo>
                  <a:lnTo>
                    <a:pt x="144" y="303"/>
                  </a:lnTo>
                  <a:lnTo>
                    <a:pt x="136" y="305"/>
                  </a:lnTo>
                  <a:lnTo>
                    <a:pt x="136" y="305"/>
                  </a:lnTo>
                  <a:lnTo>
                    <a:pt x="130" y="309"/>
                  </a:lnTo>
                  <a:lnTo>
                    <a:pt x="124" y="314"/>
                  </a:lnTo>
                  <a:lnTo>
                    <a:pt x="119" y="318"/>
                  </a:lnTo>
                  <a:lnTo>
                    <a:pt x="115" y="324"/>
                  </a:lnTo>
                  <a:lnTo>
                    <a:pt x="111" y="331"/>
                  </a:lnTo>
                  <a:lnTo>
                    <a:pt x="109" y="337"/>
                  </a:lnTo>
                  <a:lnTo>
                    <a:pt x="107" y="345"/>
                  </a:lnTo>
                  <a:lnTo>
                    <a:pt x="107" y="351"/>
                  </a:lnTo>
                  <a:lnTo>
                    <a:pt x="107" y="351"/>
                  </a:lnTo>
                  <a:lnTo>
                    <a:pt x="102" y="347"/>
                  </a:lnTo>
                  <a:lnTo>
                    <a:pt x="95" y="344"/>
                  </a:lnTo>
                  <a:lnTo>
                    <a:pt x="89" y="341"/>
                  </a:lnTo>
                  <a:lnTo>
                    <a:pt x="81" y="339"/>
                  </a:lnTo>
                  <a:lnTo>
                    <a:pt x="74" y="338"/>
                  </a:lnTo>
                  <a:lnTo>
                    <a:pt x="67" y="338"/>
                  </a:lnTo>
                  <a:lnTo>
                    <a:pt x="60" y="341"/>
                  </a:lnTo>
                  <a:lnTo>
                    <a:pt x="52" y="343"/>
                  </a:lnTo>
                  <a:lnTo>
                    <a:pt x="52" y="343"/>
                  </a:lnTo>
                  <a:lnTo>
                    <a:pt x="43" y="348"/>
                  </a:lnTo>
                  <a:lnTo>
                    <a:pt x="36" y="355"/>
                  </a:lnTo>
                  <a:lnTo>
                    <a:pt x="30" y="362"/>
                  </a:lnTo>
                  <a:lnTo>
                    <a:pt x="26" y="371"/>
                  </a:lnTo>
                  <a:lnTo>
                    <a:pt x="23" y="379"/>
                  </a:lnTo>
                  <a:lnTo>
                    <a:pt x="23" y="389"/>
                  </a:lnTo>
                  <a:lnTo>
                    <a:pt x="24" y="399"/>
                  </a:lnTo>
                  <a:lnTo>
                    <a:pt x="27" y="409"/>
                  </a:lnTo>
                  <a:lnTo>
                    <a:pt x="51" y="463"/>
                  </a:lnTo>
                  <a:lnTo>
                    <a:pt x="0" y="485"/>
                  </a:lnTo>
                  <a:lnTo>
                    <a:pt x="47" y="590"/>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67" name="Freeform 566"/>
            <p:cNvSpPr>
              <a:spLocks/>
            </p:cNvSpPr>
            <p:nvPr/>
          </p:nvSpPr>
          <p:spPr bwMode="auto">
            <a:xfrm>
              <a:off x="5129350" y="4506533"/>
              <a:ext cx="402541" cy="195718"/>
            </a:xfrm>
            <a:custGeom>
              <a:avLst/>
              <a:gdLst>
                <a:gd name="T0" fmla="*/ 0 w 938"/>
                <a:gd name="T1" fmla="*/ 406 h 466"/>
                <a:gd name="T2" fmla="*/ 911 w 938"/>
                <a:gd name="T3" fmla="*/ 0 h 466"/>
                <a:gd name="T4" fmla="*/ 938 w 938"/>
                <a:gd name="T5" fmla="*/ 60 h 466"/>
                <a:gd name="T6" fmla="*/ 27 w 938"/>
                <a:gd name="T7" fmla="*/ 466 h 466"/>
                <a:gd name="T8" fmla="*/ 0 w 938"/>
                <a:gd name="T9" fmla="*/ 406 h 466"/>
              </a:gdLst>
              <a:ahLst/>
              <a:cxnLst>
                <a:cxn ang="0">
                  <a:pos x="T0" y="T1"/>
                </a:cxn>
                <a:cxn ang="0">
                  <a:pos x="T2" y="T3"/>
                </a:cxn>
                <a:cxn ang="0">
                  <a:pos x="T4" y="T5"/>
                </a:cxn>
                <a:cxn ang="0">
                  <a:pos x="T6" y="T7"/>
                </a:cxn>
                <a:cxn ang="0">
                  <a:pos x="T8" y="T9"/>
                </a:cxn>
              </a:cxnLst>
              <a:rect l="0" t="0" r="r" b="b"/>
              <a:pathLst>
                <a:path w="938" h="466">
                  <a:moveTo>
                    <a:pt x="0" y="406"/>
                  </a:moveTo>
                  <a:lnTo>
                    <a:pt x="911" y="0"/>
                  </a:lnTo>
                  <a:lnTo>
                    <a:pt x="938" y="60"/>
                  </a:lnTo>
                  <a:lnTo>
                    <a:pt x="27" y="466"/>
                  </a:lnTo>
                  <a:lnTo>
                    <a:pt x="0" y="40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68" name="Rectangle 567"/>
            <p:cNvSpPr>
              <a:spLocks noChangeArrowheads="1"/>
            </p:cNvSpPr>
            <p:nvPr/>
          </p:nvSpPr>
          <p:spPr bwMode="auto">
            <a:xfrm>
              <a:off x="3305986" y="626398"/>
              <a:ext cx="17203" cy="1518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69" name="Rectangle 568"/>
            <p:cNvSpPr>
              <a:spLocks noChangeArrowheads="1"/>
            </p:cNvSpPr>
            <p:nvPr/>
          </p:nvSpPr>
          <p:spPr bwMode="auto">
            <a:xfrm>
              <a:off x="3305986" y="690511"/>
              <a:ext cx="17203" cy="1687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70" name="Freeform 569"/>
            <p:cNvSpPr>
              <a:spLocks/>
            </p:cNvSpPr>
            <p:nvPr/>
          </p:nvSpPr>
          <p:spPr bwMode="auto">
            <a:xfrm>
              <a:off x="3271582" y="641583"/>
              <a:ext cx="84293" cy="48930"/>
            </a:xfrm>
            <a:custGeom>
              <a:avLst/>
              <a:gdLst>
                <a:gd name="T0" fmla="*/ 0 w 194"/>
                <a:gd name="T1" fmla="*/ 39 h 117"/>
                <a:gd name="T2" fmla="*/ 0 w 194"/>
                <a:gd name="T3" fmla="*/ 78 h 117"/>
                <a:gd name="T4" fmla="*/ 117 w 194"/>
                <a:gd name="T5" fmla="*/ 78 h 117"/>
                <a:gd name="T6" fmla="*/ 117 w 194"/>
                <a:gd name="T7" fmla="*/ 117 h 117"/>
                <a:gd name="T8" fmla="*/ 157 w 194"/>
                <a:gd name="T9" fmla="*/ 117 h 117"/>
                <a:gd name="T10" fmla="*/ 157 w 194"/>
                <a:gd name="T11" fmla="*/ 78 h 117"/>
                <a:gd name="T12" fmla="*/ 194 w 194"/>
                <a:gd name="T13" fmla="*/ 78 h 117"/>
                <a:gd name="T14" fmla="*/ 194 w 194"/>
                <a:gd name="T15" fmla="*/ 39 h 117"/>
                <a:gd name="T16" fmla="*/ 157 w 194"/>
                <a:gd name="T17" fmla="*/ 39 h 117"/>
                <a:gd name="T18" fmla="*/ 157 w 194"/>
                <a:gd name="T19" fmla="*/ 0 h 117"/>
                <a:gd name="T20" fmla="*/ 117 w 194"/>
                <a:gd name="T21" fmla="*/ 0 h 117"/>
                <a:gd name="T22" fmla="*/ 117 w 194"/>
                <a:gd name="T23" fmla="*/ 39 h 117"/>
                <a:gd name="T24" fmla="*/ 0 w 194"/>
                <a:gd name="T25" fmla="*/ 3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4" h="117">
                  <a:moveTo>
                    <a:pt x="0" y="39"/>
                  </a:moveTo>
                  <a:lnTo>
                    <a:pt x="0" y="78"/>
                  </a:lnTo>
                  <a:lnTo>
                    <a:pt x="117" y="78"/>
                  </a:lnTo>
                  <a:lnTo>
                    <a:pt x="117" y="117"/>
                  </a:lnTo>
                  <a:lnTo>
                    <a:pt x="157" y="117"/>
                  </a:lnTo>
                  <a:lnTo>
                    <a:pt x="157" y="78"/>
                  </a:lnTo>
                  <a:lnTo>
                    <a:pt x="194" y="78"/>
                  </a:lnTo>
                  <a:lnTo>
                    <a:pt x="194" y="39"/>
                  </a:lnTo>
                  <a:lnTo>
                    <a:pt x="157" y="39"/>
                  </a:lnTo>
                  <a:lnTo>
                    <a:pt x="157" y="0"/>
                  </a:lnTo>
                  <a:lnTo>
                    <a:pt x="117" y="0"/>
                  </a:lnTo>
                  <a:lnTo>
                    <a:pt x="117" y="39"/>
                  </a:lnTo>
                  <a:lnTo>
                    <a:pt x="0"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71" name="Freeform 570"/>
            <p:cNvSpPr>
              <a:spLocks/>
            </p:cNvSpPr>
            <p:nvPr/>
          </p:nvSpPr>
          <p:spPr bwMode="auto">
            <a:xfrm>
              <a:off x="7058226" y="2127957"/>
              <a:ext cx="139340" cy="92798"/>
            </a:xfrm>
            <a:custGeom>
              <a:avLst/>
              <a:gdLst>
                <a:gd name="T0" fmla="*/ 161 w 320"/>
                <a:gd name="T1" fmla="*/ 44 h 219"/>
                <a:gd name="T2" fmla="*/ 0 w 320"/>
                <a:gd name="T3" fmla="*/ 91 h 219"/>
                <a:gd name="T4" fmla="*/ 36 w 320"/>
                <a:gd name="T5" fmla="*/ 219 h 219"/>
                <a:gd name="T6" fmla="*/ 197 w 320"/>
                <a:gd name="T7" fmla="*/ 173 h 219"/>
                <a:gd name="T8" fmla="*/ 210 w 320"/>
                <a:gd name="T9" fmla="*/ 217 h 219"/>
                <a:gd name="T10" fmla="*/ 320 w 320"/>
                <a:gd name="T11" fmla="*/ 67 h 219"/>
                <a:gd name="T12" fmla="*/ 148 w 320"/>
                <a:gd name="T13" fmla="*/ 0 h 219"/>
                <a:gd name="T14" fmla="*/ 161 w 320"/>
                <a:gd name="T15" fmla="*/ 44 h 2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0" h="219">
                  <a:moveTo>
                    <a:pt x="161" y="44"/>
                  </a:moveTo>
                  <a:lnTo>
                    <a:pt x="0" y="91"/>
                  </a:lnTo>
                  <a:lnTo>
                    <a:pt x="36" y="219"/>
                  </a:lnTo>
                  <a:lnTo>
                    <a:pt x="197" y="173"/>
                  </a:lnTo>
                  <a:lnTo>
                    <a:pt x="210" y="217"/>
                  </a:lnTo>
                  <a:lnTo>
                    <a:pt x="320" y="67"/>
                  </a:lnTo>
                  <a:lnTo>
                    <a:pt x="148" y="0"/>
                  </a:lnTo>
                  <a:lnTo>
                    <a:pt x="161" y="44"/>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72" name="Freeform 571"/>
            <p:cNvSpPr>
              <a:spLocks/>
            </p:cNvSpPr>
            <p:nvPr/>
          </p:nvSpPr>
          <p:spPr bwMode="auto">
            <a:xfrm>
              <a:off x="6973765" y="1573648"/>
              <a:ext cx="87733" cy="136665"/>
            </a:xfrm>
            <a:custGeom>
              <a:avLst/>
              <a:gdLst>
                <a:gd name="T0" fmla="*/ 111 w 203"/>
                <a:gd name="T1" fmla="*/ 9 h 324"/>
                <a:gd name="T2" fmla="*/ 111 w 203"/>
                <a:gd name="T3" fmla="*/ 9 h 324"/>
                <a:gd name="T4" fmla="*/ 105 w 203"/>
                <a:gd name="T5" fmla="*/ 0 h 324"/>
                <a:gd name="T6" fmla="*/ 105 w 203"/>
                <a:gd name="T7" fmla="*/ 0 h 324"/>
                <a:gd name="T8" fmla="*/ 98 w 203"/>
                <a:gd name="T9" fmla="*/ 8 h 324"/>
                <a:gd name="T10" fmla="*/ 98 w 203"/>
                <a:gd name="T11" fmla="*/ 8 h 324"/>
                <a:gd name="T12" fmla="*/ 73 w 203"/>
                <a:gd name="T13" fmla="*/ 45 h 324"/>
                <a:gd name="T14" fmla="*/ 57 w 203"/>
                <a:gd name="T15" fmla="*/ 71 h 324"/>
                <a:gd name="T16" fmla="*/ 41 w 203"/>
                <a:gd name="T17" fmla="*/ 99 h 324"/>
                <a:gd name="T18" fmla="*/ 26 w 203"/>
                <a:gd name="T19" fmla="*/ 128 h 324"/>
                <a:gd name="T20" fmla="*/ 13 w 203"/>
                <a:gd name="T21" fmla="*/ 157 h 324"/>
                <a:gd name="T22" fmla="*/ 8 w 203"/>
                <a:gd name="T23" fmla="*/ 171 h 324"/>
                <a:gd name="T24" fmla="*/ 3 w 203"/>
                <a:gd name="T25" fmla="*/ 184 h 324"/>
                <a:gd name="T26" fmla="*/ 1 w 203"/>
                <a:gd name="T27" fmla="*/ 196 h 324"/>
                <a:gd name="T28" fmla="*/ 0 w 203"/>
                <a:gd name="T29" fmla="*/ 207 h 324"/>
                <a:gd name="T30" fmla="*/ 0 w 203"/>
                <a:gd name="T31" fmla="*/ 207 h 324"/>
                <a:gd name="T32" fmla="*/ 0 w 203"/>
                <a:gd name="T33" fmla="*/ 221 h 324"/>
                <a:gd name="T34" fmla="*/ 2 w 203"/>
                <a:gd name="T35" fmla="*/ 234 h 324"/>
                <a:gd name="T36" fmla="*/ 5 w 203"/>
                <a:gd name="T37" fmla="*/ 247 h 324"/>
                <a:gd name="T38" fmla="*/ 10 w 203"/>
                <a:gd name="T39" fmla="*/ 259 h 324"/>
                <a:gd name="T40" fmla="*/ 10 w 203"/>
                <a:gd name="T41" fmla="*/ 259 h 324"/>
                <a:gd name="T42" fmla="*/ 17 w 203"/>
                <a:gd name="T43" fmla="*/ 273 h 324"/>
                <a:gd name="T44" fmla="*/ 26 w 203"/>
                <a:gd name="T45" fmla="*/ 285 h 324"/>
                <a:gd name="T46" fmla="*/ 36 w 203"/>
                <a:gd name="T47" fmla="*/ 295 h 324"/>
                <a:gd name="T48" fmla="*/ 46 w 203"/>
                <a:gd name="T49" fmla="*/ 305 h 324"/>
                <a:gd name="T50" fmla="*/ 58 w 203"/>
                <a:gd name="T51" fmla="*/ 313 h 324"/>
                <a:gd name="T52" fmla="*/ 71 w 203"/>
                <a:gd name="T53" fmla="*/ 318 h 324"/>
                <a:gd name="T54" fmla="*/ 85 w 203"/>
                <a:gd name="T55" fmla="*/ 322 h 324"/>
                <a:gd name="T56" fmla="*/ 99 w 203"/>
                <a:gd name="T57" fmla="*/ 324 h 324"/>
                <a:gd name="T58" fmla="*/ 99 w 203"/>
                <a:gd name="T59" fmla="*/ 324 h 324"/>
                <a:gd name="T60" fmla="*/ 114 w 203"/>
                <a:gd name="T61" fmla="*/ 322 h 324"/>
                <a:gd name="T62" fmla="*/ 129 w 203"/>
                <a:gd name="T63" fmla="*/ 319 h 324"/>
                <a:gd name="T64" fmla="*/ 143 w 203"/>
                <a:gd name="T65" fmla="*/ 314 h 324"/>
                <a:gd name="T66" fmla="*/ 156 w 203"/>
                <a:gd name="T67" fmla="*/ 306 h 324"/>
                <a:gd name="T68" fmla="*/ 166 w 203"/>
                <a:gd name="T69" fmla="*/ 297 h 324"/>
                <a:gd name="T70" fmla="*/ 177 w 203"/>
                <a:gd name="T71" fmla="*/ 285 h 324"/>
                <a:gd name="T72" fmla="*/ 186 w 203"/>
                <a:gd name="T73" fmla="*/ 273 h 324"/>
                <a:gd name="T74" fmla="*/ 193 w 203"/>
                <a:gd name="T75" fmla="*/ 259 h 324"/>
                <a:gd name="T76" fmla="*/ 193 w 203"/>
                <a:gd name="T77" fmla="*/ 259 h 324"/>
                <a:gd name="T78" fmla="*/ 198 w 203"/>
                <a:gd name="T79" fmla="*/ 247 h 324"/>
                <a:gd name="T80" fmla="*/ 201 w 203"/>
                <a:gd name="T81" fmla="*/ 235 h 324"/>
                <a:gd name="T82" fmla="*/ 202 w 203"/>
                <a:gd name="T83" fmla="*/ 223 h 324"/>
                <a:gd name="T84" fmla="*/ 203 w 203"/>
                <a:gd name="T85" fmla="*/ 210 h 324"/>
                <a:gd name="T86" fmla="*/ 203 w 203"/>
                <a:gd name="T87" fmla="*/ 210 h 324"/>
                <a:gd name="T88" fmla="*/ 203 w 203"/>
                <a:gd name="T89" fmla="*/ 199 h 324"/>
                <a:gd name="T90" fmla="*/ 201 w 203"/>
                <a:gd name="T91" fmla="*/ 187 h 324"/>
                <a:gd name="T92" fmla="*/ 198 w 203"/>
                <a:gd name="T93" fmla="*/ 175 h 324"/>
                <a:gd name="T94" fmla="*/ 192 w 203"/>
                <a:gd name="T95" fmla="*/ 162 h 324"/>
                <a:gd name="T96" fmla="*/ 180 w 203"/>
                <a:gd name="T97" fmla="*/ 132 h 324"/>
                <a:gd name="T98" fmla="*/ 166 w 203"/>
                <a:gd name="T99" fmla="*/ 103 h 324"/>
                <a:gd name="T100" fmla="*/ 151 w 203"/>
                <a:gd name="T101" fmla="*/ 74 h 324"/>
                <a:gd name="T102" fmla="*/ 136 w 203"/>
                <a:gd name="T103" fmla="*/ 48 h 324"/>
                <a:gd name="T104" fmla="*/ 111 w 203"/>
                <a:gd name="T105" fmla="*/ 9 h 324"/>
                <a:gd name="T106" fmla="*/ 111 w 203"/>
                <a:gd name="T107" fmla="*/ 9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3" h="324">
                  <a:moveTo>
                    <a:pt x="111" y="9"/>
                  </a:moveTo>
                  <a:lnTo>
                    <a:pt x="111" y="9"/>
                  </a:lnTo>
                  <a:lnTo>
                    <a:pt x="105" y="0"/>
                  </a:lnTo>
                  <a:lnTo>
                    <a:pt x="105" y="0"/>
                  </a:lnTo>
                  <a:lnTo>
                    <a:pt x="98" y="8"/>
                  </a:lnTo>
                  <a:lnTo>
                    <a:pt x="98" y="8"/>
                  </a:lnTo>
                  <a:lnTo>
                    <a:pt x="73" y="45"/>
                  </a:lnTo>
                  <a:lnTo>
                    <a:pt x="57" y="71"/>
                  </a:lnTo>
                  <a:lnTo>
                    <a:pt x="41" y="99"/>
                  </a:lnTo>
                  <a:lnTo>
                    <a:pt x="26" y="128"/>
                  </a:lnTo>
                  <a:lnTo>
                    <a:pt x="13" y="157"/>
                  </a:lnTo>
                  <a:lnTo>
                    <a:pt x="8" y="171"/>
                  </a:lnTo>
                  <a:lnTo>
                    <a:pt x="3" y="184"/>
                  </a:lnTo>
                  <a:lnTo>
                    <a:pt x="1" y="196"/>
                  </a:lnTo>
                  <a:lnTo>
                    <a:pt x="0" y="207"/>
                  </a:lnTo>
                  <a:lnTo>
                    <a:pt x="0" y="207"/>
                  </a:lnTo>
                  <a:lnTo>
                    <a:pt x="0" y="221"/>
                  </a:lnTo>
                  <a:lnTo>
                    <a:pt x="2" y="234"/>
                  </a:lnTo>
                  <a:lnTo>
                    <a:pt x="5" y="247"/>
                  </a:lnTo>
                  <a:lnTo>
                    <a:pt x="10" y="259"/>
                  </a:lnTo>
                  <a:lnTo>
                    <a:pt x="10" y="259"/>
                  </a:lnTo>
                  <a:lnTo>
                    <a:pt x="17" y="273"/>
                  </a:lnTo>
                  <a:lnTo>
                    <a:pt x="26" y="285"/>
                  </a:lnTo>
                  <a:lnTo>
                    <a:pt x="36" y="295"/>
                  </a:lnTo>
                  <a:lnTo>
                    <a:pt x="46" y="305"/>
                  </a:lnTo>
                  <a:lnTo>
                    <a:pt x="58" y="313"/>
                  </a:lnTo>
                  <a:lnTo>
                    <a:pt x="71" y="318"/>
                  </a:lnTo>
                  <a:lnTo>
                    <a:pt x="85" y="322"/>
                  </a:lnTo>
                  <a:lnTo>
                    <a:pt x="99" y="324"/>
                  </a:lnTo>
                  <a:lnTo>
                    <a:pt x="99" y="324"/>
                  </a:lnTo>
                  <a:lnTo>
                    <a:pt x="114" y="322"/>
                  </a:lnTo>
                  <a:lnTo>
                    <a:pt x="129" y="319"/>
                  </a:lnTo>
                  <a:lnTo>
                    <a:pt x="143" y="314"/>
                  </a:lnTo>
                  <a:lnTo>
                    <a:pt x="156" y="306"/>
                  </a:lnTo>
                  <a:lnTo>
                    <a:pt x="166" y="297"/>
                  </a:lnTo>
                  <a:lnTo>
                    <a:pt x="177" y="285"/>
                  </a:lnTo>
                  <a:lnTo>
                    <a:pt x="186" y="273"/>
                  </a:lnTo>
                  <a:lnTo>
                    <a:pt x="193" y="259"/>
                  </a:lnTo>
                  <a:lnTo>
                    <a:pt x="193" y="259"/>
                  </a:lnTo>
                  <a:lnTo>
                    <a:pt x="198" y="247"/>
                  </a:lnTo>
                  <a:lnTo>
                    <a:pt x="201" y="235"/>
                  </a:lnTo>
                  <a:lnTo>
                    <a:pt x="202" y="223"/>
                  </a:lnTo>
                  <a:lnTo>
                    <a:pt x="203" y="210"/>
                  </a:lnTo>
                  <a:lnTo>
                    <a:pt x="203" y="210"/>
                  </a:lnTo>
                  <a:lnTo>
                    <a:pt x="203" y="199"/>
                  </a:lnTo>
                  <a:lnTo>
                    <a:pt x="201" y="187"/>
                  </a:lnTo>
                  <a:lnTo>
                    <a:pt x="198" y="175"/>
                  </a:lnTo>
                  <a:lnTo>
                    <a:pt x="192" y="162"/>
                  </a:lnTo>
                  <a:lnTo>
                    <a:pt x="180" y="132"/>
                  </a:lnTo>
                  <a:lnTo>
                    <a:pt x="166" y="103"/>
                  </a:lnTo>
                  <a:lnTo>
                    <a:pt x="151" y="74"/>
                  </a:lnTo>
                  <a:lnTo>
                    <a:pt x="136" y="48"/>
                  </a:lnTo>
                  <a:lnTo>
                    <a:pt x="111" y="9"/>
                  </a:lnTo>
                  <a:lnTo>
                    <a:pt x="111" y="9"/>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73" name="Freeform 572"/>
            <p:cNvSpPr>
              <a:spLocks/>
            </p:cNvSpPr>
            <p:nvPr/>
          </p:nvSpPr>
          <p:spPr bwMode="auto">
            <a:xfrm>
              <a:off x="7076980" y="1679944"/>
              <a:ext cx="61929" cy="96171"/>
            </a:xfrm>
            <a:custGeom>
              <a:avLst/>
              <a:gdLst>
                <a:gd name="T0" fmla="*/ 78 w 141"/>
                <a:gd name="T1" fmla="*/ 8 h 225"/>
                <a:gd name="T2" fmla="*/ 78 w 141"/>
                <a:gd name="T3" fmla="*/ 8 h 225"/>
                <a:gd name="T4" fmla="*/ 72 w 141"/>
                <a:gd name="T5" fmla="*/ 0 h 225"/>
                <a:gd name="T6" fmla="*/ 72 w 141"/>
                <a:gd name="T7" fmla="*/ 0 h 225"/>
                <a:gd name="T8" fmla="*/ 68 w 141"/>
                <a:gd name="T9" fmla="*/ 6 h 225"/>
                <a:gd name="T10" fmla="*/ 68 w 141"/>
                <a:gd name="T11" fmla="*/ 6 h 225"/>
                <a:gd name="T12" fmla="*/ 51 w 141"/>
                <a:gd name="T13" fmla="*/ 32 h 225"/>
                <a:gd name="T14" fmla="*/ 40 w 141"/>
                <a:gd name="T15" fmla="*/ 50 h 225"/>
                <a:gd name="T16" fmla="*/ 28 w 141"/>
                <a:gd name="T17" fmla="*/ 69 h 225"/>
                <a:gd name="T18" fmla="*/ 17 w 141"/>
                <a:gd name="T19" fmla="*/ 90 h 225"/>
                <a:gd name="T20" fmla="*/ 9 w 141"/>
                <a:gd name="T21" fmla="*/ 109 h 225"/>
                <a:gd name="T22" fmla="*/ 2 w 141"/>
                <a:gd name="T23" fmla="*/ 128 h 225"/>
                <a:gd name="T24" fmla="*/ 1 w 141"/>
                <a:gd name="T25" fmla="*/ 136 h 225"/>
                <a:gd name="T26" fmla="*/ 0 w 141"/>
                <a:gd name="T27" fmla="*/ 144 h 225"/>
                <a:gd name="T28" fmla="*/ 0 w 141"/>
                <a:gd name="T29" fmla="*/ 144 h 225"/>
                <a:gd name="T30" fmla="*/ 0 w 141"/>
                <a:gd name="T31" fmla="*/ 154 h 225"/>
                <a:gd name="T32" fmla="*/ 2 w 141"/>
                <a:gd name="T33" fmla="*/ 163 h 225"/>
                <a:gd name="T34" fmla="*/ 4 w 141"/>
                <a:gd name="T35" fmla="*/ 172 h 225"/>
                <a:gd name="T36" fmla="*/ 7 w 141"/>
                <a:gd name="T37" fmla="*/ 181 h 225"/>
                <a:gd name="T38" fmla="*/ 7 w 141"/>
                <a:gd name="T39" fmla="*/ 181 h 225"/>
                <a:gd name="T40" fmla="*/ 12 w 141"/>
                <a:gd name="T41" fmla="*/ 189 h 225"/>
                <a:gd name="T42" fmla="*/ 17 w 141"/>
                <a:gd name="T43" fmla="*/ 198 h 225"/>
                <a:gd name="T44" fmla="*/ 25 w 141"/>
                <a:gd name="T45" fmla="*/ 206 h 225"/>
                <a:gd name="T46" fmla="*/ 32 w 141"/>
                <a:gd name="T47" fmla="*/ 212 h 225"/>
                <a:gd name="T48" fmla="*/ 40 w 141"/>
                <a:gd name="T49" fmla="*/ 217 h 225"/>
                <a:gd name="T50" fmla="*/ 50 w 141"/>
                <a:gd name="T51" fmla="*/ 222 h 225"/>
                <a:gd name="T52" fmla="*/ 59 w 141"/>
                <a:gd name="T53" fmla="*/ 224 h 225"/>
                <a:gd name="T54" fmla="*/ 69 w 141"/>
                <a:gd name="T55" fmla="*/ 225 h 225"/>
                <a:gd name="T56" fmla="*/ 69 w 141"/>
                <a:gd name="T57" fmla="*/ 225 h 225"/>
                <a:gd name="T58" fmla="*/ 80 w 141"/>
                <a:gd name="T59" fmla="*/ 224 h 225"/>
                <a:gd name="T60" fmla="*/ 90 w 141"/>
                <a:gd name="T61" fmla="*/ 222 h 225"/>
                <a:gd name="T62" fmla="*/ 99 w 141"/>
                <a:gd name="T63" fmla="*/ 219 h 225"/>
                <a:gd name="T64" fmla="*/ 108 w 141"/>
                <a:gd name="T65" fmla="*/ 213 h 225"/>
                <a:gd name="T66" fmla="*/ 115 w 141"/>
                <a:gd name="T67" fmla="*/ 207 h 225"/>
                <a:gd name="T68" fmla="*/ 123 w 141"/>
                <a:gd name="T69" fmla="*/ 198 h 225"/>
                <a:gd name="T70" fmla="*/ 128 w 141"/>
                <a:gd name="T71" fmla="*/ 189 h 225"/>
                <a:gd name="T72" fmla="*/ 134 w 141"/>
                <a:gd name="T73" fmla="*/ 180 h 225"/>
                <a:gd name="T74" fmla="*/ 134 w 141"/>
                <a:gd name="T75" fmla="*/ 180 h 225"/>
                <a:gd name="T76" fmla="*/ 137 w 141"/>
                <a:gd name="T77" fmla="*/ 172 h 225"/>
                <a:gd name="T78" fmla="*/ 139 w 141"/>
                <a:gd name="T79" fmla="*/ 163 h 225"/>
                <a:gd name="T80" fmla="*/ 140 w 141"/>
                <a:gd name="T81" fmla="*/ 155 h 225"/>
                <a:gd name="T82" fmla="*/ 141 w 141"/>
                <a:gd name="T83" fmla="*/ 146 h 225"/>
                <a:gd name="T84" fmla="*/ 141 w 141"/>
                <a:gd name="T85" fmla="*/ 146 h 225"/>
                <a:gd name="T86" fmla="*/ 140 w 141"/>
                <a:gd name="T87" fmla="*/ 139 h 225"/>
                <a:gd name="T88" fmla="*/ 139 w 141"/>
                <a:gd name="T89" fmla="*/ 131 h 225"/>
                <a:gd name="T90" fmla="*/ 134 w 141"/>
                <a:gd name="T91" fmla="*/ 113 h 225"/>
                <a:gd name="T92" fmla="*/ 125 w 141"/>
                <a:gd name="T93" fmla="*/ 92 h 225"/>
                <a:gd name="T94" fmla="*/ 115 w 141"/>
                <a:gd name="T95" fmla="*/ 72 h 225"/>
                <a:gd name="T96" fmla="*/ 105 w 141"/>
                <a:gd name="T97" fmla="*/ 52 h 225"/>
                <a:gd name="T98" fmla="*/ 94 w 141"/>
                <a:gd name="T99" fmla="*/ 34 h 225"/>
                <a:gd name="T100" fmla="*/ 78 w 141"/>
                <a:gd name="T101" fmla="*/ 8 h 225"/>
                <a:gd name="T102" fmla="*/ 78 w 141"/>
                <a:gd name="T103" fmla="*/ 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1" h="225">
                  <a:moveTo>
                    <a:pt x="78" y="8"/>
                  </a:moveTo>
                  <a:lnTo>
                    <a:pt x="78" y="8"/>
                  </a:lnTo>
                  <a:lnTo>
                    <a:pt x="72" y="0"/>
                  </a:lnTo>
                  <a:lnTo>
                    <a:pt x="72" y="0"/>
                  </a:lnTo>
                  <a:lnTo>
                    <a:pt x="68" y="6"/>
                  </a:lnTo>
                  <a:lnTo>
                    <a:pt x="68" y="6"/>
                  </a:lnTo>
                  <a:lnTo>
                    <a:pt x="51" y="32"/>
                  </a:lnTo>
                  <a:lnTo>
                    <a:pt x="40" y="50"/>
                  </a:lnTo>
                  <a:lnTo>
                    <a:pt x="28" y="69"/>
                  </a:lnTo>
                  <a:lnTo>
                    <a:pt x="17" y="90"/>
                  </a:lnTo>
                  <a:lnTo>
                    <a:pt x="9" y="109"/>
                  </a:lnTo>
                  <a:lnTo>
                    <a:pt x="2" y="128"/>
                  </a:lnTo>
                  <a:lnTo>
                    <a:pt x="1" y="136"/>
                  </a:lnTo>
                  <a:lnTo>
                    <a:pt x="0" y="144"/>
                  </a:lnTo>
                  <a:lnTo>
                    <a:pt x="0" y="144"/>
                  </a:lnTo>
                  <a:lnTo>
                    <a:pt x="0" y="154"/>
                  </a:lnTo>
                  <a:lnTo>
                    <a:pt x="2" y="163"/>
                  </a:lnTo>
                  <a:lnTo>
                    <a:pt x="4" y="172"/>
                  </a:lnTo>
                  <a:lnTo>
                    <a:pt x="7" y="181"/>
                  </a:lnTo>
                  <a:lnTo>
                    <a:pt x="7" y="181"/>
                  </a:lnTo>
                  <a:lnTo>
                    <a:pt x="12" y="189"/>
                  </a:lnTo>
                  <a:lnTo>
                    <a:pt x="17" y="198"/>
                  </a:lnTo>
                  <a:lnTo>
                    <a:pt x="25" y="206"/>
                  </a:lnTo>
                  <a:lnTo>
                    <a:pt x="32" y="212"/>
                  </a:lnTo>
                  <a:lnTo>
                    <a:pt x="40" y="217"/>
                  </a:lnTo>
                  <a:lnTo>
                    <a:pt x="50" y="222"/>
                  </a:lnTo>
                  <a:lnTo>
                    <a:pt x="59" y="224"/>
                  </a:lnTo>
                  <a:lnTo>
                    <a:pt x="69" y="225"/>
                  </a:lnTo>
                  <a:lnTo>
                    <a:pt x="69" y="225"/>
                  </a:lnTo>
                  <a:lnTo>
                    <a:pt x="80" y="224"/>
                  </a:lnTo>
                  <a:lnTo>
                    <a:pt x="90" y="222"/>
                  </a:lnTo>
                  <a:lnTo>
                    <a:pt x="99" y="219"/>
                  </a:lnTo>
                  <a:lnTo>
                    <a:pt x="108" y="213"/>
                  </a:lnTo>
                  <a:lnTo>
                    <a:pt x="115" y="207"/>
                  </a:lnTo>
                  <a:lnTo>
                    <a:pt x="123" y="198"/>
                  </a:lnTo>
                  <a:lnTo>
                    <a:pt x="128" y="189"/>
                  </a:lnTo>
                  <a:lnTo>
                    <a:pt x="134" y="180"/>
                  </a:lnTo>
                  <a:lnTo>
                    <a:pt x="134" y="180"/>
                  </a:lnTo>
                  <a:lnTo>
                    <a:pt x="137" y="172"/>
                  </a:lnTo>
                  <a:lnTo>
                    <a:pt x="139" y="163"/>
                  </a:lnTo>
                  <a:lnTo>
                    <a:pt x="140" y="155"/>
                  </a:lnTo>
                  <a:lnTo>
                    <a:pt x="141" y="146"/>
                  </a:lnTo>
                  <a:lnTo>
                    <a:pt x="141" y="146"/>
                  </a:lnTo>
                  <a:lnTo>
                    <a:pt x="140" y="139"/>
                  </a:lnTo>
                  <a:lnTo>
                    <a:pt x="139" y="131"/>
                  </a:lnTo>
                  <a:lnTo>
                    <a:pt x="134" y="113"/>
                  </a:lnTo>
                  <a:lnTo>
                    <a:pt x="125" y="92"/>
                  </a:lnTo>
                  <a:lnTo>
                    <a:pt x="115" y="72"/>
                  </a:lnTo>
                  <a:lnTo>
                    <a:pt x="105" y="52"/>
                  </a:lnTo>
                  <a:lnTo>
                    <a:pt x="94" y="34"/>
                  </a:lnTo>
                  <a:lnTo>
                    <a:pt x="78" y="8"/>
                  </a:lnTo>
                  <a:lnTo>
                    <a:pt x="78" y="8"/>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74" name="Freeform 573"/>
            <p:cNvSpPr>
              <a:spLocks/>
            </p:cNvSpPr>
            <p:nvPr/>
          </p:nvSpPr>
          <p:spPr bwMode="auto">
            <a:xfrm>
              <a:off x="6987527" y="1801441"/>
              <a:ext cx="98055" cy="151848"/>
            </a:xfrm>
            <a:custGeom>
              <a:avLst/>
              <a:gdLst>
                <a:gd name="T0" fmla="*/ 125 w 226"/>
                <a:gd name="T1" fmla="*/ 12 h 361"/>
                <a:gd name="T2" fmla="*/ 125 w 226"/>
                <a:gd name="T3" fmla="*/ 12 h 361"/>
                <a:gd name="T4" fmla="*/ 117 w 226"/>
                <a:gd name="T5" fmla="*/ 0 h 361"/>
                <a:gd name="T6" fmla="*/ 117 w 226"/>
                <a:gd name="T7" fmla="*/ 0 h 361"/>
                <a:gd name="T8" fmla="*/ 109 w 226"/>
                <a:gd name="T9" fmla="*/ 10 h 361"/>
                <a:gd name="T10" fmla="*/ 109 w 226"/>
                <a:gd name="T11" fmla="*/ 10 h 361"/>
                <a:gd name="T12" fmla="*/ 82 w 226"/>
                <a:gd name="T13" fmla="*/ 51 h 361"/>
                <a:gd name="T14" fmla="*/ 64 w 226"/>
                <a:gd name="T15" fmla="*/ 80 h 361"/>
                <a:gd name="T16" fmla="*/ 46 w 226"/>
                <a:gd name="T17" fmla="*/ 111 h 361"/>
                <a:gd name="T18" fmla="*/ 28 w 226"/>
                <a:gd name="T19" fmla="*/ 143 h 361"/>
                <a:gd name="T20" fmla="*/ 21 w 226"/>
                <a:gd name="T21" fmla="*/ 160 h 361"/>
                <a:gd name="T22" fmla="*/ 14 w 226"/>
                <a:gd name="T23" fmla="*/ 176 h 361"/>
                <a:gd name="T24" fmla="*/ 9 w 226"/>
                <a:gd name="T25" fmla="*/ 191 h 361"/>
                <a:gd name="T26" fmla="*/ 4 w 226"/>
                <a:gd name="T27" fmla="*/ 205 h 361"/>
                <a:gd name="T28" fmla="*/ 1 w 226"/>
                <a:gd name="T29" fmla="*/ 218 h 361"/>
                <a:gd name="T30" fmla="*/ 0 w 226"/>
                <a:gd name="T31" fmla="*/ 230 h 361"/>
                <a:gd name="T32" fmla="*/ 0 w 226"/>
                <a:gd name="T33" fmla="*/ 230 h 361"/>
                <a:gd name="T34" fmla="*/ 0 w 226"/>
                <a:gd name="T35" fmla="*/ 246 h 361"/>
                <a:gd name="T36" fmla="*/ 3 w 226"/>
                <a:gd name="T37" fmla="*/ 261 h 361"/>
                <a:gd name="T38" fmla="*/ 7 w 226"/>
                <a:gd name="T39" fmla="*/ 275 h 361"/>
                <a:gd name="T40" fmla="*/ 11 w 226"/>
                <a:gd name="T41" fmla="*/ 289 h 361"/>
                <a:gd name="T42" fmla="*/ 11 w 226"/>
                <a:gd name="T43" fmla="*/ 289 h 361"/>
                <a:gd name="T44" fmla="*/ 19 w 226"/>
                <a:gd name="T45" fmla="*/ 304 h 361"/>
                <a:gd name="T46" fmla="*/ 28 w 226"/>
                <a:gd name="T47" fmla="*/ 317 h 361"/>
                <a:gd name="T48" fmla="*/ 39 w 226"/>
                <a:gd name="T49" fmla="*/ 329 h 361"/>
                <a:gd name="T50" fmla="*/ 51 w 226"/>
                <a:gd name="T51" fmla="*/ 340 h 361"/>
                <a:gd name="T52" fmla="*/ 65 w 226"/>
                <a:gd name="T53" fmla="*/ 349 h 361"/>
                <a:gd name="T54" fmla="*/ 79 w 226"/>
                <a:gd name="T55" fmla="*/ 354 h 361"/>
                <a:gd name="T56" fmla="*/ 94 w 226"/>
                <a:gd name="T57" fmla="*/ 358 h 361"/>
                <a:gd name="T58" fmla="*/ 103 w 226"/>
                <a:gd name="T59" fmla="*/ 359 h 361"/>
                <a:gd name="T60" fmla="*/ 111 w 226"/>
                <a:gd name="T61" fmla="*/ 361 h 361"/>
                <a:gd name="T62" fmla="*/ 111 w 226"/>
                <a:gd name="T63" fmla="*/ 361 h 361"/>
                <a:gd name="T64" fmla="*/ 119 w 226"/>
                <a:gd name="T65" fmla="*/ 359 h 361"/>
                <a:gd name="T66" fmla="*/ 128 w 226"/>
                <a:gd name="T67" fmla="*/ 359 h 361"/>
                <a:gd name="T68" fmla="*/ 135 w 226"/>
                <a:gd name="T69" fmla="*/ 357 h 361"/>
                <a:gd name="T70" fmla="*/ 144 w 226"/>
                <a:gd name="T71" fmla="*/ 355 h 361"/>
                <a:gd name="T72" fmla="*/ 159 w 226"/>
                <a:gd name="T73" fmla="*/ 349 h 361"/>
                <a:gd name="T74" fmla="*/ 173 w 226"/>
                <a:gd name="T75" fmla="*/ 341 h 361"/>
                <a:gd name="T76" fmla="*/ 185 w 226"/>
                <a:gd name="T77" fmla="*/ 330 h 361"/>
                <a:gd name="T78" fmla="*/ 197 w 226"/>
                <a:gd name="T79" fmla="*/ 317 h 361"/>
                <a:gd name="T80" fmla="*/ 207 w 226"/>
                <a:gd name="T81" fmla="*/ 303 h 361"/>
                <a:gd name="T82" fmla="*/ 214 w 226"/>
                <a:gd name="T83" fmla="*/ 288 h 361"/>
                <a:gd name="T84" fmla="*/ 214 w 226"/>
                <a:gd name="T85" fmla="*/ 288 h 361"/>
                <a:gd name="T86" fmla="*/ 220 w 226"/>
                <a:gd name="T87" fmla="*/ 275 h 361"/>
                <a:gd name="T88" fmla="*/ 223 w 226"/>
                <a:gd name="T89" fmla="*/ 262 h 361"/>
                <a:gd name="T90" fmla="*/ 225 w 226"/>
                <a:gd name="T91" fmla="*/ 248 h 361"/>
                <a:gd name="T92" fmla="*/ 226 w 226"/>
                <a:gd name="T93" fmla="*/ 234 h 361"/>
                <a:gd name="T94" fmla="*/ 226 w 226"/>
                <a:gd name="T95" fmla="*/ 234 h 361"/>
                <a:gd name="T96" fmla="*/ 225 w 226"/>
                <a:gd name="T97" fmla="*/ 222 h 361"/>
                <a:gd name="T98" fmla="*/ 223 w 226"/>
                <a:gd name="T99" fmla="*/ 209 h 361"/>
                <a:gd name="T100" fmla="*/ 220 w 226"/>
                <a:gd name="T101" fmla="*/ 195 h 361"/>
                <a:gd name="T102" fmla="*/ 214 w 226"/>
                <a:gd name="T103" fmla="*/ 180 h 361"/>
                <a:gd name="T104" fmla="*/ 208 w 226"/>
                <a:gd name="T105" fmla="*/ 164 h 361"/>
                <a:gd name="T106" fmla="*/ 201 w 226"/>
                <a:gd name="T107" fmla="*/ 148 h 361"/>
                <a:gd name="T108" fmla="*/ 185 w 226"/>
                <a:gd name="T109" fmla="*/ 115 h 361"/>
                <a:gd name="T110" fmla="*/ 168 w 226"/>
                <a:gd name="T111" fmla="*/ 83 h 361"/>
                <a:gd name="T112" fmla="*/ 151 w 226"/>
                <a:gd name="T113" fmla="*/ 54 h 361"/>
                <a:gd name="T114" fmla="*/ 125 w 226"/>
                <a:gd name="T115" fmla="*/ 12 h 361"/>
                <a:gd name="T116" fmla="*/ 125 w 226"/>
                <a:gd name="T117" fmla="*/ 12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361">
                  <a:moveTo>
                    <a:pt x="125" y="12"/>
                  </a:moveTo>
                  <a:lnTo>
                    <a:pt x="125" y="12"/>
                  </a:lnTo>
                  <a:lnTo>
                    <a:pt x="117" y="0"/>
                  </a:lnTo>
                  <a:lnTo>
                    <a:pt x="117" y="0"/>
                  </a:lnTo>
                  <a:lnTo>
                    <a:pt x="109" y="10"/>
                  </a:lnTo>
                  <a:lnTo>
                    <a:pt x="109" y="10"/>
                  </a:lnTo>
                  <a:lnTo>
                    <a:pt x="82" y="51"/>
                  </a:lnTo>
                  <a:lnTo>
                    <a:pt x="64" y="80"/>
                  </a:lnTo>
                  <a:lnTo>
                    <a:pt x="46" y="111"/>
                  </a:lnTo>
                  <a:lnTo>
                    <a:pt x="28" y="143"/>
                  </a:lnTo>
                  <a:lnTo>
                    <a:pt x="21" y="160"/>
                  </a:lnTo>
                  <a:lnTo>
                    <a:pt x="14" y="176"/>
                  </a:lnTo>
                  <a:lnTo>
                    <a:pt x="9" y="191"/>
                  </a:lnTo>
                  <a:lnTo>
                    <a:pt x="4" y="205"/>
                  </a:lnTo>
                  <a:lnTo>
                    <a:pt x="1" y="218"/>
                  </a:lnTo>
                  <a:lnTo>
                    <a:pt x="0" y="230"/>
                  </a:lnTo>
                  <a:lnTo>
                    <a:pt x="0" y="230"/>
                  </a:lnTo>
                  <a:lnTo>
                    <a:pt x="0" y="246"/>
                  </a:lnTo>
                  <a:lnTo>
                    <a:pt x="3" y="261"/>
                  </a:lnTo>
                  <a:lnTo>
                    <a:pt x="7" y="275"/>
                  </a:lnTo>
                  <a:lnTo>
                    <a:pt x="11" y="289"/>
                  </a:lnTo>
                  <a:lnTo>
                    <a:pt x="11" y="289"/>
                  </a:lnTo>
                  <a:lnTo>
                    <a:pt x="19" y="304"/>
                  </a:lnTo>
                  <a:lnTo>
                    <a:pt x="28" y="317"/>
                  </a:lnTo>
                  <a:lnTo>
                    <a:pt x="39" y="329"/>
                  </a:lnTo>
                  <a:lnTo>
                    <a:pt x="51" y="340"/>
                  </a:lnTo>
                  <a:lnTo>
                    <a:pt x="65" y="349"/>
                  </a:lnTo>
                  <a:lnTo>
                    <a:pt x="79" y="354"/>
                  </a:lnTo>
                  <a:lnTo>
                    <a:pt x="94" y="358"/>
                  </a:lnTo>
                  <a:lnTo>
                    <a:pt x="103" y="359"/>
                  </a:lnTo>
                  <a:lnTo>
                    <a:pt x="111" y="361"/>
                  </a:lnTo>
                  <a:lnTo>
                    <a:pt x="111" y="361"/>
                  </a:lnTo>
                  <a:lnTo>
                    <a:pt x="119" y="359"/>
                  </a:lnTo>
                  <a:lnTo>
                    <a:pt x="128" y="359"/>
                  </a:lnTo>
                  <a:lnTo>
                    <a:pt x="135" y="357"/>
                  </a:lnTo>
                  <a:lnTo>
                    <a:pt x="144" y="355"/>
                  </a:lnTo>
                  <a:lnTo>
                    <a:pt x="159" y="349"/>
                  </a:lnTo>
                  <a:lnTo>
                    <a:pt x="173" y="341"/>
                  </a:lnTo>
                  <a:lnTo>
                    <a:pt x="185" y="330"/>
                  </a:lnTo>
                  <a:lnTo>
                    <a:pt x="197" y="317"/>
                  </a:lnTo>
                  <a:lnTo>
                    <a:pt x="207" y="303"/>
                  </a:lnTo>
                  <a:lnTo>
                    <a:pt x="214" y="288"/>
                  </a:lnTo>
                  <a:lnTo>
                    <a:pt x="214" y="288"/>
                  </a:lnTo>
                  <a:lnTo>
                    <a:pt x="220" y="275"/>
                  </a:lnTo>
                  <a:lnTo>
                    <a:pt x="223" y="262"/>
                  </a:lnTo>
                  <a:lnTo>
                    <a:pt x="225" y="248"/>
                  </a:lnTo>
                  <a:lnTo>
                    <a:pt x="226" y="234"/>
                  </a:lnTo>
                  <a:lnTo>
                    <a:pt x="226" y="234"/>
                  </a:lnTo>
                  <a:lnTo>
                    <a:pt x="225" y="222"/>
                  </a:lnTo>
                  <a:lnTo>
                    <a:pt x="223" y="209"/>
                  </a:lnTo>
                  <a:lnTo>
                    <a:pt x="220" y="195"/>
                  </a:lnTo>
                  <a:lnTo>
                    <a:pt x="214" y="180"/>
                  </a:lnTo>
                  <a:lnTo>
                    <a:pt x="208" y="164"/>
                  </a:lnTo>
                  <a:lnTo>
                    <a:pt x="201" y="148"/>
                  </a:lnTo>
                  <a:lnTo>
                    <a:pt x="185" y="115"/>
                  </a:lnTo>
                  <a:lnTo>
                    <a:pt x="168" y="83"/>
                  </a:lnTo>
                  <a:lnTo>
                    <a:pt x="151" y="54"/>
                  </a:lnTo>
                  <a:lnTo>
                    <a:pt x="125" y="12"/>
                  </a:lnTo>
                  <a:lnTo>
                    <a:pt x="125" y="12"/>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75" name="Freeform 574"/>
            <p:cNvSpPr>
              <a:spLocks/>
            </p:cNvSpPr>
            <p:nvPr/>
          </p:nvSpPr>
          <p:spPr bwMode="auto">
            <a:xfrm>
              <a:off x="6874746" y="1654618"/>
              <a:ext cx="49887" cy="80987"/>
            </a:xfrm>
            <a:custGeom>
              <a:avLst/>
              <a:gdLst>
                <a:gd name="T0" fmla="*/ 78 w 117"/>
                <a:gd name="T1" fmla="*/ 0 h 195"/>
                <a:gd name="T2" fmla="*/ 38 w 117"/>
                <a:gd name="T3" fmla="*/ 0 h 195"/>
                <a:gd name="T4" fmla="*/ 38 w 117"/>
                <a:gd name="T5" fmla="*/ 117 h 195"/>
                <a:gd name="T6" fmla="*/ 0 w 117"/>
                <a:gd name="T7" fmla="*/ 117 h 195"/>
                <a:gd name="T8" fmla="*/ 0 w 117"/>
                <a:gd name="T9" fmla="*/ 157 h 195"/>
                <a:gd name="T10" fmla="*/ 38 w 117"/>
                <a:gd name="T11" fmla="*/ 157 h 195"/>
                <a:gd name="T12" fmla="*/ 38 w 117"/>
                <a:gd name="T13" fmla="*/ 195 h 195"/>
                <a:gd name="T14" fmla="*/ 78 w 117"/>
                <a:gd name="T15" fmla="*/ 195 h 195"/>
                <a:gd name="T16" fmla="*/ 78 w 117"/>
                <a:gd name="T17" fmla="*/ 157 h 195"/>
                <a:gd name="T18" fmla="*/ 117 w 117"/>
                <a:gd name="T19" fmla="*/ 157 h 195"/>
                <a:gd name="T20" fmla="*/ 117 w 117"/>
                <a:gd name="T21" fmla="*/ 117 h 195"/>
                <a:gd name="T22" fmla="*/ 78 w 117"/>
                <a:gd name="T23" fmla="*/ 117 h 195"/>
                <a:gd name="T24" fmla="*/ 78 w 117"/>
                <a:gd name="T25"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195">
                  <a:moveTo>
                    <a:pt x="78" y="0"/>
                  </a:moveTo>
                  <a:lnTo>
                    <a:pt x="38" y="0"/>
                  </a:lnTo>
                  <a:lnTo>
                    <a:pt x="38" y="117"/>
                  </a:lnTo>
                  <a:lnTo>
                    <a:pt x="0" y="117"/>
                  </a:lnTo>
                  <a:lnTo>
                    <a:pt x="0" y="157"/>
                  </a:lnTo>
                  <a:lnTo>
                    <a:pt x="38" y="157"/>
                  </a:lnTo>
                  <a:lnTo>
                    <a:pt x="38" y="195"/>
                  </a:lnTo>
                  <a:lnTo>
                    <a:pt x="78" y="195"/>
                  </a:lnTo>
                  <a:lnTo>
                    <a:pt x="78" y="157"/>
                  </a:lnTo>
                  <a:lnTo>
                    <a:pt x="117" y="157"/>
                  </a:lnTo>
                  <a:lnTo>
                    <a:pt x="117" y="117"/>
                  </a:lnTo>
                  <a:lnTo>
                    <a:pt x="78" y="117"/>
                  </a:lnTo>
                  <a:lnTo>
                    <a:pt x="7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76" name="Rectangle 575"/>
            <p:cNvSpPr>
              <a:spLocks noChangeArrowheads="1"/>
            </p:cNvSpPr>
            <p:nvPr/>
          </p:nvSpPr>
          <p:spPr bwMode="auto">
            <a:xfrm>
              <a:off x="5070861" y="4757928"/>
              <a:ext cx="18923" cy="185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77" name="Rectangle 576"/>
            <p:cNvSpPr>
              <a:spLocks noChangeArrowheads="1"/>
            </p:cNvSpPr>
            <p:nvPr/>
          </p:nvSpPr>
          <p:spPr bwMode="auto">
            <a:xfrm>
              <a:off x="4996888" y="4757928"/>
              <a:ext cx="18923" cy="185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78" name="Freeform 577"/>
            <p:cNvSpPr>
              <a:spLocks/>
            </p:cNvSpPr>
            <p:nvPr/>
          </p:nvSpPr>
          <p:spPr bwMode="auto">
            <a:xfrm>
              <a:off x="5015811" y="4720809"/>
              <a:ext cx="55048" cy="91110"/>
            </a:xfrm>
            <a:custGeom>
              <a:avLst/>
              <a:gdLst>
                <a:gd name="T0" fmla="*/ 88 w 131"/>
                <a:gd name="T1" fmla="*/ 0 h 217"/>
                <a:gd name="T2" fmla="*/ 43 w 131"/>
                <a:gd name="T3" fmla="*/ 0 h 217"/>
                <a:gd name="T4" fmla="*/ 43 w 131"/>
                <a:gd name="T5" fmla="*/ 131 h 217"/>
                <a:gd name="T6" fmla="*/ 0 w 131"/>
                <a:gd name="T7" fmla="*/ 131 h 217"/>
                <a:gd name="T8" fmla="*/ 0 w 131"/>
                <a:gd name="T9" fmla="*/ 175 h 217"/>
                <a:gd name="T10" fmla="*/ 43 w 131"/>
                <a:gd name="T11" fmla="*/ 175 h 217"/>
                <a:gd name="T12" fmla="*/ 43 w 131"/>
                <a:gd name="T13" fmla="*/ 217 h 217"/>
                <a:gd name="T14" fmla="*/ 88 w 131"/>
                <a:gd name="T15" fmla="*/ 217 h 217"/>
                <a:gd name="T16" fmla="*/ 88 w 131"/>
                <a:gd name="T17" fmla="*/ 175 h 217"/>
                <a:gd name="T18" fmla="*/ 131 w 131"/>
                <a:gd name="T19" fmla="*/ 175 h 217"/>
                <a:gd name="T20" fmla="*/ 131 w 131"/>
                <a:gd name="T21" fmla="*/ 131 h 217"/>
                <a:gd name="T22" fmla="*/ 88 w 131"/>
                <a:gd name="T23" fmla="*/ 131 h 217"/>
                <a:gd name="T24" fmla="*/ 88 w 131"/>
                <a:gd name="T25"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 h="217">
                  <a:moveTo>
                    <a:pt x="88" y="0"/>
                  </a:moveTo>
                  <a:lnTo>
                    <a:pt x="43" y="0"/>
                  </a:lnTo>
                  <a:lnTo>
                    <a:pt x="43" y="131"/>
                  </a:lnTo>
                  <a:lnTo>
                    <a:pt x="0" y="131"/>
                  </a:lnTo>
                  <a:lnTo>
                    <a:pt x="0" y="175"/>
                  </a:lnTo>
                  <a:lnTo>
                    <a:pt x="43" y="175"/>
                  </a:lnTo>
                  <a:lnTo>
                    <a:pt x="43" y="217"/>
                  </a:lnTo>
                  <a:lnTo>
                    <a:pt x="88" y="217"/>
                  </a:lnTo>
                  <a:lnTo>
                    <a:pt x="88" y="175"/>
                  </a:lnTo>
                  <a:lnTo>
                    <a:pt x="131" y="175"/>
                  </a:lnTo>
                  <a:lnTo>
                    <a:pt x="131" y="131"/>
                  </a:lnTo>
                  <a:lnTo>
                    <a:pt x="88" y="131"/>
                  </a:lnTo>
                  <a:lnTo>
                    <a:pt x="8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79" name="Freeform 578"/>
            <p:cNvSpPr>
              <a:spLocks/>
            </p:cNvSpPr>
            <p:nvPr/>
          </p:nvSpPr>
          <p:spPr bwMode="auto">
            <a:xfrm>
              <a:off x="2804919" y="434252"/>
              <a:ext cx="306492" cy="331416"/>
            </a:xfrm>
            <a:custGeom>
              <a:avLst/>
              <a:gdLst>
                <a:gd name="T0" fmla="*/ 1171 w 1443"/>
                <a:gd name="T1" fmla="*/ 483 h 1593"/>
                <a:gd name="T2" fmla="*/ 1157 w 1443"/>
                <a:gd name="T3" fmla="*/ 387 h 1593"/>
                <a:gd name="T4" fmla="*/ 1124 w 1443"/>
                <a:gd name="T5" fmla="*/ 296 h 1593"/>
                <a:gd name="T6" fmla="*/ 1075 w 1443"/>
                <a:gd name="T7" fmla="*/ 209 h 1593"/>
                <a:gd name="T8" fmla="*/ 1024 w 1443"/>
                <a:gd name="T9" fmla="*/ 151 h 1593"/>
                <a:gd name="T10" fmla="*/ 945 w 1443"/>
                <a:gd name="T11" fmla="*/ 85 h 1593"/>
                <a:gd name="T12" fmla="*/ 856 w 1443"/>
                <a:gd name="T13" fmla="*/ 39 h 1593"/>
                <a:gd name="T14" fmla="*/ 762 w 1443"/>
                <a:gd name="T15" fmla="*/ 9 h 1593"/>
                <a:gd name="T16" fmla="*/ 665 w 1443"/>
                <a:gd name="T17" fmla="*/ 0 h 1593"/>
                <a:gd name="T18" fmla="*/ 567 w 1443"/>
                <a:gd name="T19" fmla="*/ 8 h 1593"/>
                <a:gd name="T20" fmla="*/ 472 w 1443"/>
                <a:gd name="T21" fmla="*/ 35 h 1593"/>
                <a:gd name="T22" fmla="*/ 382 w 1443"/>
                <a:gd name="T23" fmla="*/ 82 h 1593"/>
                <a:gd name="T24" fmla="*/ 321 w 1443"/>
                <a:gd name="T25" fmla="*/ 129 h 1593"/>
                <a:gd name="T26" fmla="*/ 255 w 1443"/>
                <a:gd name="T27" fmla="*/ 201 h 1593"/>
                <a:gd name="T28" fmla="*/ 205 w 1443"/>
                <a:gd name="T29" fmla="*/ 282 h 1593"/>
                <a:gd name="T30" fmla="*/ 171 w 1443"/>
                <a:gd name="T31" fmla="*/ 368 h 1593"/>
                <a:gd name="T32" fmla="*/ 153 w 1443"/>
                <a:gd name="T33" fmla="*/ 458 h 1593"/>
                <a:gd name="T34" fmla="*/ 152 w 1443"/>
                <a:gd name="T35" fmla="*/ 549 h 1593"/>
                <a:gd name="T36" fmla="*/ 167 w 1443"/>
                <a:gd name="T37" fmla="*/ 641 h 1593"/>
                <a:gd name="T38" fmla="*/ 200 w 1443"/>
                <a:gd name="T39" fmla="*/ 729 h 1593"/>
                <a:gd name="T40" fmla="*/ 248 w 1443"/>
                <a:gd name="T41" fmla="*/ 811 h 1593"/>
                <a:gd name="T42" fmla="*/ 100 w 1443"/>
                <a:gd name="T43" fmla="*/ 946 h 1593"/>
                <a:gd name="T44" fmla="*/ 55 w 1443"/>
                <a:gd name="T45" fmla="*/ 1007 h 1593"/>
                <a:gd name="T46" fmla="*/ 23 w 1443"/>
                <a:gd name="T47" fmla="*/ 1075 h 1593"/>
                <a:gd name="T48" fmla="*/ 4 w 1443"/>
                <a:gd name="T49" fmla="*/ 1148 h 1593"/>
                <a:gd name="T50" fmla="*/ 1 w 1443"/>
                <a:gd name="T51" fmla="*/ 1221 h 1593"/>
                <a:gd name="T52" fmla="*/ 11 w 1443"/>
                <a:gd name="T53" fmla="*/ 1296 h 1593"/>
                <a:gd name="T54" fmla="*/ 34 w 1443"/>
                <a:gd name="T55" fmla="*/ 1366 h 1593"/>
                <a:gd name="T56" fmla="*/ 73 w 1443"/>
                <a:gd name="T57" fmla="*/ 1433 h 1593"/>
                <a:gd name="T58" fmla="*/ 112 w 1443"/>
                <a:gd name="T59" fmla="*/ 1478 h 1593"/>
                <a:gd name="T60" fmla="*/ 172 w 1443"/>
                <a:gd name="T61" fmla="*/ 1527 h 1593"/>
                <a:gd name="T62" fmla="*/ 239 w 1443"/>
                <a:gd name="T63" fmla="*/ 1562 h 1593"/>
                <a:gd name="T64" fmla="*/ 310 w 1443"/>
                <a:gd name="T65" fmla="*/ 1584 h 1593"/>
                <a:gd name="T66" fmla="*/ 383 w 1443"/>
                <a:gd name="T67" fmla="*/ 1593 h 1593"/>
                <a:gd name="T68" fmla="*/ 458 w 1443"/>
                <a:gd name="T69" fmla="*/ 1585 h 1593"/>
                <a:gd name="T70" fmla="*/ 529 w 1443"/>
                <a:gd name="T71" fmla="*/ 1565 h 1593"/>
                <a:gd name="T72" fmla="*/ 597 w 1443"/>
                <a:gd name="T73" fmla="*/ 1530 h 1593"/>
                <a:gd name="T74" fmla="*/ 1040 w 1443"/>
                <a:gd name="T75" fmla="*/ 1139 h 1593"/>
                <a:gd name="T76" fmla="*/ 1094 w 1443"/>
                <a:gd name="T77" fmla="*/ 1123 h 1593"/>
                <a:gd name="T78" fmla="*/ 1167 w 1443"/>
                <a:gd name="T79" fmla="*/ 1120 h 1593"/>
                <a:gd name="T80" fmla="*/ 1239 w 1443"/>
                <a:gd name="T81" fmla="*/ 1140 h 1593"/>
                <a:gd name="T82" fmla="*/ 1301 w 1443"/>
                <a:gd name="T83" fmla="*/ 1183 h 1593"/>
                <a:gd name="T84" fmla="*/ 1345 w 1443"/>
                <a:gd name="T85" fmla="*/ 1237 h 1593"/>
                <a:gd name="T86" fmla="*/ 1375 w 1443"/>
                <a:gd name="T87" fmla="*/ 1263 h 1593"/>
                <a:gd name="T88" fmla="*/ 1404 w 1443"/>
                <a:gd name="T89" fmla="*/ 1189 h 1593"/>
                <a:gd name="T90" fmla="*/ 1407 w 1443"/>
                <a:gd name="T91" fmla="*/ 1110 h 1593"/>
                <a:gd name="T92" fmla="*/ 1383 w 1443"/>
                <a:gd name="T93" fmla="*/ 1033 h 1593"/>
                <a:gd name="T94" fmla="*/ 1349 w 1443"/>
                <a:gd name="T95" fmla="*/ 981 h 1593"/>
                <a:gd name="T96" fmla="*/ 1276 w 1443"/>
                <a:gd name="T97" fmla="*/ 927 h 1593"/>
                <a:gd name="T98" fmla="*/ 1407 w 1443"/>
                <a:gd name="T99" fmla="*/ 806 h 1593"/>
                <a:gd name="T100" fmla="*/ 1437 w 1443"/>
                <a:gd name="T101" fmla="*/ 742 h 1593"/>
                <a:gd name="T102" fmla="*/ 1442 w 1443"/>
                <a:gd name="T103" fmla="*/ 670 h 1593"/>
                <a:gd name="T104" fmla="*/ 1418 w 1443"/>
                <a:gd name="T105" fmla="*/ 602 h 1593"/>
                <a:gd name="T106" fmla="*/ 1384 w 1443"/>
                <a:gd name="T107" fmla="*/ 560 h 1593"/>
                <a:gd name="T108" fmla="*/ 1333 w 1443"/>
                <a:gd name="T109" fmla="*/ 526 h 1593"/>
                <a:gd name="T110" fmla="*/ 1274 w 1443"/>
                <a:gd name="T111" fmla="*/ 510 h 1593"/>
                <a:gd name="T112" fmla="*/ 1215 w 1443"/>
                <a:gd name="T113" fmla="*/ 515 h 1593"/>
                <a:gd name="T114" fmla="*/ 1172 w 1443"/>
                <a:gd name="T115" fmla="*/ 531 h 1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43" h="1593">
                  <a:moveTo>
                    <a:pt x="1172" y="531"/>
                  </a:moveTo>
                  <a:lnTo>
                    <a:pt x="1172" y="531"/>
                  </a:lnTo>
                  <a:lnTo>
                    <a:pt x="1172" y="507"/>
                  </a:lnTo>
                  <a:lnTo>
                    <a:pt x="1171" y="483"/>
                  </a:lnTo>
                  <a:lnTo>
                    <a:pt x="1170" y="459"/>
                  </a:lnTo>
                  <a:lnTo>
                    <a:pt x="1166" y="435"/>
                  </a:lnTo>
                  <a:lnTo>
                    <a:pt x="1162" y="411"/>
                  </a:lnTo>
                  <a:lnTo>
                    <a:pt x="1157" y="387"/>
                  </a:lnTo>
                  <a:lnTo>
                    <a:pt x="1150" y="365"/>
                  </a:lnTo>
                  <a:lnTo>
                    <a:pt x="1144" y="341"/>
                  </a:lnTo>
                  <a:lnTo>
                    <a:pt x="1135" y="318"/>
                  </a:lnTo>
                  <a:lnTo>
                    <a:pt x="1124" y="296"/>
                  </a:lnTo>
                  <a:lnTo>
                    <a:pt x="1113" y="273"/>
                  </a:lnTo>
                  <a:lnTo>
                    <a:pt x="1102" y="251"/>
                  </a:lnTo>
                  <a:lnTo>
                    <a:pt x="1089" y="231"/>
                  </a:lnTo>
                  <a:lnTo>
                    <a:pt x="1075" y="209"/>
                  </a:lnTo>
                  <a:lnTo>
                    <a:pt x="1058" y="190"/>
                  </a:lnTo>
                  <a:lnTo>
                    <a:pt x="1042" y="169"/>
                  </a:lnTo>
                  <a:lnTo>
                    <a:pt x="1042" y="169"/>
                  </a:lnTo>
                  <a:lnTo>
                    <a:pt x="1024" y="151"/>
                  </a:lnTo>
                  <a:lnTo>
                    <a:pt x="1005" y="132"/>
                  </a:lnTo>
                  <a:lnTo>
                    <a:pt x="986" y="115"/>
                  </a:lnTo>
                  <a:lnTo>
                    <a:pt x="965" y="100"/>
                  </a:lnTo>
                  <a:lnTo>
                    <a:pt x="945" y="85"/>
                  </a:lnTo>
                  <a:lnTo>
                    <a:pt x="923" y="72"/>
                  </a:lnTo>
                  <a:lnTo>
                    <a:pt x="902" y="59"/>
                  </a:lnTo>
                  <a:lnTo>
                    <a:pt x="879" y="48"/>
                  </a:lnTo>
                  <a:lnTo>
                    <a:pt x="856" y="39"/>
                  </a:lnTo>
                  <a:lnTo>
                    <a:pt x="834" y="30"/>
                  </a:lnTo>
                  <a:lnTo>
                    <a:pt x="810" y="21"/>
                  </a:lnTo>
                  <a:lnTo>
                    <a:pt x="786" y="15"/>
                  </a:lnTo>
                  <a:lnTo>
                    <a:pt x="762" y="9"/>
                  </a:lnTo>
                  <a:lnTo>
                    <a:pt x="739" y="5"/>
                  </a:lnTo>
                  <a:lnTo>
                    <a:pt x="714" y="2"/>
                  </a:lnTo>
                  <a:lnTo>
                    <a:pt x="690" y="1"/>
                  </a:lnTo>
                  <a:lnTo>
                    <a:pt x="665" y="0"/>
                  </a:lnTo>
                  <a:lnTo>
                    <a:pt x="640" y="0"/>
                  </a:lnTo>
                  <a:lnTo>
                    <a:pt x="617" y="2"/>
                  </a:lnTo>
                  <a:lnTo>
                    <a:pt x="592" y="4"/>
                  </a:lnTo>
                  <a:lnTo>
                    <a:pt x="567" y="8"/>
                  </a:lnTo>
                  <a:lnTo>
                    <a:pt x="543" y="14"/>
                  </a:lnTo>
                  <a:lnTo>
                    <a:pt x="519" y="19"/>
                  </a:lnTo>
                  <a:lnTo>
                    <a:pt x="496" y="27"/>
                  </a:lnTo>
                  <a:lnTo>
                    <a:pt x="472" y="35"/>
                  </a:lnTo>
                  <a:lnTo>
                    <a:pt x="449" y="45"/>
                  </a:lnTo>
                  <a:lnTo>
                    <a:pt x="427" y="57"/>
                  </a:lnTo>
                  <a:lnTo>
                    <a:pt x="405" y="69"/>
                  </a:lnTo>
                  <a:lnTo>
                    <a:pt x="382" y="82"/>
                  </a:lnTo>
                  <a:lnTo>
                    <a:pt x="362" y="97"/>
                  </a:lnTo>
                  <a:lnTo>
                    <a:pt x="341" y="113"/>
                  </a:lnTo>
                  <a:lnTo>
                    <a:pt x="321" y="129"/>
                  </a:lnTo>
                  <a:lnTo>
                    <a:pt x="321" y="129"/>
                  </a:lnTo>
                  <a:lnTo>
                    <a:pt x="302" y="147"/>
                  </a:lnTo>
                  <a:lnTo>
                    <a:pt x="286" y="164"/>
                  </a:lnTo>
                  <a:lnTo>
                    <a:pt x="270" y="182"/>
                  </a:lnTo>
                  <a:lnTo>
                    <a:pt x="255" y="201"/>
                  </a:lnTo>
                  <a:lnTo>
                    <a:pt x="241" y="220"/>
                  </a:lnTo>
                  <a:lnTo>
                    <a:pt x="228" y="240"/>
                  </a:lnTo>
                  <a:lnTo>
                    <a:pt x="216" y="260"/>
                  </a:lnTo>
                  <a:lnTo>
                    <a:pt x="205" y="282"/>
                  </a:lnTo>
                  <a:lnTo>
                    <a:pt x="194" y="302"/>
                  </a:lnTo>
                  <a:lnTo>
                    <a:pt x="186" y="324"/>
                  </a:lnTo>
                  <a:lnTo>
                    <a:pt x="178" y="345"/>
                  </a:lnTo>
                  <a:lnTo>
                    <a:pt x="171" y="368"/>
                  </a:lnTo>
                  <a:lnTo>
                    <a:pt x="165" y="390"/>
                  </a:lnTo>
                  <a:lnTo>
                    <a:pt x="160" y="412"/>
                  </a:lnTo>
                  <a:lnTo>
                    <a:pt x="157" y="435"/>
                  </a:lnTo>
                  <a:lnTo>
                    <a:pt x="153" y="458"/>
                  </a:lnTo>
                  <a:lnTo>
                    <a:pt x="151" y="481"/>
                  </a:lnTo>
                  <a:lnTo>
                    <a:pt x="151" y="504"/>
                  </a:lnTo>
                  <a:lnTo>
                    <a:pt x="151" y="527"/>
                  </a:lnTo>
                  <a:lnTo>
                    <a:pt x="152" y="549"/>
                  </a:lnTo>
                  <a:lnTo>
                    <a:pt x="154" y="573"/>
                  </a:lnTo>
                  <a:lnTo>
                    <a:pt x="158" y="596"/>
                  </a:lnTo>
                  <a:lnTo>
                    <a:pt x="162" y="618"/>
                  </a:lnTo>
                  <a:lnTo>
                    <a:pt x="167" y="641"/>
                  </a:lnTo>
                  <a:lnTo>
                    <a:pt x="174" y="663"/>
                  </a:lnTo>
                  <a:lnTo>
                    <a:pt x="181" y="685"/>
                  </a:lnTo>
                  <a:lnTo>
                    <a:pt x="190" y="707"/>
                  </a:lnTo>
                  <a:lnTo>
                    <a:pt x="200" y="729"/>
                  </a:lnTo>
                  <a:lnTo>
                    <a:pt x="211" y="750"/>
                  </a:lnTo>
                  <a:lnTo>
                    <a:pt x="222" y="771"/>
                  </a:lnTo>
                  <a:lnTo>
                    <a:pt x="235" y="791"/>
                  </a:lnTo>
                  <a:lnTo>
                    <a:pt x="248" y="811"/>
                  </a:lnTo>
                  <a:lnTo>
                    <a:pt x="128" y="918"/>
                  </a:lnTo>
                  <a:lnTo>
                    <a:pt x="128" y="918"/>
                  </a:lnTo>
                  <a:lnTo>
                    <a:pt x="114" y="932"/>
                  </a:lnTo>
                  <a:lnTo>
                    <a:pt x="100" y="946"/>
                  </a:lnTo>
                  <a:lnTo>
                    <a:pt x="88" y="961"/>
                  </a:lnTo>
                  <a:lnTo>
                    <a:pt x="77" y="976"/>
                  </a:lnTo>
                  <a:lnTo>
                    <a:pt x="65" y="991"/>
                  </a:lnTo>
                  <a:lnTo>
                    <a:pt x="55" y="1007"/>
                  </a:lnTo>
                  <a:lnTo>
                    <a:pt x="45" y="1025"/>
                  </a:lnTo>
                  <a:lnTo>
                    <a:pt x="37" y="1041"/>
                  </a:lnTo>
                  <a:lnTo>
                    <a:pt x="29" y="1058"/>
                  </a:lnTo>
                  <a:lnTo>
                    <a:pt x="23" y="1075"/>
                  </a:lnTo>
                  <a:lnTo>
                    <a:pt x="17" y="1094"/>
                  </a:lnTo>
                  <a:lnTo>
                    <a:pt x="12" y="1111"/>
                  </a:lnTo>
                  <a:lnTo>
                    <a:pt x="7" y="1129"/>
                  </a:lnTo>
                  <a:lnTo>
                    <a:pt x="4" y="1148"/>
                  </a:lnTo>
                  <a:lnTo>
                    <a:pt x="2" y="1166"/>
                  </a:lnTo>
                  <a:lnTo>
                    <a:pt x="1" y="1184"/>
                  </a:lnTo>
                  <a:lnTo>
                    <a:pt x="0" y="1203"/>
                  </a:lnTo>
                  <a:lnTo>
                    <a:pt x="1" y="1221"/>
                  </a:lnTo>
                  <a:lnTo>
                    <a:pt x="2" y="1241"/>
                  </a:lnTo>
                  <a:lnTo>
                    <a:pt x="4" y="1259"/>
                  </a:lnTo>
                  <a:lnTo>
                    <a:pt x="6" y="1277"/>
                  </a:lnTo>
                  <a:lnTo>
                    <a:pt x="11" y="1296"/>
                  </a:lnTo>
                  <a:lnTo>
                    <a:pt x="15" y="1313"/>
                  </a:lnTo>
                  <a:lnTo>
                    <a:pt x="20" y="1331"/>
                  </a:lnTo>
                  <a:lnTo>
                    <a:pt x="28" y="1349"/>
                  </a:lnTo>
                  <a:lnTo>
                    <a:pt x="34" y="1366"/>
                  </a:lnTo>
                  <a:lnTo>
                    <a:pt x="43" y="1383"/>
                  </a:lnTo>
                  <a:lnTo>
                    <a:pt x="53" y="1400"/>
                  </a:lnTo>
                  <a:lnTo>
                    <a:pt x="63" y="1417"/>
                  </a:lnTo>
                  <a:lnTo>
                    <a:pt x="73" y="1433"/>
                  </a:lnTo>
                  <a:lnTo>
                    <a:pt x="85" y="1448"/>
                  </a:lnTo>
                  <a:lnTo>
                    <a:pt x="98" y="1463"/>
                  </a:lnTo>
                  <a:lnTo>
                    <a:pt x="98" y="1463"/>
                  </a:lnTo>
                  <a:lnTo>
                    <a:pt x="112" y="1478"/>
                  </a:lnTo>
                  <a:lnTo>
                    <a:pt x="126" y="1491"/>
                  </a:lnTo>
                  <a:lnTo>
                    <a:pt x="141" y="1504"/>
                  </a:lnTo>
                  <a:lnTo>
                    <a:pt x="157" y="1516"/>
                  </a:lnTo>
                  <a:lnTo>
                    <a:pt x="172" y="1527"/>
                  </a:lnTo>
                  <a:lnTo>
                    <a:pt x="188" y="1538"/>
                  </a:lnTo>
                  <a:lnTo>
                    <a:pt x="205" y="1547"/>
                  </a:lnTo>
                  <a:lnTo>
                    <a:pt x="221" y="1555"/>
                  </a:lnTo>
                  <a:lnTo>
                    <a:pt x="239" y="1562"/>
                  </a:lnTo>
                  <a:lnTo>
                    <a:pt x="256" y="1570"/>
                  </a:lnTo>
                  <a:lnTo>
                    <a:pt x="274" y="1575"/>
                  </a:lnTo>
                  <a:lnTo>
                    <a:pt x="292" y="1581"/>
                  </a:lnTo>
                  <a:lnTo>
                    <a:pt x="310" y="1584"/>
                  </a:lnTo>
                  <a:lnTo>
                    <a:pt x="328" y="1587"/>
                  </a:lnTo>
                  <a:lnTo>
                    <a:pt x="347" y="1590"/>
                  </a:lnTo>
                  <a:lnTo>
                    <a:pt x="365" y="1592"/>
                  </a:lnTo>
                  <a:lnTo>
                    <a:pt x="383" y="1593"/>
                  </a:lnTo>
                  <a:lnTo>
                    <a:pt x="402" y="1592"/>
                  </a:lnTo>
                  <a:lnTo>
                    <a:pt x="421" y="1590"/>
                  </a:lnTo>
                  <a:lnTo>
                    <a:pt x="439" y="1588"/>
                  </a:lnTo>
                  <a:lnTo>
                    <a:pt x="458" y="1585"/>
                  </a:lnTo>
                  <a:lnTo>
                    <a:pt x="476" y="1582"/>
                  </a:lnTo>
                  <a:lnTo>
                    <a:pt x="493" y="1578"/>
                  </a:lnTo>
                  <a:lnTo>
                    <a:pt x="512" y="1571"/>
                  </a:lnTo>
                  <a:lnTo>
                    <a:pt x="529" y="1565"/>
                  </a:lnTo>
                  <a:lnTo>
                    <a:pt x="546" y="1557"/>
                  </a:lnTo>
                  <a:lnTo>
                    <a:pt x="564" y="1549"/>
                  </a:lnTo>
                  <a:lnTo>
                    <a:pt x="581" y="1540"/>
                  </a:lnTo>
                  <a:lnTo>
                    <a:pt x="597" y="1530"/>
                  </a:lnTo>
                  <a:lnTo>
                    <a:pt x="613" y="1518"/>
                  </a:lnTo>
                  <a:lnTo>
                    <a:pt x="628" y="1506"/>
                  </a:lnTo>
                  <a:lnTo>
                    <a:pt x="644" y="1493"/>
                  </a:lnTo>
                  <a:lnTo>
                    <a:pt x="1040" y="1139"/>
                  </a:lnTo>
                  <a:lnTo>
                    <a:pt x="1040" y="1139"/>
                  </a:lnTo>
                  <a:lnTo>
                    <a:pt x="1057" y="1133"/>
                  </a:lnTo>
                  <a:lnTo>
                    <a:pt x="1076" y="1126"/>
                  </a:lnTo>
                  <a:lnTo>
                    <a:pt x="1094" y="1123"/>
                  </a:lnTo>
                  <a:lnTo>
                    <a:pt x="1112" y="1120"/>
                  </a:lnTo>
                  <a:lnTo>
                    <a:pt x="1131" y="1119"/>
                  </a:lnTo>
                  <a:lnTo>
                    <a:pt x="1149" y="1119"/>
                  </a:lnTo>
                  <a:lnTo>
                    <a:pt x="1167" y="1120"/>
                  </a:lnTo>
                  <a:lnTo>
                    <a:pt x="1186" y="1123"/>
                  </a:lnTo>
                  <a:lnTo>
                    <a:pt x="1204" y="1127"/>
                  </a:lnTo>
                  <a:lnTo>
                    <a:pt x="1221" y="1134"/>
                  </a:lnTo>
                  <a:lnTo>
                    <a:pt x="1239" y="1140"/>
                  </a:lnTo>
                  <a:lnTo>
                    <a:pt x="1255" y="1149"/>
                  </a:lnTo>
                  <a:lnTo>
                    <a:pt x="1271" y="1160"/>
                  </a:lnTo>
                  <a:lnTo>
                    <a:pt x="1287" y="1170"/>
                  </a:lnTo>
                  <a:lnTo>
                    <a:pt x="1301" y="1183"/>
                  </a:lnTo>
                  <a:lnTo>
                    <a:pt x="1315" y="1197"/>
                  </a:lnTo>
                  <a:lnTo>
                    <a:pt x="1315" y="1197"/>
                  </a:lnTo>
                  <a:lnTo>
                    <a:pt x="1330" y="1217"/>
                  </a:lnTo>
                  <a:lnTo>
                    <a:pt x="1345" y="1237"/>
                  </a:lnTo>
                  <a:lnTo>
                    <a:pt x="1355" y="1259"/>
                  </a:lnTo>
                  <a:lnTo>
                    <a:pt x="1364" y="1281"/>
                  </a:lnTo>
                  <a:lnTo>
                    <a:pt x="1364" y="1281"/>
                  </a:lnTo>
                  <a:lnTo>
                    <a:pt x="1375" y="1263"/>
                  </a:lnTo>
                  <a:lnTo>
                    <a:pt x="1384" y="1246"/>
                  </a:lnTo>
                  <a:lnTo>
                    <a:pt x="1393" y="1228"/>
                  </a:lnTo>
                  <a:lnTo>
                    <a:pt x="1400" y="1208"/>
                  </a:lnTo>
                  <a:lnTo>
                    <a:pt x="1404" y="1189"/>
                  </a:lnTo>
                  <a:lnTo>
                    <a:pt x="1407" y="1169"/>
                  </a:lnTo>
                  <a:lnTo>
                    <a:pt x="1409" y="1150"/>
                  </a:lnTo>
                  <a:lnTo>
                    <a:pt x="1409" y="1130"/>
                  </a:lnTo>
                  <a:lnTo>
                    <a:pt x="1407" y="1110"/>
                  </a:lnTo>
                  <a:lnTo>
                    <a:pt x="1404" y="1090"/>
                  </a:lnTo>
                  <a:lnTo>
                    <a:pt x="1399" y="1071"/>
                  </a:lnTo>
                  <a:lnTo>
                    <a:pt x="1392" y="1052"/>
                  </a:lnTo>
                  <a:lnTo>
                    <a:pt x="1383" y="1033"/>
                  </a:lnTo>
                  <a:lnTo>
                    <a:pt x="1374" y="1016"/>
                  </a:lnTo>
                  <a:lnTo>
                    <a:pt x="1362" y="999"/>
                  </a:lnTo>
                  <a:lnTo>
                    <a:pt x="1349" y="981"/>
                  </a:lnTo>
                  <a:lnTo>
                    <a:pt x="1349" y="981"/>
                  </a:lnTo>
                  <a:lnTo>
                    <a:pt x="1333" y="965"/>
                  </a:lnTo>
                  <a:lnTo>
                    <a:pt x="1315" y="951"/>
                  </a:lnTo>
                  <a:lnTo>
                    <a:pt x="1296" y="938"/>
                  </a:lnTo>
                  <a:lnTo>
                    <a:pt x="1276" y="927"/>
                  </a:lnTo>
                  <a:lnTo>
                    <a:pt x="1381" y="834"/>
                  </a:lnTo>
                  <a:lnTo>
                    <a:pt x="1381" y="834"/>
                  </a:lnTo>
                  <a:lnTo>
                    <a:pt x="1395" y="820"/>
                  </a:lnTo>
                  <a:lnTo>
                    <a:pt x="1407" y="806"/>
                  </a:lnTo>
                  <a:lnTo>
                    <a:pt x="1417" y="791"/>
                  </a:lnTo>
                  <a:lnTo>
                    <a:pt x="1426" y="775"/>
                  </a:lnTo>
                  <a:lnTo>
                    <a:pt x="1432" y="758"/>
                  </a:lnTo>
                  <a:lnTo>
                    <a:pt x="1437" y="742"/>
                  </a:lnTo>
                  <a:lnTo>
                    <a:pt x="1441" y="723"/>
                  </a:lnTo>
                  <a:lnTo>
                    <a:pt x="1443" y="706"/>
                  </a:lnTo>
                  <a:lnTo>
                    <a:pt x="1443" y="688"/>
                  </a:lnTo>
                  <a:lnTo>
                    <a:pt x="1442" y="670"/>
                  </a:lnTo>
                  <a:lnTo>
                    <a:pt x="1438" y="653"/>
                  </a:lnTo>
                  <a:lnTo>
                    <a:pt x="1433" y="636"/>
                  </a:lnTo>
                  <a:lnTo>
                    <a:pt x="1427" y="618"/>
                  </a:lnTo>
                  <a:lnTo>
                    <a:pt x="1418" y="602"/>
                  </a:lnTo>
                  <a:lnTo>
                    <a:pt x="1408" y="586"/>
                  </a:lnTo>
                  <a:lnTo>
                    <a:pt x="1396" y="572"/>
                  </a:lnTo>
                  <a:lnTo>
                    <a:pt x="1396" y="572"/>
                  </a:lnTo>
                  <a:lnTo>
                    <a:pt x="1384" y="560"/>
                  </a:lnTo>
                  <a:lnTo>
                    <a:pt x="1373" y="549"/>
                  </a:lnTo>
                  <a:lnTo>
                    <a:pt x="1360" y="541"/>
                  </a:lnTo>
                  <a:lnTo>
                    <a:pt x="1347" y="533"/>
                  </a:lnTo>
                  <a:lnTo>
                    <a:pt x="1333" y="526"/>
                  </a:lnTo>
                  <a:lnTo>
                    <a:pt x="1319" y="520"/>
                  </a:lnTo>
                  <a:lnTo>
                    <a:pt x="1305" y="516"/>
                  </a:lnTo>
                  <a:lnTo>
                    <a:pt x="1289" y="513"/>
                  </a:lnTo>
                  <a:lnTo>
                    <a:pt x="1274" y="510"/>
                  </a:lnTo>
                  <a:lnTo>
                    <a:pt x="1259" y="510"/>
                  </a:lnTo>
                  <a:lnTo>
                    <a:pt x="1244" y="510"/>
                  </a:lnTo>
                  <a:lnTo>
                    <a:pt x="1229" y="513"/>
                  </a:lnTo>
                  <a:lnTo>
                    <a:pt x="1215" y="515"/>
                  </a:lnTo>
                  <a:lnTo>
                    <a:pt x="1200" y="519"/>
                  </a:lnTo>
                  <a:lnTo>
                    <a:pt x="1186" y="525"/>
                  </a:lnTo>
                  <a:lnTo>
                    <a:pt x="1172" y="531"/>
                  </a:lnTo>
                  <a:lnTo>
                    <a:pt x="1172" y="531"/>
                  </a:lnTo>
                  <a:close/>
                </a:path>
              </a:pathLst>
            </a:custGeom>
            <a:solidFill>
              <a:srgbClr val="E5E8E8">
                <a:lumMod val="9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80" name="Freeform 579"/>
            <p:cNvSpPr>
              <a:spLocks/>
            </p:cNvSpPr>
            <p:nvPr/>
          </p:nvSpPr>
          <p:spPr bwMode="auto">
            <a:xfrm>
              <a:off x="5122724" y="4622952"/>
              <a:ext cx="427266" cy="378472"/>
            </a:xfrm>
            <a:custGeom>
              <a:avLst/>
              <a:gdLst>
                <a:gd name="T0" fmla="*/ 1286 w 1527"/>
                <a:gd name="T1" fmla="*/ 495 h 1382"/>
                <a:gd name="T2" fmla="*/ 1360 w 1527"/>
                <a:gd name="T3" fmla="*/ 545 h 1382"/>
                <a:gd name="T4" fmla="*/ 1423 w 1527"/>
                <a:gd name="T5" fmla="*/ 611 h 1382"/>
                <a:gd name="T6" fmla="*/ 1474 w 1527"/>
                <a:gd name="T7" fmla="*/ 689 h 1382"/>
                <a:gd name="T8" fmla="*/ 1502 w 1527"/>
                <a:gd name="T9" fmla="*/ 755 h 1382"/>
                <a:gd name="T10" fmla="*/ 1524 w 1527"/>
                <a:gd name="T11" fmla="*/ 848 h 1382"/>
                <a:gd name="T12" fmla="*/ 1526 w 1527"/>
                <a:gd name="T13" fmla="*/ 941 h 1382"/>
                <a:gd name="T14" fmla="*/ 1511 w 1527"/>
                <a:gd name="T15" fmla="*/ 1030 h 1382"/>
                <a:gd name="T16" fmla="*/ 1478 w 1527"/>
                <a:gd name="T17" fmla="*/ 1116 h 1382"/>
                <a:gd name="T18" fmla="*/ 1431 w 1527"/>
                <a:gd name="T19" fmla="*/ 1193 h 1382"/>
                <a:gd name="T20" fmla="*/ 1368 w 1527"/>
                <a:gd name="T21" fmla="*/ 1262 h 1382"/>
                <a:gd name="T22" fmla="*/ 1293 w 1527"/>
                <a:gd name="T23" fmla="*/ 1317 h 1382"/>
                <a:gd name="T24" fmla="*/ 1228 w 1527"/>
                <a:gd name="T25" fmla="*/ 1349 h 1382"/>
                <a:gd name="T26" fmla="*/ 1140 w 1527"/>
                <a:gd name="T27" fmla="*/ 1374 h 1382"/>
                <a:gd name="T28" fmla="*/ 1054 w 1527"/>
                <a:gd name="T29" fmla="*/ 1382 h 1382"/>
                <a:gd name="T30" fmla="*/ 967 w 1527"/>
                <a:gd name="T31" fmla="*/ 1375 h 1382"/>
                <a:gd name="T32" fmla="*/ 885 w 1527"/>
                <a:gd name="T33" fmla="*/ 1352 h 1382"/>
                <a:gd name="T34" fmla="*/ 808 w 1527"/>
                <a:gd name="T35" fmla="*/ 1314 h 1382"/>
                <a:gd name="T36" fmla="*/ 739 w 1527"/>
                <a:gd name="T37" fmla="*/ 1264 h 1382"/>
                <a:gd name="T38" fmla="*/ 679 w 1527"/>
                <a:gd name="T39" fmla="*/ 1201 h 1382"/>
                <a:gd name="T40" fmla="*/ 631 w 1527"/>
                <a:gd name="T41" fmla="*/ 1127 h 1382"/>
                <a:gd name="T42" fmla="*/ 457 w 1527"/>
                <a:gd name="T43" fmla="*/ 1193 h 1382"/>
                <a:gd name="T44" fmla="*/ 386 w 1527"/>
                <a:gd name="T45" fmla="*/ 1205 h 1382"/>
                <a:gd name="T46" fmla="*/ 316 w 1527"/>
                <a:gd name="T47" fmla="*/ 1204 h 1382"/>
                <a:gd name="T48" fmla="*/ 249 w 1527"/>
                <a:gd name="T49" fmla="*/ 1189 h 1382"/>
                <a:gd name="T50" fmla="*/ 186 w 1527"/>
                <a:gd name="T51" fmla="*/ 1162 h 1382"/>
                <a:gd name="T52" fmla="*/ 129 w 1527"/>
                <a:gd name="T53" fmla="*/ 1123 h 1382"/>
                <a:gd name="T54" fmla="*/ 80 w 1527"/>
                <a:gd name="T55" fmla="*/ 1074 h 1382"/>
                <a:gd name="T56" fmla="*/ 41 w 1527"/>
                <a:gd name="T57" fmla="*/ 1013 h 1382"/>
                <a:gd name="T58" fmla="*/ 19 w 1527"/>
                <a:gd name="T59" fmla="*/ 962 h 1382"/>
                <a:gd name="T60" fmla="*/ 3 w 1527"/>
                <a:gd name="T61" fmla="*/ 892 h 1382"/>
                <a:gd name="T62" fmla="*/ 1 w 1527"/>
                <a:gd name="T63" fmla="*/ 822 h 1382"/>
                <a:gd name="T64" fmla="*/ 13 w 1527"/>
                <a:gd name="T65" fmla="*/ 754 h 1382"/>
                <a:gd name="T66" fmla="*/ 37 w 1527"/>
                <a:gd name="T67" fmla="*/ 689 h 1382"/>
                <a:gd name="T68" fmla="*/ 72 w 1527"/>
                <a:gd name="T69" fmla="*/ 631 h 1382"/>
                <a:gd name="T70" fmla="*/ 120 w 1527"/>
                <a:gd name="T71" fmla="*/ 580 h 1382"/>
                <a:gd name="T72" fmla="*/ 177 w 1527"/>
                <a:gd name="T73" fmla="*/ 538 h 1382"/>
                <a:gd name="T74" fmla="*/ 686 w 1527"/>
                <a:gd name="T75" fmla="*/ 332 h 1382"/>
                <a:gd name="T76" fmla="*/ 722 w 1527"/>
                <a:gd name="T77" fmla="*/ 294 h 1382"/>
                <a:gd name="T78" fmla="*/ 755 w 1527"/>
                <a:gd name="T79" fmla="*/ 233 h 1382"/>
                <a:gd name="T80" fmla="*/ 768 w 1527"/>
                <a:gd name="T81" fmla="*/ 165 h 1382"/>
                <a:gd name="T82" fmla="*/ 758 w 1527"/>
                <a:gd name="T83" fmla="*/ 95 h 1382"/>
                <a:gd name="T84" fmla="*/ 730 w 1527"/>
                <a:gd name="T85" fmla="*/ 38 h 1382"/>
                <a:gd name="T86" fmla="*/ 721 w 1527"/>
                <a:gd name="T87" fmla="*/ 1 h 1382"/>
                <a:gd name="T88" fmla="*/ 796 w 1527"/>
                <a:gd name="T89" fmla="*/ 8 h 1382"/>
                <a:gd name="T90" fmla="*/ 863 w 1527"/>
                <a:gd name="T91" fmla="*/ 38 h 1382"/>
                <a:gd name="T92" fmla="*/ 917 w 1527"/>
                <a:gd name="T93" fmla="*/ 89 h 1382"/>
                <a:gd name="T94" fmla="*/ 945 w 1527"/>
                <a:gd name="T95" fmla="*/ 139 h 1382"/>
                <a:gd name="T96" fmla="*/ 961 w 1527"/>
                <a:gd name="T97" fmla="*/ 223 h 1382"/>
                <a:gd name="T98" fmla="*/ 1115 w 1527"/>
                <a:gd name="T99" fmla="*/ 164 h 1382"/>
                <a:gd name="T100" fmla="*/ 1182 w 1527"/>
                <a:gd name="T101" fmla="*/ 165 h 1382"/>
                <a:gd name="T102" fmla="*/ 1243 w 1527"/>
                <a:gd name="T103" fmla="*/ 192 h 1382"/>
                <a:gd name="T104" fmla="*/ 1289 w 1527"/>
                <a:gd name="T105" fmla="*/ 240 h 1382"/>
                <a:gd name="T106" fmla="*/ 1311 w 1527"/>
                <a:gd name="T107" fmla="*/ 285 h 1382"/>
                <a:gd name="T108" fmla="*/ 1317 w 1527"/>
                <a:gd name="T109" fmla="*/ 342 h 1382"/>
                <a:gd name="T110" fmla="*/ 1307 w 1527"/>
                <a:gd name="T111" fmla="*/ 396 h 1382"/>
                <a:gd name="T112" fmla="*/ 1277 w 1527"/>
                <a:gd name="T113" fmla="*/ 445 h 1382"/>
                <a:gd name="T114" fmla="*/ 1246 w 1527"/>
                <a:gd name="T115" fmla="*/ 474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27" h="1382">
                  <a:moveTo>
                    <a:pt x="1246" y="474"/>
                  </a:moveTo>
                  <a:lnTo>
                    <a:pt x="1246" y="474"/>
                  </a:lnTo>
                  <a:lnTo>
                    <a:pt x="1267" y="484"/>
                  </a:lnTo>
                  <a:lnTo>
                    <a:pt x="1286" y="495"/>
                  </a:lnTo>
                  <a:lnTo>
                    <a:pt x="1306" y="506"/>
                  </a:lnTo>
                  <a:lnTo>
                    <a:pt x="1324" y="518"/>
                  </a:lnTo>
                  <a:lnTo>
                    <a:pt x="1342" y="531"/>
                  </a:lnTo>
                  <a:lnTo>
                    <a:pt x="1360" y="545"/>
                  </a:lnTo>
                  <a:lnTo>
                    <a:pt x="1377" y="561"/>
                  </a:lnTo>
                  <a:lnTo>
                    <a:pt x="1393" y="577"/>
                  </a:lnTo>
                  <a:lnTo>
                    <a:pt x="1408" y="593"/>
                  </a:lnTo>
                  <a:lnTo>
                    <a:pt x="1423" y="611"/>
                  </a:lnTo>
                  <a:lnTo>
                    <a:pt x="1437" y="630"/>
                  </a:lnTo>
                  <a:lnTo>
                    <a:pt x="1450" y="648"/>
                  </a:lnTo>
                  <a:lnTo>
                    <a:pt x="1462" y="669"/>
                  </a:lnTo>
                  <a:lnTo>
                    <a:pt x="1474" y="689"/>
                  </a:lnTo>
                  <a:lnTo>
                    <a:pt x="1484" y="710"/>
                  </a:lnTo>
                  <a:lnTo>
                    <a:pt x="1493" y="732"/>
                  </a:lnTo>
                  <a:lnTo>
                    <a:pt x="1493" y="732"/>
                  </a:lnTo>
                  <a:lnTo>
                    <a:pt x="1502" y="755"/>
                  </a:lnTo>
                  <a:lnTo>
                    <a:pt x="1509" y="778"/>
                  </a:lnTo>
                  <a:lnTo>
                    <a:pt x="1515" y="801"/>
                  </a:lnTo>
                  <a:lnTo>
                    <a:pt x="1519" y="824"/>
                  </a:lnTo>
                  <a:lnTo>
                    <a:pt x="1524" y="848"/>
                  </a:lnTo>
                  <a:lnTo>
                    <a:pt x="1526" y="872"/>
                  </a:lnTo>
                  <a:lnTo>
                    <a:pt x="1527" y="894"/>
                  </a:lnTo>
                  <a:lnTo>
                    <a:pt x="1527" y="918"/>
                  </a:lnTo>
                  <a:lnTo>
                    <a:pt x="1526" y="941"/>
                  </a:lnTo>
                  <a:lnTo>
                    <a:pt x="1524" y="963"/>
                  </a:lnTo>
                  <a:lnTo>
                    <a:pt x="1520" y="986"/>
                  </a:lnTo>
                  <a:lnTo>
                    <a:pt x="1516" y="1009"/>
                  </a:lnTo>
                  <a:lnTo>
                    <a:pt x="1511" y="1030"/>
                  </a:lnTo>
                  <a:lnTo>
                    <a:pt x="1504" y="1053"/>
                  </a:lnTo>
                  <a:lnTo>
                    <a:pt x="1497" y="1075"/>
                  </a:lnTo>
                  <a:lnTo>
                    <a:pt x="1488" y="1095"/>
                  </a:lnTo>
                  <a:lnTo>
                    <a:pt x="1478" y="1116"/>
                  </a:lnTo>
                  <a:lnTo>
                    <a:pt x="1469" y="1136"/>
                  </a:lnTo>
                  <a:lnTo>
                    <a:pt x="1457" y="1156"/>
                  </a:lnTo>
                  <a:lnTo>
                    <a:pt x="1444" y="1175"/>
                  </a:lnTo>
                  <a:lnTo>
                    <a:pt x="1431" y="1193"/>
                  </a:lnTo>
                  <a:lnTo>
                    <a:pt x="1417" y="1212"/>
                  </a:lnTo>
                  <a:lnTo>
                    <a:pt x="1402" y="1229"/>
                  </a:lnTo>
                  <a:lnTo>
                    <a:pt x="1385" y="1245"/>
                  </a:lnTo>
                  <a:lnTo>
                    <a:pt x="1368" y="1262"/>
                  </a:lnTo>
                  <a:lnTo>
                    <a:pt x="1351" y="1277"/>
                  </a:lnTo>
                  <a:lnTo>
                    <a:pt x="1333" y="1291"/>
                  </a:lnTo>
                  <a:lnTo>
                    <a:pt x="1313" y="1305"/>
                  </a:lnTo>
                  <a:lnTo>
                    <a:pt x="1293" y="1317"/>
                  </a:lnTo>
                  <a:lnTo>
                    <a:pt x="1272" y="1328"/>
                  </a:lnTo>
                  <a:lnTo>
                    <a:pt x="1250" y="1339"/>
                  </a:lnTo>
                  <a:lnTo>
                    <a:pt x="1228" y="1349"/>
                  </a:lnTo>
                  <a:lnTo>
                    <a:pt x="1228" y="1349"/>
                  </a:lnTo>
                  <a:lnTo>
                    <a:pt x="1206" y="1357"/>
                  </a:lnTo>
                  <a:lnTo>
                    <a:pt x="1185" y="1363"/>
                  </a:lnTo>
                  <a:lnTo>
                    <a:pt x="1163" y="1370"/>
                  </a:lnTo>
                  <a:lnTo>
                    <a:pt x="1140" y="1374"/>
                  </a:lnTo>
                  <a:lnTo>
                    <a:pt x="1119" y="1377"/>
                  </a:lnTo>
                  <a:lnTo>
                    <a:pt x="1097" y="1380"/>
                  </a:lnTo>
                  <a:lnTo>
                    <a:pt x="1075" y="1381"/>
                  </a:lnTo>
                  <a:lnTo>
                    <a:pt x="1054" y="1382"/>
                  </a:lnTo>
                  <a:lnTo>
                    <a:pt x="1031" y="1381"/>
                  </a:lnTo>
                  <a:lnTo>
                    <a:pt x="1010" y="1380"/>
                  </a:lnTo>
                  <a:lnTo>
                    <a:pt x="989" y="1378"/>
                  </a:lnTo>
                  <a:lnTo>
                    <a:pt x="967" y="1375"/>
                  </a:lnTo>
                  <a:lnTo>
                    <a:pt x="946" y="1371"/>
                  </a:lnTo>
                  <a:lnTo>
                    <a:pt x="925" y="1365"/>
                  </a:lnTo>
                  <a:lnTo>
                    <a:pt x="905" y="1359"/>
                  </a:lnTo>
                  <a:lnTo>
                    <a:pt x="885" y="1352"/>
                  </a:lnTo>
                  <a:lnTo>
                    <a:pt x="865" y="1344"/>
                  </a:lnTo>
                  <a:lnTo>
                    <a:pt x="845" y="1335"/>
                  </a:lnTo>
                  <a:lnTo>
                    <a:pt x="827" y="1325"/>
                  </a:lnTo>
                  <a:lnTo>
                    <a:pt x="808" y="1314"/>
                  </a:lnTo>
                  <a:lnTo>
                    <a:pt x="789" y="1304"/>
                  </a:lnTo>
                  <a:lnTo>
                    <a:pt x="772" y="1291"/>
                  </a:lnTo>
                  <a:lnTo>
                    <a:pt x="755" y="1278"/>
                  </a:lnTo>
                  <a:lnTo>
                    <a:pt x="739" y="1264"/>
                  </a:lnTo>
                  <a:lnTo>
                    <a:pt x="722" y="1250"/>
                  </a:lnTo>
                  <a:lnTo>
                    <a:pt x="707" y="1233"/>
                  </a:lnTo>
                  <a:lnTo>
                    <a:pt x="693" y="1217"/>
                  </a:lnTo>
                  <a:lnTo>
                    <a:pt x="679" y="1201"/>
                  </a:lnTo>
                  <a:lnTo>
                    <a:pt x="666" y="1183"/>
                  </a:lnTo>
                  <a:lnTo>
                    <a:pt x="653" y="1164"/>
                  </a:lnTo>
                  <a:lnTo>
                    <a:pt x="641" y="1146"/>
                  </a:lnTo>
                  <a:lnTo>
                    <a:pt x="631" y="1127"/>
                  </a:lnTo>
                  <a:lnTo>
                    <a:pt x="492" y="1182"/>
                  </a:lnTo>
                  <a:lnTo>
                    <a:pt x="492" y="1182"/>
                  </a:lnTo>
                  <a:lnTo>
                    <a:pt x="475" y="1188"/>
                  </a:lnTo>
                  <a:lnTo>
                    <a:pt x="457" y="1193"/>
                  </a:lnTo>
                  <a:lnTo>
                    <a:pt x="439" y="1198"/>
                  </a:lnTo>
                  <a:lnTo>
                    <a:pt x="422" y="1201"/>
                  </a:lnTo>
                  <a:lnTo>
                    <a:pt x="405" y="1204"/>
                  </a:lnTo>
                  <a:lnTo>
                    <a:pt x="386" y="1205"/>
                  </a:lnTo>
                  <a:lnTo>
                    <a:pt x="369" y="1206"/>
                  </a:lnTo>
                  <a:lnTo>
                    <a:pt x="352" y="1206"/>
                  </a:lnTo>
                  <a:lnTo>
                    <a:pt x="335" y="1205"/>
                  </a:lnTo>
                  <a:lnTo>
                    <a:pt x="316" y="1204"/>
                  </a:lnTo>
                  <a:lnTo>
                    <a:pt x="300" y="1202"/>
                  </a:lnTo>
                  <a:lnTo>
                    <a:pt x="283" y="1199"/>
                  </a:lnTo>
                  <a:lnTo>
                    <a:pt x="265" y="1195"/>
                  </a:lnTo>
                  <a:lnTo>
                    <a:pt x="249" y="1189"/>
                  </a:lnTo>
                  <a:lnTo>
                    <a:pt x="233" y="1184"/>
                  </a:lnTo>
                  <a:lnTo>
                    <a:pt x="217" y="1177"/>
                  </a:lnTo>
                  <a:lnTo>
                    <a:pt x="202" y="1170"/>
                  </a:lnTo>
                  <a:lnTo>
                    <a:pt x="186" y="1162"/>
                  </a:lnTo>
                  <a:lnTo>
                    <a:pt x="172" y="1154"/>
                  </a:lnTo>
                  <a:lnTo>
                    <a:pt x="156" y="1144"/>
                  </a:lnTo>
                  <a:lnTo>
                    <a:pt x="142" y="1134"/>
                  </a:lnTo>
                  <a:lnTo>
                    <a:pt x="129" y="1123"/>
                  </a:lnTo>
                  <a:lnTo>
                    <a:pt x="115" y="1111"/>
                  </a:lnTo>
                  <a:lnTo>
                    <a:pt x="103" y="1100"/>
                  </a:lnTo>
                  <a:lnTo>
                    <a:pt x="92" y="1087"/>
                  </a:lnTo>
                  <a:lnTo>
                    <a:pt x="80" y="1074"/>
                  </a:lnTo>
                  <a:lnTo>
                    <a:pt x="69" y="1060"/>
                  </a:lnTo>
                  <a:lnTo>
                    <a:pt x="59" y="1044"/>
                  </a:lnTo>
                  <a:lnTo>
                    <a:pt x="49" y="1029"/>
                  </a:lnTo>
                  <a:lnTo>
                    <a:pt x="41" y="1013"/>
                  </a:lnTo>
                  <a:lnTo>
                    <a:pt x="32" y="997"/>
                  </a:lnTo>
                  <a:lnTo>
                    <a:pt x="26" y="980"/>
                  </a:lnTo>
                  <a:lnTo>
                    <a:pt x="26" y="980"/>
                  </a:lnTo>
                  <a:lnTo>
                    <a:pt x="19" y="962"/>
                  </a:lnTo>
                  <a:lnTo>
                    <a:pt x="14" y="945"/>
                  </a:lnTo>
                  <a:lnTo>
                    <a:pt x="10" y="928"/>
                  </a:lnTo>
                  <a:lnTo>
                    <a:pt x="5" y="911"/>
                  </a:lnTo>
                  <a:lnTo>
                    <a:pt x="3" y="892"/>
                  </a:lnTo>
                  <a:lnTo>
                    <a:pt x="1" y="875"/>
                  </a:lnTo>
                  <a:lnTo>
                    <a:pt x="0" y="858"/>
                  </a:lnTo>
                  <a:lnTo>
                    <a:pt x="0" y="840"/>
                  </a:lnTo>
                  <a:lnTo>
                    <a:pt x="1" y="822"/>
                  </a:lnTo>
                  <a:lnTo>
                    <a:pt x="3" y="805"/>
                  </a:lnTo>
                  <a:lnTo>
                    <a:pt x="5" y="787"/>
                  </a:lnTo>
                  <a:lnTo>
                    <a:pt x="8" y="771"/>
                  </a:lnTo>
                  <a:lnTo>
                    <a:pt x="13" y="754"/>
                  </a:lnTo>
                  <a:lnTo>
                    <a:pt x="17" y="738"/>
                  </a:lnTo>
                  <a:lnTo>
                    <a:pt x="22" y="722"/>
                  </a:lnTo>
                  <a:lnTo>
                    <a:pt x="29" y="705"/>
                  </a:lnTo>
                  <a:lnTo>
                    <a:pt x="37" y="689"/>
                  </a:lnTo>
                  <a:lnTo>
                    <a:pt x="44" y="674"/>
                  </a:lnTo>
                  <a:lnTo>
                    <a:pt x="53" y="659"/>
                  </a:lnTo>
                  <a:lnTo>
                    <a:pt x="62" y="645"/>
                  </a:lnTo>
                  <a:lnTo>
                    <a:pt x="72" y="631"/>
                  </a:lnTo>
                  <a:lnTo>
                    <a:pt x="83" y="617"/>
                  </a:lnTo>
                  <a:lnTo>
                    <a:pt x="95" y="604"/>
                  </a:lnTo>
                  <a:lnTo>
                    <a:pt x="107" y="592"/>
                  </a:lnTo>
                  <a:lnTo>
                    <a:pt x="120" y="580"/>
                  </a:lnTo>
                  <a:lnTo>
                    <a:pt x="134" y="568"/>
                  </a:lnTo>
                  <a:lnTo>
                    <a:pt x="148" y="557"/>
                  </a:lnTo>
                  <a:lnTo>
                    <a:pt x="162" y="548"/>
                  </a:lnTo>
                  <a:lnTo>
                    <a:pt x="177" y="538"/>
                  </a:lnTo>
                  <a:lnTo>
                    <a:pt x="193" y="529"/>
                  </a:lnTo>
                  <a:lnTo>
                    <a:pt x="209" y="521"/>
                  </a:lnTo>
                  <a:lnTo>
                    <a:pt x="227" y="514"/>
                  </a:lnTo>
                  <a:lnTo>
                    <a:pt x="686" y="332"/>
                  </a:lnTo>
                  <a:lnTo>
                    <a:pt x="686" y="332"/>
                  </a:lnTo>
                  <a:lnTo>
                    <a:pt x="699" y="320"/>
                  </a:lnTo>
                  <a:lnTo>
                    <a:pt x="712" y="307"/>
                  </a:lnTo>
                  <a:lnTo>
                    <a:pt x="722" y="294"/>
                  </a:lnTo>
                  <a:lnTo>
                    <a:pt x="732" y="280"/>
                  </a:lnTo>
                  <a:lnTo>
                    <a:pt x="741" y="265"/>
                  </a:lnTo>
                  <a:lnTo>
                    <a:pt x="748" y="250"/>
                  </a:lnTo>
                  <a:lnTo>
                    <a:pt x="755" y="233"/>
                  </a:lnTo>
                  <a:lnTo>
                    <a:pt x="760" y="217"/>
                  </a:lnTo>
                  <a:lnTo>
                    <a:pt x="763" y="200"/>
                  </a:lnTo>
                  <a:lnTo>
                    <a:pt x="766" y="183"/>
                  </a:lnTo>
                  <a:lnTo>
                    <a:pt x="768" y="165"/>
                  </a:lnTo>
                  <a:lnTo>
                    <a:pt x="767" y="148"/>
                  </a:lnTo>
                  <a:lnTo>
                    <a:pt x="766" y="131"/>
                  </a:lnTo>
                  <a:lnTo>
                    <a:pt x="762" y="112"/>
                  </a:lnTo>
                  <a:lnTo>
                    <a:pt x="758" y="95"/>
                  </a:lnTo>
                  <a:lnTo>
                    <a:pt x="751" y="78"/>
                  </a:lnTo>
                  <a:lnTo>
                    <a:pt x="751" y="78"/>
                  </a:lnTo>
                  <a:lnTo>
                    <a:pt x="742" y="57"/>
                  </a:lnTo>
                  <a:lnTo>
                    <a:pt x="730" y="38"/>
                  </a:lnTo>
                  <a:lnTo>
                    <a:pt x="717" y="20"/>
                  </a:lnTo>
                  <a:lnTo>
                    <a:pt x="703" y="3"/>
                  </a:lnTo>
                  <a:lnTo>
                    <a:pt x="703" y="3"/>
                  </a:lnTo>
                  <a:lnTo>
                    <a:pt x="721" y="1"/>
                  </a:lnTo>
                  <a:lnTo>
                    <a:pt x="740" y="0"/>
                  </a:lnTo>
                  <a:lnTo>
                    <a:pt x="759" y="1"/>
                  </a:lnTo>
                  <a:lnTo>
                    <a:pt x="777" y="3"/>
                  </a:lnTo>
                  <a:lnTo>
                    <a:pt x="796" y="8"/>
                  </a:lnTo>
                  <a:lnTo>
                    <a:pt x="813" y="13"/>
                  </a:lnTo>
                  <a:lnTo>
                    <a:pt x="830" y="20"/>
                  </a:lnTo>
                  <a:lnTo>
                    <a:pt x="847" y="28"/>
                  </a:lnTo>
                  <a:lnTo>
                    <a:pt x="863" y="38"/>
                  </a:lnTo>
                  <a:lnTo>
                    <a:pt x="878" y="49"/>
                  </a:lnTo>
                  <a:lnTo>
                    <a:pt x="892" y="61"/>
                  </a:lnTo>
                  <a:lnTo>
                    <a:pt x="905" y="75"/>
                  </a:lnTo>
                  <a:lnTo>
                    <a:pt x="917" y="89"/>
                  </a:lnTo>
                  <a:lnTo>
                    <a:pt x="928" y="105"/>
                  </a:lnTo>
                  <a:lnTo>
                    <a:pt x="937" y="122"/>
                  </a:lnTo>
                  <a:lnTo>
                    <a:pt x="945" y="139"/>
                  </a:lnTo>
                  <a:lnTo>
                    <a:pt x="945" y="139"/>
                  </a:lnTo>
                  <a:lnTo>
                    <a:pt x="951" y="160"/>
                  </a:lnTo>
                  <a:lnTo>
                    <a:pt x="957" y="180"/>
                  </a:lnTo>
                  <a:lnTo>
                    <a:pt x="960" y="201"/>
                  </a:lnTo>
                  <a:lnTo>
                    <a:pt x="961" y="223"/>
                  </a:lnTo>
                  <a:lnTo>
                    <a:pt x="1082" y="174"/>
                  </a:lnTo>
                  <a:lnTo>
                    <a:pt x="1082" y="174"/>
                  </a:lnTo>
                  <a:lnTo>
                    <a:pt x="1098" y="169"/>
                  </a:lnTo>
                  <a:lnTo>
                    <a:pt x="1115" y="164"/>
                  </a:lnTo>
                  <a:lnTo>
                    <a:pt x="1132" y="162"/>
                  </a:lnTo>
                  <a:lnTo>
                    <a:pt x="1149" y="162"/>
                  </a:lnTo>
                  <a:lnTo>
                    <a:pt x="1165" y="163"/>
                  </a:lnTo>
                  <a:lnTo>
                    <a:pt x="1182" y="165"/>
                  </a:lnTo>
                  <a:lnTo>
                    <a:pt x="1199" y="170"/>
                  </a:lnTo>
                  <a:lnTo>
                    <a:pt x="1214" y="176"/>
                  </a:lnTo>
                  <a:lnTo>
                    <a:pt x="1229" y="183"/>
                  </a:lnTo>
                  <a:lnTo>
                    <a:pt x="1243" y="192"/>
                  </a:lnTo>
                  <a:lnTo>
                    <a:pt x="1256" y="202"/>
                  </a:lnTo>
                  <a:lnTo>
                    <a:pt x="1268" y="213"/>
                  </a:lnTo>
                  <a:lnTo>
                    <a:pt x="1280" y="226"/>
                  </a:lnTo>
                  <a:lnTo>
                    <a:pt x="1289" y="240"/>
                  </a:lnTo>
                  <a:lnTo>
                    <a:pt x="1298" y="255"/>
                  </a:lnTo>
                  <a:lnTo>
                    <a:pt x="1306" y="270"/>
                  </a:lnTo>
                  <a:lnTo>
                    <a:pt x="1306" y="270"/>
                  </a:lnTo>
                  <a:lnTo>
                    <a:pt x="1311" y="285"/>
                  </a:lnTo>
                  <a:lnTo>
                    <a:pt x="1314" y="299"/>
                  </a:lnTo>
                  <a:lnTo>
                    <a:pt x="1316" y="313"/>
                  </a:lnTo>
                  <a:lnTo>
                    <a:pt x="1317" y="327"/>
                  </a:lnTo>
                  <a:lnTo>
                    <a:pt x="1317" y="342"/>
                  </a:lnTo>
                  <a:lnTo>
                    <a:pt x="1316" y="356"/>
                  </a:lnTo>
                  <a:lnTo>
                    <a:pt x="1314" y="371"/>
                  </a:lnTo>
                  <a:lnTo>
                    <a:pt x="1311" y="383"/>
                  </a:lnTo>
                  <a:lnTo>
                    <a:pt x="1307" y="396"/>
                  </a:lnTo>
                  <a:lnTo>
                    <a:pt x="1300" y="409"/>
                  </a:lnTo>
                  <a:lnTo>
                    <a:pt x="1294" y="422"/>
                  </a:lnTo>
                  <a:lnTo>
                    <a:pt x="1286" y="434"/>
                  </a:lnTo>
                  <a:lnTo>
                    <a:pt x="1277" y="445"/>
                  </a:lnTo>
                  <a:lnTo>
                    <a:pt x="1268" y="456"/>
                  </a:lnTo>
                  <a:lnTo>
                    <a:pt x="1258" y="466"/>
                  </a:lnTo>
                  <a:lnTo>
                    <a:pt x="1246" y="474"/>
                  </a:lnTo>
                  <a:lnTo>
                    <a:pt x="1246" y="474"/>
                  </a:lnTo>
                  <a:close/>
                </a:path>
              </a:pathLst>
            </a:custGeom>
            <a:solidFill>
              <a:sysClr val="window" lastClr="FFFFFF">
                <a:lumMod val="7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81" name="Freeform 580"/>
            <p:cNvSpPr>
              <a:spLocks/>
            </p:cNvSpPr>
            <p:nvPr/>
          </p:nvSpPr>
          <p:spPr bwMode="auto">
            <a:xfrm>
              <a:off x="1774015" y="2788704"/>
              <a:ext cx="443955" cy="445581"/>
            </a:xfrm>
            <a:custGeom>
              <a:avLst/>
              <a:gdLst>
                <a:gd name="T0" fmla="*/ 853 w 1547"/>
                <a:gd name="T1" fmla="*/ 1447 h 1581"/>
                <a:gd name="T2" fmla="*/ 777 w 1547"/>
                <a:gd name="T3" fmla="*/ 1505 h 1581"/>
                <a:gd name="T4" fmla="*/ 689 w 1547"/>
                <a:gd name="T5" fmla="*/ 1548 h 1581"/>
                <a:gd name="T6" fmla="*/ 593 w 1547"/>
                <a:gd name="T7" fmla="*/ 1574 h 1581"/>
                <a:gd name="T8" fmla="*/ 516 w 1547"/>
                <a:gd name="T9" fmla="*/ 1581 h 1581"/>
                <a:gd name="T10" fmla="*/ 415 w 1547"/>
                <a:gd name="T11" fmla="*/ 1573 h 1581"/>
                <a:gd name="T12" fmla="*/ 319 w 1547"/>
                <a:gd name="T13" fmla="*/ 1545 h 1581"/>
                <a:gd name="T14" fmla="*/ 232 w 1547"/>
                <a:gd name="T15" fmla="*/ 1499 h 1581"/>
                <a:gd name="T16" fmla="*/ 156 w 1547"/>
                <a:gd name="T17" fmla="*/ 1439 h 1581"/>
                <a:gd name="T18" fmla="*/ 92 w 1547"/>
                <a:gd name="T19" fmla="*/ 1364 h 1581"/>
                <a:gd name="T20" fmla="*/ 43 w 1547"/>
                <a:gd name="T21" fmla="*/ 1278 h 1581"/>
                <a:gd name="T22" fmla="*/ 12 w 1547"/>
                <a:gd name="T23" fmla="*/ 1183 h 1581"/>
                <a:gd name="T24" fmla="*/ 1 w 1547"/>
                <a:gd name="T25" fmla="*/ 1106 h 1581"/>
                <a:gd name="T26" fmla="*/ 3 w 1547"/>
                <a:gd name="T27" fmla="*/ 1009 h 1581"/>
                <a:gd name="T28" fmla="*/ 24 w 1547"/>
                <a:gd name="T29" fmla="*/ 917 h 1581"/>
                <a:gd name="T30" fmla="*/ 61 w 1547"/>
                <a:gd name="T31" fmla="*/ 832 h 1581"/>
                <a:gd name="T32" fmla="*/ 110 w 1547"/>
                <a:gd name="T33" fmla="*/ 755 h 1581"/>
                <a:gd name="T34" fmla="*/ 174 w 1547"/>
                <a:gd name="T35" fmla="*/ 689 h 1581"/>
                <a:gd name="T36" fmla="*/ 249 w 1547"/>
                <a:gd name="T37" fmla="*/ 635 h 1581"/>
                <a:gd name="T38" fmla="*/ 333 w 1547"/>
                <a:gd name="T39" fmla="*/ 594 h 1581"/>
                <a:gd name="T40" fmla="*/ 425 w 1547"/>
                <a:gd name="T41" fmla="*/ 570 h 1581"/>
                <a:gd name="T42" fmla="*/ 414 w 1547"/>
                <a:gd name="T43" fmla="*/ 371 h 1581"/>
                <a:gd name="T44" fmla="*/ 424 w 1547"/>
                <a:gd name="T45" fmla="*/ 295 h 1581"/>
                <a:gd name="T46" fmla="*/ 448 w 1547"/>
                <a:gd name="T47" fmla="*/ 224 h 1581"/>
                <a:gd name="T48" fmla="*/ 486 w 1547"/>
                <a:gd name="T49" fmla="*/ 160 h 1581"/>
                <a:gd name="T50" fmla="*/ 535 w 1547"/>
                <a:gd name="T51" fmla="*/ 105 h 1581"/>
                <a:gd name="T52" fmla="*/ 593 w 1547"/>
                <a:gd name="T53" fmla="*/ 60 h 1581"/>
                <a:gd name="T54" fmla="*/ 660 w 1547"/>
                <a:gd name="T55" fmla="*/ 26 h 1581"/>
                <a:gd name="T56" fmla="*/ 733 w 1547"/>
                <a:gd name="T57" fmla="*/ 6 h 1581"/>
                <a:gd name="T58" fmla="*/ 793 w 1547"/>
                <a:gd name="T59" fmla="*/ 0 h 1581"/>
                <a:gd name="T60" fmla="*/ 870 w 1547"/>
                <a:gd name="T61" fmla="*/ 7 h 1581"/>
                <a:gd name="T62" fmla="*/ 942 w 1547"/>
                <a:gd name="T63" fmla="*/ 27 h 1581"/>
                <a:gd name="T64" fmla="*/ 1008 w 1547"/>
                <a:gd name="T65" fmla="*/ 62 h 1581"/>
                <a:gd name="T66" fmla="*/ 1066 w 1547"/>
                <a:gd name="T67" fmla="*/ 108 h 1581"/>
                <a:gd name="T68" fmla="*/ 1114 w 1547"/>
                <a:gd name="T69" fmla="*/ 164 h 1581"/>
                <a:gd name="T70" fmla="*/ 1150 w 1547"/>
                <a:gd name="T71" fmla="*/ 229 h 1581"/>
                <a:gd name="T72" fmla="*/ 1174 w 1547"/>
                <a:gd name="T73" fmla="*/ 301 h 1581"/>
                <a:gd name="T74" fmla="*/ 1217 w 1547"/>
                <a:gd name="T75" fmla="*/ 888 h 1581"/>
                <a:gd name="T76" fmla="*/ 1244 w 1547"/>
                <a:gd name="T77" fmla="*/ 938 h 1581"/>
                <a:gd name="T78" fmla="*/ 1295 w 1547"/>
                <a:gd name="T79" fmla="*/ 990 h 1581"/>
                <a:gd name="T80" fmla="*/ 1360 w 1547"/>
                <a:gd name="T81" fmla="*/ 1026 h 1581"/>
                <a:gd name="T82" fmla="*/ 1434 w 1547"/>
                <a:gd name="T83" fmla="*/ 1039 h 1581"/>
                <a:gd name="T84" fmla="*/ 1502 w 1547"/>
                <a:gd name="T85" fmla="*/ 1030 h 1581"/>
                <a:gd name="T86" fmla="*/ 1542 w 1547"/>
                <a:gd name="T87" fmla="*/ 1033 h 1581"/>
                <a:gd name="T88" fmla="*/ 1512 w 1547"/>
                <a:gd name="T89" fmla="*/ 1106 h 1581"/>
                <a:gd name="T90" fmla="*/ 1459 w 1547"/>
                <a:gd name="T91" fmla="*/ 1165 h 1581"/>
                <a:gd name="T92" fmla="*/ 1389 w 1547"/>
                <a:gd name="T93" fmla="*/ 1203 h 1581"/>
                <a:gd name="T94" fmla="*/ 1327 w 1547"/>
                <a:gd name="T95" fmla="*/ 1215 h 1581"/>
                <a:gd name="T96" fmla="*/ 1239 w 1547"/>
                <a:gd name="T97" fmla="*/ 1204 h 1581"/>
                <a:gd name="T98" fmla="*/ 1246 w 1547"/>
                <a:gd name="T99" fmla="*/ 1381 h 1581"/>
                <a:gd name="T100" fmla="*/ 1223 w 1547"/>
                <a:gd name="T101" fmla="*/ 1448 h 1581"/>
                <a:gd name="T102" fmla="*/ 1176 w 1547"/>
                <a:gd name="T103" fmla="*/ 1502 h 1581"/>
                <a:gd name="T104" fmla="*/ 1113 w 1547"/>
                <a:gd name="T105" fmla="*/ 1534 h 1581"/>
                <a:gd name="T106" fmla="*/ 1060 w 1547"/>
                <a:gd name="T107" fmla="*/ 1541 h 1581"/>
                <a:gd name="T108" fmla="*/ 998 w 1547"/>
                <a:gd name="T109" fmla="*/ 1529 h 1581"/>
                <a:gd name="T110" fmla="*/ 946 w 1547"/>
                <a:gd name="T111" fmla="*/ 1499 h 1581"/>
                <a:gd name="T112" fmla="*/ 906 w 1547"/>
                <a:gd name="T113" fmla="*/ 1454 h 1581"/>
                <a:gd name="T114" fmla="*/ 887 w 1547"/>
                <a:gd name="T115" fmla="*/ 1413 h 1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47" h="1581">
                  <a:moveTo>
                    <a:pt x="887" y="1413"/>
                  </a:moveTo>
                  <a:lnTo>
                    <a:pt x="887" y="1413"/>
                  </a:lnTo>
                  <a:lnTo>
                    <a:pt x="871" y="1430"/>
                  </a:lnTo>
                  <a:lnTo>
                    <a:pt x="853" y="1447"/>
                  </a:lnTo>
                  <a:lnTo>
                    <a:pt x="835" y="1462"/>
                  </a:lnTo>
                  <a:lnTo>
                    <a:pt x="817" y="1478"/>
                  </a:lnTo>
                  <a:lnTo>
                    <a:pt x="797" y="1492"/>
                  </a:lnTo>
                  <a:lnTo>
                    <a:pt x="777" y="1505"/>
                  </a:lnTo>
                  <a:lnTo>
                    <a:pt x="756" y="1518"/>
                  </a:lnTo>
                  <a:lnTo>
                    <a:pt x="735" y="1528"/>
                  </a:lnTo>
                  <a:lnTo>
                    <a:pt x="712" y="1539"/>
                  </a:lnTo>
                  <a:lnTo>
                    <a:pt x="689" y="1548"/>
                  </a:lnTo>
                  <a:lnTo>
                    <a:pt x="667" y="1556"/>
                  </a:lnTo>
                  <a:lnTo>
                    <a:pt x="643" y="1563"/>
                  </a:lnTo>
                  <a:lnTo>
                    <a:pt x="618" y="1569"/>
                  </a:lnTo>
                  <a:lnTo>
                    <a:pt x="593" y="1574"/>
                  </a:lnTo>
                  <a:lnTo>
                    <a:pt x="568" y="1578"/>
                  </a:lnTo>
                  <a:lnTo>
                    <a:pt x="542" y="1580"/>
                  </a:lnTo>
                  <a:lnTo>
                    <a:pt x="542" y="1580"/>
                  </a:lnTo>
                  <a:lnTo>
                    <a:pt x="516" y="1581"/>
                  </a:lnTo>
                  <a:lnTo>
                    <a:pt x="490" y="1580"/>
                  </a:lnTo>
                  <a:lnTo>
                    <a:pt x="465" y="1579"/>
                  </a:lnTo>
                  <a:lnTo>
                    <a:pt x="440" y="1576"/>
                  </a:lnTo>
                  <a:lnTo>
                    <a:pt x="415" y="1573"/>
                  </a:lnTo>
                  <a:lnTo>
                    <a:pt x="390" y="1567"/>
                  </a:lnTo>
                  <a:lnTo>
                    <a:pt x="366" y="1561"/>
                  </a:lnTo>
                  <a:lnTo>
                    <a:pt x="343" y="1553"/>
                  </a:lnTo>
                  <a:lnTo>
                    <a:pt x="319" y="1545"/>
                  </a:lnTo>
                  <a:lnTo>
                    <a:pt x="296" y="1535"/>
                  </a:lnTo>
                  <a:lnTo>
                    <a:pt x="274" y="1524"/>
                  </a:lnTo>
                  <a:lnTo>
                    <a:pt x="253" y="1512"/>
                  </a:lnTo>
                  <a:lnTo>
                    <a:pt x="232" y="1499"/>
                  </a:lnTo>
                  <a:lnTo>
                    <a:pt x="212" y="1485"/>
                  </a:lnTo>
                  <a:lnTo>
                    <a:pt x="192" y="1470"/>
                  </a:lnTo>
                  <a:lnTo>
                    <a:pt x="174" y="1455"/>
                  </a:lnTo>
                  <a:lnTo>
                    <a:pt x="156" y="1439"/>
                  </a:lnTo>
                  <a:lnTo>
                    <a:pt x="138" y="1421"/>
                  </a:lnTo>
                  <a:lnTo>
                    <a:pt x="122" y="1403"/>
                  </a:lnTo>
                  <a:lnTo>
                    <a:pt x="107" y="1384"/>
                  </a:lnTo>
                  <a:lnTo>
                    <a:pt x="92" y="1364"/>
                  </a:lnTo>
                  <a:lnTo>
                    <a:pt x="78" y="1344"/>
                  </a:lnTo>
                  <a:lnTo>
                    <a:pt x="66" y="1322"/>
                  </a:lnTo>
                  <a:lnTo>
                    <a:pt x="54" y="1300"/>
                  </a:lnTo>
                  <a:lnTo>
                    <a:pt x="43" y="1278"/>
                  </a:lnTo>
                  <a:lnTo>
                    <a:pt x="34" y="1255"/>
                  </a:lnTo>
                  <a:lnTo>
                    <a:pt x="25" y="1231"/>
                  </a:lnTo>
                  <a:lnTo>
                    <a:pt x="19" y="1208"/>
                  </a:lnTo>
                  <a:lnTo>
                    <a:pt x="12" y="1183"/>
                  </a:lnTo>
                  <a:lnTo>
                    <a:pt x="8" y="1158"/>
                  </a:lnTo>
                  <a:lnTo>
                    <a:pt x="3" y="1132"/>
                  </a:lnTo>
                  <a:lnTo>
                    <a:pt x="1" y="1106"/>
                  </a:lnTo>
                  <a:lnTo>
                    <a:pt x="1" y="1106"/>
                  </a:lnTo>
                  <a:lnTo>
                    <a:pt x="0" y="1081"/>
                  </a:lnTo>
                  <a:lnTo>
                    <a:pt x="0" y="1056"/>
                  </a:lnTo>
                  <a:lnTo>
                    <a:pt x="1" y="1033"/>
                  </a:lnTo>
                  <a:lnTo>
                    <a:pt x="3" y="1009"/>
                  </a:lnTo>
                  <a:lnTo>
                    <a:pt x="8" y="985"/>
                  </a:lnTo>
                  <a:lnTo>
                    <a:pt x="12" y="962"/>
                  </a:lnTo>
                  <a:lnTo>
                    <a:pt x="17" y="940"/>
                  </a:lnTo>
                  <a:lnTo>
                    <a:pt x="24" y="917"/>
                  </a:lnTo>
                  <a:lnTo>
                    <a:pt x="31" y="894"/>
                  </a:lnTo>
                  <a:lnTo>
                    <a:pt x="40" y="874"/>
                  </a:lnTo>
                  <a:lnTo>
                    <a:pt x="50" y="852"/>
                  </a:lnTo>
                  <a:lnTo>
                    <a:pt x="61" y="832"/>
                  </a:lnTo>
                  <a:lnTo>
                    <a:pt x="71" y="811"/>
                  </a:lnTo>
                  <a:lnTo>
                    <a:pt x="84" y="792"/>
                  </a:lnTo>
                  <a:lnTo>
                    <a:pt x="97" y="773"/>
                  </a:lnTo>
                  <a:lnTo>
                    <a:pt x="110" y="755"/>
                  </a:lnTo>
                  <a:lnTo>
                    <a:pt x="125" y="738"/>
                  </a:lnTo>
                  <a:lnTo>
                    <a:pt x="141" y="720"/>
                  </a:lnTo>
                  <a:lnTo>
                    <a:pt x="157" y="704"/>
                  </a:lnTo>
                  <a:lnTo>
                    <a:pt x="174" y="689"/>
                  </a:lnTo>
                  <a:lnTo>
                    <a:pt x="191" y="674"/>
                  </a:lnTo>
                  <a:lnTo>
                    <a:pt x="210" y="660"/>
                  </a:lnTo>
                  <a:lnTo>
                    <a:pt x="229" y="647"/>
                  </a:lnTo>
                  <a:lnTo>
                    <a:pt x="249" y="635"/>
                  </a:lnTo>
                  <a:lnTo>
                    <a:pt x="269" y="623"/>
                  </a:lnTo>
                  <a:lnTo>
                    <a:pt x="290" y="612"/>
                  </a:lnTo>
                  <a:lnTo>
                    <a:pt x="311" y="603"/>
                  </a:lnTo>
                  <a:lnTo>
                    <a:pt x="333" y="594"/>
                  </a:lnTo>
                  <a:lnTo>
                    <a:pt x="355" y="587"/>
                  </a:lnTo>
                  <a:lnTo>
                    <a:pt x="378" y="580"/>
                  </a:lnTo>
                  <a:lnTo>
                    <a:pt x="401" y="575"/>
                  </a:lnTo>
                  <a:lnTo>
                    <a:pt x="425" y="570"/>
                  </a:lnTo>
                  <a:lnTo>
                    <a:pt x="414" y="411"/>
                  </a:lnTo>
                  <a:lnTo>
                    <a:pt x="414" y="411"/>
                  </a:lnTo>
                  <a:lnTo>
                    <a:pt x="414" y="390"/>
                  </a:lnTo>
                  <a:lnTo>
                    <a:pt x="414" y="371"/>
                  </a:lnTo>
                  <a:lnTo>
                    <a:pt x="415" y="351"/>
                  </a:lnTo>
                  <a:lnTo>
                    <a:pt x="417" y="333"/>
                  </a:lnTo>
                  <a:lnTo>
                    <a:pt x="420" y="313"/>
                  </a:lnTo>
                  <a:lnTo>
                    <a:pt x="424" y="295"/>
                  </a:lnTo>
                  <a:lnTo>
                    <a:pt x="429" y="277"/>
                  </a:lnTo>
                  <a:lnTo>
                    <a:pt x="434" y="258"/>
                  </a:lnTo>
                  <a:lnTo>
                    <a:pt x="441" y="241"/>
                  </a:lnTo>
                  <a:lnTo>
                    <a:pt x="448" y="224"/>
                  </a:lnTo>
                  <a:lnTo>
                    <a:pt x="457" y="207"/>
                  </a:lnTo>
                  <a:lnTo>
                    <a:pt x="466" y="191"/>
                  </a:lnTo>
                  <a:lnTo>
                    <a:pt x="475" y="175"/>
                  </a:lnTo>
                  <a:lnTo>
                    <a:pt x="486" y="160"/>
                  </a:lnTo>
                  <a:lnTo>
                    <a:pt x="497" y="145"/>
                  </a:lnTo>
                  <a:lnTo>
                    <a:pt x="509" y="131"/>
                  </a:lnTo>
                  <a:lnTo>
                    <a:pt x="522" y="118"/>
                  </a:lnTo>
                  <a:lnTo>
                    <a:pt x="535" y="105"/>
                  </a:lnTo>
                  <a:lnTo>
                    <a:pt x="548" y="92"/>
                  </a:lnTo>
                  <a:lnTo>
                    <a:pt x="563" y="80"/>
                  </a:lnTo>
                  <a:lnTo>
                    <a:pt x="578" y="69"/>
                  </a:lnTo>
                  <a:lnTo>
                    <a:pt x="593" y="60"/>
                  </a:lnTo>
                  <a:lnTo>
                    <a:pt x="609" y="50"/>
                  </a:lnTo>
                  <a:lnTo>
                    <a:pt x="625" y="41"/>
                  </a:lnTo>
                  <a:lnTo>
                    <a:pt x="643" y="33"/>
                  </a:lnTo>
                  <a:lnTo>
                    <a:pt x="660" y="26"/>
                  </a:lnTo>
                  <a:lnTo>
                    <a:pt x="677" y="20"/>
                  </a:lnTo>
                  <a:lnTo>
                    <a:pt x="696" y="13"/>
                  </a:lnTo>
                  <a:lnTo>
                    <a:pt x="715" y="9"/>
                  </a:lnTo>
                  <a:lnTo>
                    <a:pt x="733" y="6"/>
                  </a:lnTo>
                  <a:lnTo>
                    <a:pt x="753" y="2"/>
                  </a:lnTo>
                  <a:lnTo>
                    <a:pt x="773" y="1"/>
                  </a:lnTo>
                  <a:lnTo>
                    <a:pt x="773" y="1"/>
                  </a:lnTo>
                  <a:lnTo>
                    <a:pt x="793" y="0"/>
                  </a:lnTo>
                  <a:lnTo>
                    <a:pt x="812" y="0"/>
                  </a:lnTo>
                  <a:lnTo>
                    <a:pt x="832" y="1"/>
                  </a:lnTo>
                  <a:lnTo>
                    <a:pt x="851" y="3"/>
                  </a:lnTo>
                  <a:lnTo>
                    <a:pt x="870" y="7"/>
                  </a:lnTo>
                  <a:lnTo>
                    <a:pt x="888" y="11"/>
                  </a:lnTo>
                  <a:lnTo>
                    <a:pt x="906" y="15"/>
                  </a:lnTo>
                  <a:lnTo>
                    <a:pt x="925" y="21"/>
                  </a:lnTo>
                  <a:lnTo>
                    <a:pt x="942" y="27"/>
                  </a:lnTo>
                  <a:lnTo>
                    <a:pt x="959" y="35"/>
                  </a:lnTo>
                  <a:lnTo>
                    <a:pt x="975" y="43"/>
                  </a:lnTo>
                  <a:lnTo>
                    <a:pt x="992" y="52"/>
                  </a:lnTo>
                  <a:lnTo>
                    <a:pt x="1008" y="62"/>
                  </a:lnTo>
                  <a:lnTo>
                    <a:pt x="1023" y="72"/>
                  </a:lnTo>
                  <a:lnTo>
                    <a:pt x="1038" y="83"/>
                  </a:lnTo>
                  <a:lnTo>
                    <a:pt x="1052" y="95"/>
                  </a:lnTo>
                  <a:lnTo>
                    <a:pt x="1066" y="108"/>
                  </a:lnTo>
                  <a:lnTo>
                    <a:pt x="1079" y="121"/>
                  </a:lnTo>
                  <a:lnTo>
                    <a:pt x="1091" y="135"/>
                  </a:lnTo>
                  <a:lnTo>
                    <a:pt x="1103" y="149"/>
                  </a:lnTo>
                  <a:lnTo>
                    <a:pt x="1114" y="164"/>
                  </a:lnTo>
                  <a:lnTo>
                    <a:pt x="1124" y="179"/>
                  </a:lnTo>
                  <a:lnTo>
                    <a:pt x="1134" y="196"/>
                  </a:lnTo>
                  <a:lnTo>
                    <a:pt x="1143" y="212"/>
                  </a:lnTo>
                  <a:lnTo>
                    <a:pt x="1150" y="229"/>
                  </a:lnTo>
                  <a:lnTo>
                    <a:pt x="1158" y="246"/>
                  </a:lnTo>
                  <a:lnTo>
                    <a:pt x="1164" y="265"/>
                  </a:lnTo>
                  <a:lnTo>
                    <a:pt x="1170" y="283"/>
                  </a:lnTo>
                  <a:lnTo>
                    <a:pt x="1174" y="301"/>
                  </a:lnTo>
                  <a:lnTo>
                    <a:pt x="1178" y="320"/>
                  </a:lnTo>
                  <a:lnTo>
                    <a:pt x="1181" y="339"/>
                  </a:lnTo>
                  <a:lnTo>
                    <a:pt x="1183" y="360"/>
                  </a:lnTo>
                  <a:lnTo>
                    <a:pt x="1217" y="888"/>
                  </a:lnTo>
                  <a:lnTo>
                    <a:pt x="1217" y="888"/>
                  </a:lnTo>
                  <a:lnTo>
                    <a:pt x="1225" y="905"/>
                  </a:lnTo>
                  <a:lnTo>
                    <a:pt x="1234" y="922"/>
                  </a:lnTo>
                  <a:lnTo>
                    <a:pt x="1244" y="938"/>
                  </a:lnTo>
                  <a:lnTo>
                    <a:pt x="1255" y="953"/>
                  </a:lnTo>
                  <a:lnTo>
                    <a:pt x="1267" y="966"/>
                  </a:lnTo>
                  <a:lnTo>
                    <a:pt x="1281" y="979"/>
                  </a:lnTo>
                  <a:lnTo>
                    <a:pt x="1295" y="990"/>
                  </a:lnTo>
                  <a:lnTo>
                    <a:pt x="1310" y="1001"/>
                  </a:lnTo>
                  <a:lnTo>
                    <a:pt x="1325" y="1011"/>
                  </a:lnTo>
                  <a:lnTo>
                    <a:pt x="1343" y="1019"/>
                  </a:lnTo>
                  <a:lnTo>
                    <a:pt x="1360" y="1026"/>
                  </a:lnTo>
                  <a:lnTo>
                    <a:pt x="1377" y="1032"/>
                  </a:lnTo>
                  <a:lnTo>
                    <a:pt x="1397" y="1035"/>
                  </a:lnTo>
                  <a:lnTo>
                    <a:pt x="1415" y="1038"/>
                  </a:lnTo>
                  <a:lnTo>
                    <a:pt x="1434" y="1039"/>
                  </a:lnTo>
                  <a:lnTo>
                    <a:pt x="1454" y="1038"/>
                  </a:lnTo>
                  <a:lnTo>
                    <a:pt x="1454" y="1038"/>
                  </a:lnTo>
                  <a:lnTo>
                    <a:pt x="1479" y="1036"/>
                  </a:lnTo>
                  <a:lnTo>
                    <a:pt x="1502" y="1030"/>
                  </a:lnTo>
                  <a:lnTo>
                    <a:pt x="1525" y="1023"/>
                  </a:lnTo>
                  <a:lnTo>
                    <a:pt x="1547" y="1013"/>
                  </a:lnTo>
                  <a:lnTo>
                    <a:pt x="1547" y="1013"/>
                  </a:lnTo>
                  <a:lnTo>
                    <a:pt x="1542" y="1033"/>
                  </a:lnTo>
                  <a:lnTo>
                    <a:pt x="1537" y="1052"/>
                  </a:lnTo>
                  <a:lnTo>
                    <a:pt x="1531" y="1071"/>
                  </a:lnTo>
                  <a:lnTo>
                    <a:pt x="1522" y="1090"/>
                  </a:lnTo>
                  <a:lnTo>
                    <a:pt x="1512" y="1106"/>
                  </a:lnTo>
                  <a:lnTo>
                    <a:pt x="1500" y="1122"/>
                  </a:lnTo>
                  <a:lnTo>
                    <a:pt x="1487" y="1138"/>
                  </a:lnTo>
                  <a:lnTo>
                    <a:pt x="1473" y="1152"/>
                  </a:lnTo>
                  <a:lnTo>
                    <a:pt x="1459" y="1165"/>
                  </a:lnTo>
                  <a:lnTo>
                    <a:pt x="1443" y="1176"/>
                  </a:lnTo>
                  <a:lnTo>
                    <a:pt x="1426" y="1187"/>
                  </a:lnTo>
                  <a:lnTo>
                    <a:pt x="1407" y="1196"/>
                  </a:lnTo>
                  <a:lnTo>
                    <a:pt x="1389" y="1203"/>
                  </a:lnTo>
                  <a:lnTo>
                    <a:pt x="1369" y="1209"/>
                  </a:lnTo>
                  <a:lnTo>
                    <a:pt x="1348" y="1213"/>
                  </a:lnTo>
                  <a:lnTo>
                    <a:pt x="1327" y="1215"/>
                  </a:lnTo>
                  <a:lnTo>
                    <a:pt x="1327" y="1215"/>
                  </a:lnTo>
                  <a:lnTo>
                    <a:pt x="1305" y="1216"/>
                  </a:lnTo>
                  <a:lnTo>
                    <a:pt x="1282" y="1214"/>
                  </a:lnTo>
                  <a:lnTo>
                    <a:pt x="1259" y="1210"/>
                  </a:lnTo>
                  <a:lnTo>
                    <a:pt x="1239" y="1204"/>
                  </a:lnTo>
                  <a:lnTo>
                    <a:pt x="1248" y="1344"/>
                  </a:lnTo>
                  <a:lnTo>
                    <a:pt x="1248" y="1344"/>
                  </a:lnTo>
                  <a:lnTo>
                    <a:pt x="1248" y="1362"/>
                  </a:lnTo>
                  <a:lnTo>
                    <a:pt x="1246" y="1381"/>
                  </a:lnTo>
                  <a:lnTo>
                    <a:pt x="1243" y="1399"/>
                  </a:lnTo>
                  <a:lnTo>
                    <a:pt x="1238" y="1416"/>
                  </a:lnTo>
                  <a:lnTo>
                    <a:pt x="1231" y="1433"/>
                  </a:lnTo>
                  <a:lnTo>
                    <a:pt x="1223" y="1448"/>
                  </a:lnTo>
                  <a:lnTo>
                    <a:pt x="1213" y="1464"/>
                  </a:lnTo>
                  <a:lnTo>
                    <a:pt x="1202" y="1478"/>
                  </a:lnTo>
                  <a:lnTo>
                    <a:pt x="1190" y="1491"/>
                  </a:lnTo>
                  <a:lnTo>
                    <a:pt x="1176" y="1502"/>
                  </a:lnTo>
                  <a:lnTo>
                    <a:pt x="1162" y="1512"/>
                  </a:lnTo>
                  <a:lnTo>
                    <a:pt x="1146" y="1521"/>
                  </a:lnTo>
                  <a:lnTo>
                    <a:pt x="1130" y="1528"/>
                  </a:lnTo>
                  <a:lnTo>
                    <a:pt x="1113" y="1534"/>
                  </a:lnTo>
                  <a:lnTo>
                    <a:pt x="1094" y="1538"/>
                  </a:lnTo>
                  <a:lnTo>
                    <a:pt x="1075" y="1540"/>
                  </a:lnTo>
                  <a:lnTo>
                    <a:pt x="1075" y="1540"/>
                  </a:lnTo>
                  <a:lnTo>
                    <a:pt x="1060" y="1541"/>
                  </a:lnTo>
                  <a:lnTo>
                    <a:pt x="1043" y="1540"/>
                  </a:lnTo>
                  <a:lnTo>
                    <a:pt x="1028" y="1538"/>
                  </a:lnTo>
                  <a:lnTo>
                    <a:pt x="1013" y="1534"/>
                  </a:lnTo>
                  <a:lnTo>
                    <a:pt x="998" y="1529"/>
                  </a:lnTo>
                  <a:lnTo>
                    <a:pt x="984" y="1523"/>
                  </a:lnTo>
                  <a:lnTo>
                    <a:pt x="971" y="1516"/>
                  </a:lnTo>
                  <a:lnTo>
                    <a:pt x="958" y="1508"/>
                  </a:lnTo>
                  <a:lnTo>
                    <a:pt x="946" y="1499"/>
                  </a:lnTo>
                  <a:lnTo>
                    <a:pt x="934" y="1489"/>
                  </a:lnTo>
                  <a:lnTo>
                    <a:pt x="925" y="1479"/>
                  </a:lnTo>
                  <a:lnTo>
                    <a:pt x="915" y="1467"/>
                  </a:lnTo>
                  <a:lnTo>
                    <a:pt x="906" y="1454"/>
                  </a:lnTo>
                  <a:lnTo>
                    <a:pt x="899" y="1441"/>
                  </a:lnTo>
                  <a:lnTo>
                    <a:pt x="892" y="1427"/>
                  </a:lnTo>
                  <a:lnTo>
                    <a:pt x="887" y="1413"/>
                  </a:lnTo>
                  <a:lnTo>
                    <a:pt x="887" y="1413"/>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82" name="Freeform 581"/>
            <p:cNvSpPr>
              <a:spLocks/>
            </p:cNvSpPr>
            <p:nvPr/>
          </p:nvSpPr>
          <p:spPr bwMode="auto">
            <a:xfrm>
              <a:off x="7026825" y="2547606"/>
              <a:ext cx="319024" cy="322615"/>
            </a:xfrm>
            <a:custGeom>
              <a:avLst/>
              <a:gdLst>
                <a:gd name="T0" fmla="*/ 892 w 1289"/>
                <a:gd name="T1" fmla="*/ 71 h 1327"/>
                <a:gd name="T2" fmla="*/ 808 w 1289"/>
                <a:gd name="T3" fmla="*/ 73 h 1327"/>
                <a:gd name="T4" fmla="*/ 728 w 1289"/>
                <a:gd name="T5" fmla="*/ 92 h 1327"/>
                <a:gd name="T6" fmla="*/ 654 w 1289"/>
                <a:gd name="T7" fmla="*/ 124 h 1327"/>
                <a:gd name="T8" fmla="*/ 618 w 1289"/>
                <a:gd name="T9" fmla="*/ 132 h 1327"/>
                <a:gd name="T10" fmla="*/ 602 w 1289"/>
                <a:gd name="T11" fmla="*/ 83 h 1327"/>
                <a:gd name="T12" fmla="*/ 572 w 1289"/>
                <a:gd name="T13" fmla="*/ 43 h 1327"/>
                <a:gd name="T14" fmla="*/ 530 w 1289"/>
                <a:gd name="T15" fmla="*/ 15 h 1327"/>
                <a:gd name="T16" fmla="*/ 492 w 1289"/>
                <a:gd name="T17" fmla="*/ 3 h 1327"/>
                <a:gd name="T18" fmla="*/ 429 w 1289"/>
                <a:gd name="T19" fmla="*/ 4 h 1327"/>
                <a:gd name="T20" fmla="*/ 375 w 1289"/>
                <a:gd name="T21" fmla="*/ 29 h 1327"/>
                <a:gd name="T22" fmla="*/ 333 w 1289"/>
                <a:gd name="T23" fmla="*/ 71 h 1327"/>
                <a:gd name="T24" fmla="*/ 311 w 1289"/>
                <a:gd name="T25" fmla="*/ 130 h 1327"/>
                <a:gd name="T26" fmla="*/ 257 w 1289"/>
                <a:gd name="T27" fmla="*/ 228 h 1327"/>
                <a:gd name="T28" fmla="*/ 202 w 1289"/>
                <a:gd name="T29" fmla="*/ 216 h 1327"/>
                <a:gd name="T30" fmla="*/ 134 w 1289"/>
                <a:gd name="T31" fmla="*/ 221 h 1327"/>
                <a:gd name="T32" fmla="*/ 74 w 1289"/>
                <a:gd name="T33" fmla="*/ 249 h 1327"/>
                <a:gd name="T34" fmla="*/ 25 w 1289"/>
                <a:gd name="T35" fmla="*/ 295 h 1327"/>
                <a:gd name="T36" fmla="*/ 0 w 1289"/>
                <a:gd name="T37" fmla="*/ 340 h 1327"/>
                <a:gd name="T38" fmla="*/ 81 w 1289"/>
                <a:gd name="T39" fmla="*/ 337 h 1327"/>
                <a:gd name="T40" fmla="*/ 128 w 1289"/>
                <a:gd name="T41" fmla="*/ 352 h 1327"/>
                <a:gd name="T42" fmla="*/ 181 w 1289"/>
                <a:gd name="T43" fmla="*/ 386 h 1327"/>
                <a:gd name="T44" fmla="*/ 220 w 1289"/>
                <a:gd name="T45" fmla="*/ 434 h 1327"/>
                <a:gd name="T46" fmla="*/ 241 w 1289"/>
                <a:gd name="T47" fmla="*/ 492 h 1327"/>
                <a:gd name="T48" fmla="*/ 164 w 1289"/>
                <a:gd name="T49" fmla="*/ 963 h 1327"/>
                <a:gd name="T50" fmla="*/ 163 w 1289"/>
                <a:gd name="T51" fmla="*/ 1028 h 1327"/>
                <a:gd name="T52" fmla="*/ 174 w 1289"/>
                <a:gd name="T53" fmla="*/ 1091 h 1327"/>
                <a:gd name="T54" fmla="*/ 197 w 1289"/>
                <a:gd name="T55" fmla="*/ 1149 h 1327"/>
                <a:gd name="T56" fmla="*/ 230 w 1289"/>
                <a:gd name="T57" fmla="*/ 1202 h 1327"/>
                <a:gd name="T58" fmla="*/ 272 w 1289"/>
                <a:gd name="T59" fmla="*/ 1247 h 1327"/>
                <a:gd name="T60" fmla="*/ 324 w 1289"/>
                <a:gd name="T61" fmla="*/ 1284 h 1327"/>
                <a:gd name="T62" fmla="*/ 383 w 1289"/>
                <a:gd name="T63" fmla="*/ 1310 h 1327"/>
                <a:gd name="T64" fmla="*/ 430 w 1289"/>
                <a:gd name="T65" fmla="*/ 1322 h 1327"/>
                <a:gd name="T66" fmla="*/ 496 w 1289"/>
                <a:gd name="T67" fmla="*/ 1327 h 1327"/>
                <a:gd name="T68" fmla="*/ 559 w 1289"/>
                <a:gd name="T69" fmla="*/ 1319 h 1327"/>
                <a:gd name="T70" fmla="*/ 618 w 1289"/>
                <a:gd name="T71" fmla="*/ 1299 h 1327"/>
                <a:gd name="T72" fmla="*/ 672 w 1289"/>
                <a:gd name="T73" fmla="*/ 1268 h 1327"/>
                <a:gd name="T74" fmla="*/ 720 w 1289"/>
                <a:gd name="T75" fmla="*/ 1228 h 1327"/>
                <a:gd name="T76" fmla="*/ 758 w 1289"/>
                <a:gd name="T77" fmla="*/ 1179 h 1327"/>
                <a:gd name="T78" fmla="*/ 788 w 1289"/>
                <a:gd name="T79" fmla="*/ 1122 h 1327"/>
                <a:gd name="T80" fmla="*/ 806 w 1289"/>
                <a:gd name="T81" fmla="*/ 1059 h 1327"/>
                <a:gd name="T82" fmla="*/ 870 w 1289"/>
                <a:gd name="T83" fmla="*/ 928 h 1327"/>
                <a:gd name="T84" fmla="*/ 949 w 1289"/>
                <a:gd name="T85" fmla="*/ 918 h 1327"/>
                <a:gd name="T86" fmla="*/ 1023 w 1289"/>
                <a:gd name="T87" fmla="*/ 895 h 1327"/>
                <a:gd name="T88" fmla="*/ 1091 w 1289"/>
                <a:gd name="T89" fmla="*/ 860 h 1327"/>
                <a:gd name="T90" fmla="*/ 1153 w 1289"/>
                <a:gd name="T91" fmla="*/ 813 h 1327"/>
                <a:gd name="T92" fmla="*/ 1205 w 1289"/>
                <a:gd name="T93" fmla="*/ 755 h 1327"/>
                <a:gd name="T94" fmla="*/ 1244 w 1289"/>
                <a:gd name="T95" fmla="*/ 688 h 1327"/>
                <a:gd name="T96" fmla="*/ 1274 w 1289"/>
                <a:gd name="T97" fmla="*/ 613 h 1327"/>
                <a:gd name="T98" fmla="*/ 1286 w 1289"/>
                <a:gd name="T99" fmla="*/ 552 h 1327"/>
                <a:gd name="T100" fmla="*/ 1288 w 1289"/>
                <a:gd name="T101" fmla="*/ 465 h 1327"/>
                <a:gd name="T102" fmla="*/ 1273 w 1289"/>
                <a:gd name="T103" fmla="*/ 383 h 1327"/>
                <a:gd name="T104" fmla="*/ 1243 w 1289"/>
                <a:gd name="T105" fmla="*/ 306 h 1327"/>
                <a:gd name="T106" fmla="*/ 1199 w 1289"/>
                <a:gd name="T107" fmla="*/ 236 h 1327"/>
                <a:gd name="T108" fmla="*/ 1143 w 1289"/>
                <a:gd name="T109" fmla="*/ 177 h 1327"/>
                <a:gd name="T110" fmla="*/ 1075 w 1289"/>
                <a:gd name="T111" fmla="*/ 128 h 1327"/>
                <a:gd name="T112" fmla="*/ 998 w 1289"/>
                <a:gd name="T113" fmla="*/ 93 h 1327"/>
                <a:gd name="T114" fmla="*/ 935 w 1289"/>
                <a:gd name="T115" fmla="*/ 77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89" h="1327">
                  <a:moveTo>
                    <a:pt x="935" y="77"/>
                  </a:moveTo>
                  <a:lnTo>
                    <a:pt x="935" y="77"/>
                  </a:lnTo>
                  <a:lnTo>
                    <a:pt x="913" y="73"/>
                  </a:lnTo>
                  <a:lnTo>
                    <a:pt x="892" y="71"/>
                  </a:lnTo>
                  <a:lnTo>
                    <a:pt x="871" y="70"/>
                  </a:lnTo>
                  <a:lnTo>
                    <a:pt x="850" y="70"/>
                  </a:lnTo>
                  <a:lnTo>
                    <a:pt x="829" y="71"/>
                  </a:lnTo>
                  <a:lnTo>
                    <a:pt x="808" y="73"/>
                  </a:lnTo>
                  <a:lnTo>
                    <a:pt x="788" y="77"/>
                  </a:lnTo>
                  <a:lnTo>
                    <a:pt x="768" y="81"/>
                  </a:lnTo>
                  <a:lnTo>
                    <a:pt x="748" y="85"/>
                  </a:lnTo>
                  <a:lnTo>
                    <a:pt x="728" y="92"/>
                  </a:lnTo>
                  <a:lnTo>
                    <a:pt x="709" y="98"/>
                  </a:lnTo>
                  <a:lnTo>
                    <a:pt x="690" y="106"/>
                  </a:lnTo>
                  <a:lnTo>
                    <a:pt x="672" y="114"/>
                  </a:lnTo>
                  <a:lnTo>
                    <a:pt x="654" y="124"/>
                  </a:lnTo>
                  <a:lnTo>
                    <a:pt x="636" y="134"/>
                  </a:lnTo>
                  <a:lnTo>
                    <a:pt x="620" y="145"/>
                  </a:lnTo>
                  <a:lnTo>
                    <a:pt x="620" y="145"/>
                  </a:lnTo>
                  <a:lnTo>
                    <a:pt x="618" y="132"/>
                  </a:lnTo>
                  <a:lnTo>
                    <a:pt x="616" y="119"/>
                  </a:lnTo>
                  <a:lnTo>
                    <a:pt x="613" y="107"/>
                  </a:lnTo>
                  <a:lnTo>
                    <a:pt x="607" y="95"/>
                  </a:lnTo>
                  <a:lnTo>
                    <a:pt x="602" y="83"/>
                  </a:lnTo>
                  <a:lnTo>
                    <a:pt x="595" y="72"/>
                  </a:lnTo>
                  <a:lnTo>
                    <a:pt x="589" y="63"/>
                  </a:lnTo>
                  <a:lnTo>
                    <a:pt x="580" y="53"/>
                  </a:lnTo>
                  <a:lnTo>
                    <a:pt x="572" y="43"/>
                  </a:lnTo>
                  <a:lnTo>
                    <a:pt x="562" y="35"/>
                  </a:lnTo>
                  <a:lnTo>
                    <a:pt x="552" y="27"/>
                  </a:lnTo>
                  <a:lnTo>
                    <a:pt x="541" y="20"/>
                  </a:lnTo>
                  <a:lnTo>
                    <a:pt x="530" y="15"/>
                  </a:lnTo>
                  <a:lnTo>
                    <a:pt x="518" y="10"/>
                  </a:lnTo>
                  <a:lnTo>
                    <a:pt x="505" y="5"/>
                  </a:lnTo>
                  <a:lnTo>
                    <a:pt x="492" y="3"/>
                  </a:lnTo>
                  <a:lnTo>
                    <a:pt x="492" y="3"/>
                  </a:lnTo>
                  <a:lnTo>
                    <a:pt x="476" y="1"/>
                  </a:lnTo>
                  <a:lnTo>
                    <a:pt x="459" y="0"/>
                  </a:lnTo>
                  <a:lnTo>
                    <a:pt x="444" y="2"/>
                  </a:lnTo>
                  <a:lnTo>
                    <a:pt x="429" y="4"/>
                  </a:lnTo>
                  <a:lnTo>
                    <a:pt x="415" y="9"/>
                  </a:lnTo>
                  <a:lnTo>
                    <a:pt x="401" y="14"/>
                  </a:lnTo>
                  <a:lnTo>
                    <a:pt x="388" y="20"/>
                  </a:lnTo>
                  <a:lnTo>
                    <a:pt x="375" y="29"/>
                  </a:lnTo>
                  <a:lnTo>
                    <a:pt x="363" y="38"/>
                  </a:lnTo>
                  <a:lnTo>
                    <a:pt x="352" y="49"/>
                  </a:lnTo>
                  <a:lnTo>
                    <a:pt x="343" y="59"/>
                  </a:lnTo>
                  <a:lnTo>
                    <a:pt x="333" y="71"/>
                  </a:lnTo>
                  <a:lnTo>
                    <a:pt x="325" y="85"/>
                  </a:lnTo>
                  <a:lnTo>
                    <a:pt x="319" y="99"/>
                  </a:lnTo>
                  <a:lnTo>
                    <a:pt x="315" y="113"/>
                  </a:lnTo>
                  <a:lnTo>
                    <a:pt x="311" y="130"/>
                  </a:lnTo>
                  <a:lnTo>
                    <a:pt x="291" y="245"/>
                  </a:lnTo>
                  <a:lnTo>
                    <a:pt x="291" y="245"/>
                  </a:lnTo>
                  <a:lnTo>
                    <a:pt x="275" y="235"/>
                  </a:lnTo>
                  <a:lnTo>
                    <a:pt x="257" y="228"/>
                  </a:lnTo>
                  <a:lnTo>
                    <a:pt x="239" y="222"/>
                  </a:lnTo>
                  <a:lnTo>
                    <a:pt x="220" y="218"/>
                  </a:lnTo>
                  <a:lnTo>
                    <a:pt x="220" y="218"/>
                  </a:lnTo>
                  <a:lnTo>
                    <a:pt x="202" y="216"/>
                  </a:lnTo>
                  <a:lnTo>
                    <a:pt x="185" y="215"/>
                  </a:lnTo>
                  <a:lnTo>
                    <a:pt x="168" y="216"/>
                  </a:lnTo>
                  <a:lnTo>
                    <a:pt x="150" y="218"/>
                  </a:lnTo>
                  <a:lnTo>
                    <a:pt x="134" y="221"/>
                  </a:lnTo>
                  <a:lnTo>
                    <a:pt x="118" y="227"/>
                  </a:lnTo>
                  <a:lnTo>
                    <a:pt x="103" y="233"/>
                  </a:lnTo>
                  <a:lnTo>
                    <a:pt x="88" y="241"/>
                  </a:lnTo>
                  <a:lnTo>
                    <a:pt x="74" y="249"/>
                  </a:lnTo>
                  <a:lnTo>
                    <a:pt x="60" y="259"/>
                  </a:lnTo>
                  <a:lnTo>
                    <a:pt x="48" y="270"/>
                  </a:lnTo>
                  <a:lnTo>
                    <a:pt x="36" y="282"/>
                  </a:lnTo>
                  <a:lnTo>
                    <a:pt x="25" y="295"/>
                  </a:lnTo>
                  <a:lnTo>
                    <a:pt x="15" y="309"/>
                  </a:lnTo>
                  <a:lnTo>
                    <a:pt x="8" y="324"/>
                  </a:lnTo>
                  <a:lnTo>
                    <a:pt x="0" y="340"/>
                  </a:lnTo>
                  <a:lnTo>
                    <a:pt x="0" y="340"/>
                  </a:lnTo>
                  <a:lnTo>
                    <a:pt x="20" y="336"/>
                  </a:lnTo>
                  <a:lnTo>
                    <a:pt x="40" y="335"/>
                  </a:lnTo>
                  <a:lnTo>
                    <a:pt x="61" y="335"/>
                  </a:lnTo>
                  <a:lnTo>
                    <a:pt x="81" y="337"/>
                  </a:lnTo>
                  <a:lnTo>
                    <a:pt x="81" y="337"/>
                  </a:lnTo>
                  <a:lnTo>
                    <a:pt x="98" y="341"/>
                  </a:lnTo>
                  <a:lnTo>
                    <a:pt x="113" y="346"/>
                  </a:lnTo>
                  <a:lnTo>
                    <a:pt x="128" y="352"/>
                  </a:lnTo>
                  <a:lnTo>
                    <a:pt x="142" y="359"/>
                  </a:lnTo>
                  <a:lnTo>
                    <a:pt x="156" y="367"/>
                  </a:lnTo>
                  <a:lnTo>
                    <a:pt x="169" y="376"/>
                  </a:lnTo>
                  <a:lnTo>
                    <a:pt x="181" y="386"/>
                  </a:lnTo>
                  <a:lnTo>
                    <a:pt x="191" y="396"/>
                  </a:lnTo>
                  <a:lnTo>
                    <a:pt x="201" y="408"/>
                  </a:lnTo>
                  <a:lnTo>
                    <a:pt x="211" y="421"/>
                  </a:lnTo>
                  <a:lnTo>
                    <a:pt x="220" y="434"/>
                  </a:lnTo>
                  <a:lnTo>
                    <a:pt x="226" y="448"/>
                  </a:lnTo>
                  <a:lnTo>
                    <a:pt x="233" y="462"/>
                  </a:lnTo>
                  <a:lnTo>
                    <a:pt x="238" y="476"/>
                  </a:lnTo>
                  <a:lnTo>
                    <a:pt x="241" y="492"/>
                  </a:lnTo>
                  <a:lnTo>
                    <a:pt x="244" y="508"/>
                  </a:lnTo>
                  <a:lnTo>
                    <a:pt x="168" y="947"/>
                  </a:lnTo>
                  <a:lnTo>
                    <a:pt x="168" y="947"/>
                  </a:lnTo>
                  <a:lnTo>
                    <a:pt x="164" y="963"/>
                  </a:lnTo>
                  <a:lnTo>
                    <a:pt x="163" y="980"/>
                  </a:lnTo>
                  <a:lnTo>
                    <a:pt x="162" y="996"/>
                  </a:lnTo>
                  <a:lnTo>
                    <a:pt x="162" y="1012"/>
                  </a:lnTo>
                  <a:lnTo>
                    <a:pt x="163" y="1028"/>
                  </a:lnTo>
                  <a:lnTo>
                    <a:pt x="164" y="1044"/>
                  </a:lnTo>
                  <a:lnTo>
                    <a:pt x="168" y="1061"/>
                  </a:lnTo>
                  <a:lnTo>
                    <a:pt x="171" y="1076"/>
                  </a:lnTo>
                  <a:lnTo>
                    <a:pt x="174" y="1091"/>
                  </a:lnTo>
                  <a:lnTo>
                    <a:pt x="179" y="1106"/>
                  </a:lnTo>
                  <a:lnTo>
                    <a:pt x="184" y="1121"/>
                  </a:lnTo>
                  <a:lnTo>
                    <a:pt x="190" y="1135"/>
                  </a:lnTo>
                  <a:lnTo>
                    <a:pt x="197" y="1149"/>
                  </a:lnTo>
                  <a:lnTo>
                    <a:pt x="204" y="1163"/>
                  </a:lnTo>
                  <a:lnTo>
                    <a:pt x="212" y="1176"/>
                  </a:lnTo>
                  <a:lnTo>
                    <a:pt x="221" y="1189"/>
                  </a:lnTo>
                  <a:lnTo>
                    <a:pt x="230" y="1202"/>
                  </a:lnTo>
                  <a:lnTo>
                    <a:pt x="240" y="1214"/>
                  </a:lnTo>
                  <a:lnTo>
                    <a:pt x="251" y="1226"/>
                  </a:lnTo>
                  <a:lnTo>
                    <a:pt x="262" y="1237"/>
                  </a:lnTo>
                  <a:lnTo>
                    <a:pt x="272" y="1247"/>
                  </a:lnTo>
                  <a:lnTo>
                    <a:pt x="285" y="1257"/>
                  </a:lnTo>
                  <a:lnTo>
                    <a:pt x="297" y="1267"/>
                  </a:lnTo>
                  <a:lnTo>
                    <a:pt x="310" y="1275"/>
                  </a:lnTo>
                  <a:lnTo>
                    <a:pt x="324" y="1284"/>
                  </a:lnTo>
                  <a:lnTo>
                    <a:pt x="338" y="1292"/>
                  </a:lnTo>
                  <a:lnTo>
                    <a:pt x="352" y="1298"/>
                  </a:lnTo>
                  <a:lnTo>
                    <a:pt x="368" y="1305"/>
                  </a:lnTo>
                  <a:lnTo>
                    <a:pt x="383" y="1310"/>
                  </a:lnTo>
                  <a:lnTo>
                    <a:pt x="398" y="1314"/>
                  </a:lnTo>
                  <a:lnTo>
                    <a:pt x="414" y="1319"/>
                  </a:lnTo>
                  <a:lnTo>
                    <a:pt x="430" y="1322"/>
                  </a:lnTo>
                  <a:lnTo>
                    <a:pt x="430" y="1322"/>
                  </a:lnTo>
                  <a:lnTo>
                    <a:pt x="446" y="1325"/>
                  </a:lnTo>
                  <a:lnTo>
                    <a:pt x="464" y="1326"/>
                  </a:lnTo>
                  <a:lnTo>
                    <a:pt x="480" y="1327"/>
                  </a:lnTo>
                  <a:lnTo>
                    <a:pt x="496" y="1327"/>
                  </a:lnTo>
                  <a:lnTo>
                    <a:pt x="512" y="1326"/>
                  </a:lnTo>
                  <a:lnTo>
                    <a:pt x="527" y="1324"/>
                  </a:lnTo>
                  <a:lnTo>
                    <a:pt x="544" y="1322"/>
                  </a:lnTo>
                  <a:lnTo>
                    <a:pt x="559" y="1319"/>
                  </a:lnTo>
                  <a:lnTo>
                    <a:pt x="574" y="1315"/>
                  </a:lnTo>
                  <a:lnTo>
                    <a:pt x="589" y="1310"/>
                  </a:lnTo>
                  <a:lnTo>
                    <a:pt x="604" y="1305"/>
                  </a:lnTo>
                  <a:lnTo>
                    <a:pt x="618" y="1299"/>
                  </a:lnTo>
                  <a:lnTo>
                    <a:pt x="632" y="1293"/>
                  </a:lnTo>
                  <a:lnTo>
                    <a:pt x="646" y="1285"/>
                  </a:lnTo>
                  <a:lnTo>
                    <a:pt x="659" y="1277"/>
                  </a:lnTo>
                  <a:lnTo>
                    <a:pt x="672" y="1268"/>
                  </a:lnTo>
                  <a:lnTo>
                    <a:pt x="685" y="1259"/>
                  </a:lnTo>
                  <a:lnTo>
                    <a:pt x="697" y="1250"/>
                  </a:lnTo>
                  <a:lnTo>
                    <a:pt x="709" y="1239"/>
                  </a:lnTo>
                  <a:lnTo>
                    <a:pt x="720" y="1228"/>
                  </a:lnTo>
                  <a:lnTo>
                    <a:pt x="730" y="1216"/>
                  </a:lnTo>
                  <a:lnTo>
                    <a:pt x="740" y="1204"/>
                  </a:lnTo>
                  <a:lnTo>
                    <a:pt x="750" y="1192"/>
                  </a:lnTo>
                  <a:lnTo>
                    <a:pt x="758" y="1179"/>
                  </a:lnTo>
                  <a:lnTo>
                    <a:pt x="767" y="1165"/>
                  </a:lnTo>
                  <a:lnTo>
                    <a:pt x="775" y="1151"/>
                  </a:lnTo>
                  <a:lnTo>
                    <a:pt x="781" y="1137"/>
                  </a:lnTo>
                  <a:lnTo>
                    <a:pt x="788" y="1122"/>
                  </a:lnTo>
                  <a:lnTo>
                    <a:pt x="793" y="1107"/>
                  </a:lnTo>
                  <a:lnTo>
                    <a:pt x="798" y="1092"/>
                  </a:lnTo>
                  <a:lnTo>
                    <a:pt x="803" y="1076"/>
                  </a:lnTo>
                  <a:lnTo>
                    <a:pt x="806" y="1059"/>
                  </a:lnTo>
                  <a:lnTo>
                    <a:pt x="829" y="927"/>
                  </a:lnTo>
                  <a:lnTo>
                    <a:pt x="829" y="927"/>
                  </a:lnTo>
                  <a:lnTo>
                    <a:pt x="849" y="928"/>
                  </a:lnTo>
                  <a:lnTo>
                    <a:pt x="870" y="928"/>
                  </a:lnTo>
                  <a:lnTo>
                    <a:pt x="889" y="927"/>
                  </a:lnTo>
                  <a:lnTo>
                    <a:pt x="910" y="924"/>
                  </a:lnTo>
                  <a:lnTo>
                    <a:pt x="929" y="922"/>
                  </a:lnTo>
                  <a:lnTo>
                    <a:pt x="949" y="918"/>
                  </a:lnTo>
                  <a:lnTo>
                    <a:pt x="967" y="914"/>
                  </a:lnTo>
                  <a:lnTo>
                    <a:pt x="986" y="908"/>
                  </a:lnTo>
                  <a:lnTo>
                    <a:pt x="1005" y="903"/>
                  </a:lnTo>
                  <a:lnTo>
                    <a:pt x="1023" y="895"/>
                  </a:lnTo>
                  <a:lnTo>
                    <a:pt x="1040" y="888"/>
                  </a:lnTo>
                  <a:lnTo>
                    <a:pt x="1058" y="879"/>
                  </a:lnTo>
                  <a:lnTo>
                    <a:pt x="1075" y="870"/>
                  </a:lnTo>
                  <a:lnTo>
                    <a:pt x="1091" y="860"/>
                  </a:lnTo>
                  <a:lnTo>
                    <a:pt x="1107" y="849"/>
                  </a:lnTo>
                  <a:lnTo>
                    <a:pt x="1122" y="838"/>
                  </a:lnTo>
                  <a:lnTo>
                    <a:pt x="1138" y="826"/>
                  </a:lnTo>
                  <a:lnTo>
                    <a:pt x="1153" y="813"/>
                  </a:lnTo>
                  <a:lnTo>
                    <a:pt x="1166" y="799"/>
                  </a:lnTo>
                  <a:lnTo>
                    <a:pt x="1180" y="785"/>
                  </a:lnTo>
                  <a:lnTo>
                    <a:pt x="1192" y="771"/>
                  </a:lnTo>
                  <a:lnTo>
                    <a:pt x="1205" y="755"/>
                  </a:lnTo>
                  <a:lnTo>
                    <a:pt x="1215" y="740"/>
                  </a:lnTo>
                  <a:lnTo>
                    <a:pt x="1226" y="722"/>
                  </a:lnTo>
                  <a:lnTo>
                    <a:pt x="1236" y="706"/>
                  </a:lnTo>
                  <a:lnTo>
                    <a:pt x="1244" y="688"/>
                  </a:lnTo>
                  <a:lnTo>
                    <a:pt x="1253" y="671"/>
                  </a:lnTo>
                  <a:lnTo>
                    <a:pt x="1261" y="652"/>
                  </a:lnTo>
                  <a:lnTo>
                    <a:pt x="1267" y="633"/>
                  </a:lnTo>
                  <a:lnTo>
                    <a:pt x="1274" y="613"/>
                  </a:lnTo>
                  <a:lnTo>
                    <a:pt x="1278" y="594"/>
                  </a:lnTo>
                  <a:lnTo>
                    <a:pt x="1282" y="573"/>
                  </a:lnTo>
                  <a:lnTo>
                    <a:pt x="1282" y="573"/>
                  </a:lnTo>
                  <a:lnTo>
                    <a:pt x="1286" y="552"/>
                  </a:lnTo>
                  <a:lnTo>
                    <a:pt x="1288" y="529"/>
                  </a:lnTo>
                  <a:lnTo>
                    <a:pt x="1289" y="508"/>
                  </a:lnTo>
                  <a:lnTo>
                    <a:pt x="1289" y="487"/>
                  </a:lnTo>
                  <a:lnTo>
                    <a:pt x="1288" y="465"/>
                  </a:lnTo>
                  <a:lnTo>
                    <a:pt x="1286" y="444"/>
                  </a:lnTo>
                  <a:lnTo>
                    <a:pt x="1282" y="423"/>
                  </a:lnTo>
                  <a:lnTo>
                    <a:pt x="1278" y="403"/>
                  </a:lnTo>
                  <a:lnTo>
                    <a:pt x="1273" y="383"/>
                  </a:lnTo>
                  <a:lnTo>
                    <a:pt x="1267" y="363"/>
                  </a:lnTo>
                  <a:lnTo>
                    <a:pt x="1260" y="343"/>
                  </a:lnTo>
                  <a:lnTo>
                    <a:pt x="1252" y="325"/>
                  </a:lnTo>
                  <a:lnTo>
                    <a:pt x="1243" y="306"/>
                  </a:lnTo>
                  <a:lnTo>
                    <a:pt x="1234" y="288"/>
                  </a:lnTo>
                  <a:lnTo>
                    <a:pt x="1223" y="270"/>
                  </a:lnTo>
                  <a:lnTo>
                    <a:pt x="1211" y="253"/>
                  </a:lnTo>
                  <a:lnTo>
                    <a:pt x="1199" y="236"/>
                  </a:lnTo>
                  <a:lnTo>
                    <a:pt x="1186" y="220"/>
                  </a:lnTo>
                  <a:lnTo>
                    <a:pt x="1172" y="205"/>
                  </a:lnTo>
                  <a:lnTo>
                    <a:pt x="1158" y="191"/>
                  </a:lnTo>
                  <a:lnTo>
                    <a:pt x="1143" y="177"/>
                  </a:lnTo>
                  <a:lnTo>
                    <a:pt x="1127" y="163"/>
                  </a:lnTo>
                  <a:lnTo>
                    <a:pt x="1111" y="151"/>
                  </a:lnTo>
                  <a:lnTo>
                    <a:pt x="1093" y="139"/>
                  </a:lnTo>
                  <a:lnTo>
                    <a:pt x="1075" y="128"/>
                  </a:lnTo>
                  <a:lnTo>
                    <a:pt x="1057" y="118"/>
                  </a:lnTo>
                  <a:lnTo>
                    <a:pt x="1038" y="109"/>
                  </a:lnTo>
                  <a:lnTo>
                    <a:pt x="1019" y="100"/>
                  </a:lnTo>
                  <a:lnTo>
                    <a:pt x="998" y="93"/>
                  </a:lnTo>
                  <a:lnTo>
                    <a:pt x="978" y="86"/>
                  </a:lnTo>
                  <a:lnTo>
                    <a:pt x="956" y="81"/>
                  </a:lnTo>
                  <a:lnTo>
                    <a:pt x="935" y="77"/>
                  </a:lnTo>
                  <a:lnTo>
                    <a:pt x="935" y="77"/>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83" name="Freeform 582"/>
            <p:cNvSpPr>
              <a:spLocks noEditPoints="1"/>
            </p:cNvSpPr>
            <p:nvPr/>
          </p:nvSpPr>
          <p:spPr bwMode="auto">
            <a:xfrm>
              <a:off x="3078897" y="4245914"/>
              <a:ext cx="211592" cy="207529"/>
            </a:xfrm>
            <a:custGeom>
              <a:avLst/>
              <a:gdLst>
                <a:gd name="T0" fmla="*/ 220 w 492"/>
                <a:gd name="T1" fmla="*/ 3 h 493"/>
                <a:gd name="T2" fmla="*/ 150 w 492"/>
                <a:gd name="T3" fmla="*/ 20 h 493"/>
                <a:gd name="T4" fmla="*/ 89 w 492"/>
                <a:gd name="T5" fmla="*/ 57 h 493"/>
                <a:gd name="T6" fmla="*/ 42 w 492"/>
                <a:gd name="T7" fmla="*/ 109 h 493"/>
                <a:gd name="T8" fmla="*/ 10 w 492"/>
                <a:gd name="T9" fmla="*/ 173 h 493"/>
                <a:gd name="T10" fmla="*/ 0 w 492"/>
                <a:gd name="T11" fmla="*/ 247 h 493"/>
                <a:gd name="T12" fmla="*/ 4 w 492"/>
                <a:gd name="T13" fmla="*/ 296 h 493"/>
                <a:gd name="T14" fmla="*/ 29 w 492"/>
                <a:gd name="T15" fmla="*/ 364 h 493"/>
                <a:gd name="T16" fmla="*/ 71 w 492"/>
                <a:gd name="T17" fmla="*/ 421 h 493"/>
                <a:gd name="T18" fmla="*/ 128 w 492"/>
                <a:gd name="T19" fmla="*/ 463 h 493"/>
                <a:gd name="T20" fmla="*/ 196 w 492"/>
                <a:gd name="T21" fmla="*/ 487 h 493"/>
                <a:gd name="T22" fmla="*/ 246 w 492"/>
                <a:gd name="T23" fmla="*/ 493 h 493"/>
                <a:gd name="T24" fmla="*/ 319 w 492"/>
                <a:gd name="T25" fmla="*/ 482 h 493"/>
                <a:gd name="T26" fmla="*/ 383 w 492"/>
                <a:gd name="T27" fmla="*/ 451 h 493"/>
                <a:gd name="T28" fmla="*/ 436 w 492"/>
                <a:gd name="T29" fmla="*/ 403 h 493"/>
                <a:gd name="T30" fmla="*/ 473 w 492"/>
                <a:gd name="T31" fmla="*/ 343 h 493"/>
                <a:gd name="T32" fmla="*/ 491 w 492"/>
                <a:gd name="T33" fmla="*/ 271 h 493"/>
                <a:gd name="T34" fmla="*/ 491 w 492"/>
                <a:gd name="T35" fmla="*/ 222 h 493"/>
                <a:gd name="T36" fmla="*/ 473 w 492"/>
                <a:gd name="T37" fmla="*/ 151 h 493"/>
                <a:gd name="T38" fmla="*/ 436 w 492"/>
                <a:gd name="T39" fmla="*/ 90 h 493"/>
                <a:gd name="T40" fmla="*/ 383 w 492"/>
                <a:gd name="T41" fmla="*/ 43 h 493"/>
                <a:gd name="T42" fmla="*/ 319 w 492"/>
                <a:gd name="T43" fmla="*/ 12 h 493"/>
                <a:gd name="T44" fmla="*/ 246 w 492"/>
                <a:gd name="T45" fmla="*/ 0 h 493"/>
                <a:gd name="T46" fmla="*/ 209 w 492"/>
                <a:gd name="T47" fmla="*/ 250 h 493"/>
                <a:gd name="T48" fmla="*/ 282 w 492"/>
                <a:gd name="T49" fmla="*/ 328 h 493"/>
                <a:gd name="T50" fmla="*/ 298 w 492"/>
                <a:gd name="T51" fmla="*/ 320 h 493"/>
                <a:gd name="T52" fmla="*/ 314 w 492"/>
                <a:gd name="T53" fmla="*/ 317 h 493"/>
                <a:gd name="T54" fmla="*/ 342 w 492"/>
                <a:gd name="T55" fmla="*/ 325 h 493"/>
                <a:gd name="T56" fmla="*/ 360 w 492"/>
                <a:gd name="T57" fmla="*/ 348 h 493"/>
                <a:gd name="T58" fmla="*/ 363 w 492"/>
                <a:gd name="T59" fmla="*/ 368 h 493"/>
                <a:gd name="T60" fmla="*/ 355 w 492"/>
                <a:gd name="T61" fmla="*/ 395 h 493"/>
                <a:gd name="T62" fmla="*/ 333 w 492"/>
                <a:gd name="T63" fmla="*/ 413 h 493"/>
                <a:gd name="T64" fmla="*/ 314 w 492"/>
                <a:gd name="T65" fmla="*/ 417 h 493"/>
                <a:gd name="T66" fmla="*/ 286 w 492"/>
                <a:gd name="T67" fmla="*/ 409 h 493"/>
                <a:gd name="T68" fmla="*/ 268 w 492"/>
                <a:gd name="T69" fmla="*/ 386 h 493"/>
                <a:gd name="T70" fmla="*/ 264 w 492"/>
                <a:gd name="T71" fmla="*/ 368 h 493"/>
                <a:gd name="T72" fmla="*/ 185 w 492"/>
                <a:gd name="T73" fmla="*/ 292 h 493"/>
                <a:gd name="T74" fmla="*/ 172 w 492"/>
                <a:gd name="T75" fmla="*/ 297 h 493"/>
                <a:gd name="T76" fmla="*/ 159 w 492"/>
                <a:gd name="T77" fmla="*/ 300 h 493"/>
                <a:gd name="T78" fmla="*/ 131 w 492"/>
                <a:gd name="T79" fmla="*/ 291 h 493"/>
                <a:gd name="T80" fmla="*/ 113 w 492"/>
                <a:gd name="T81" fmla="*/ 269 h 493"/>
                <a:gd name="T82" fmla="*/ 110 w 492"/>
                <a:gd name="T83" fmla="*/ 250 h 493"/>
                <a:gd name="T84" fmla="*/ 118 w 492"/>
                <a:gd name="T85" fmla="*/ 222 h 493"/>
                <a:gd name="T86" fmla="*/ 140 w 492"/>
                <a:gd name="T87" fmla="*/ 203 h 493"/>
                <a:gd name="T88" fmla="*/ 159 w 492"/>
                <a:gd name="T89" fmla="*/ 200 h 493"/>
                <a:gd name="T90" fmla="*/ 179 w 492"/>
                <a:gd name="T91" fmla="*/ 205 h 493"/>
                <a:gd name="T92" fmla="*/ 273 w 492"/>
                <a:gd name="T93" fmla="*/ 155 h 493"/>
                <a:gd name="T94" fmla="*/ 273 w 492"/>
                <a:gd name="T95" fmla="*/ 133 h 493"/>
                <a:gd name="T96" fmla="*/ 287 w 492"/>
                <a:gd name="T97" fmla="*/ 108 h 493"/>
                <a:gd name="T98" fmla="*/ 312 w 492"/>
                <a:gd name="T99" fmla="*/ 94 h 493"/>
                <a:gd name="T100" fmla="*/ 331 w 492"/>
                <a:gd name="T101" fmla="*/ 94 h 493"/>
                <a:gd name="T102" fmla="*/ 357 w 492"/>
                <a:gd name="T103" fmla="*/ 108 h 493"/>
                <a:gd name="T104" fmla="*/ 370 w 492"/>
                <a:gd name="T105" fmla="*/ 133 h 493"/>
                <a:gd name="T106" fmla="*/ 370 w 492"/>
                <a:gd name="T107" fmla="*/ 154 h 493"/>
                <a:gd name="T108" fmla="*/ 357 w 492"/>
                <a:gd name="T109" fmla="*/ 179 h 493"/>
                <a:gd name="T110" fmla="*/ 331 w 492"/>
                <a:gd name="T111" fmla="*/ 193 h 493"/>
                <a:gd name="T112" fmla="*/ 312 w 492"/>
                <a:gd name="T113" fmla="*/ 193 h 493"/>
                <a:gd name="T114" fmla="*/ 288 w 492"/>
                <a:gd name="T115" fmla="*/ 180 h 493"/>
                <a:gd name="T116" fmla="*/ 208 w 492"/>
                <a:gd name="T117" fmla="*/ 23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2" h="493">
                  <a:moveTo>
                    <a:pt x="246" y="0"/>
                  </a:moveTo>
                  <a:lnTo>
                    <a:pt x="246" y="0"/>
                  </a:lnTo>
                  <a:lnTo>
                    <a:pt x="220" y="3"/>
                  </a:lnTo>
                  <a:lnTo>
                    <a:pt x="196" y="6"/>
                  </a:lnTo>
                  <a:lnTo>
                    <a:pt x="172" y="12"/>
                  </a:lnTo>
                  <a:lnTo>
                    <a:pt x="150" y="20"/>
                  </a:lnTo>
                  <a:lnTo>
                    <a:pt x="128" y="31"/>
                  </a:lnTo>
                  <a:lnTo>
                    <a:pt x="108" y="43"/>
                  </a:lnTo>
                  <a:lnTo>
                    <a:pt x="89" y="57"/>
                  </a:lnTo>
                  <a:lnTo>
                    <a:pt x="71" y="73"/>
                  </a:lnTo>
                  <a:lnTo>
                    <a:pt x="56" y="90"/>
                  </a:lnTo>
                  <a:lnTo>
                    <a:pt x="42" y="109"/>
                  </a:lnTo>
                  <a:lnTo>
                    <a:pt x="29" y="130"/>
                  </a:lnTo>
                  <a:lnTo>
                    <a:pt x="19" y="151"/>
                  </a:lnTo>
                  <a:lnTo>
                    <a:pt x="10" y="173"/>
                  </a:lnTo>
                  <a:lnTo>
                    <a:pt x="4" y="197"/>
                  </a:lnTo>
                  <a:lnTo>
                    <a:pt x="1" y="222"/>
                  </a:lnTo>
                  <a:lnTo>
                    <a:pt x="0" y="247"/>
                  </a:lnTo>
                  <a:lnTo>
                    <a:pt x="0" y="247"/>
                  </a:lnTo>
                  <a:lnTo>
                    <a:pt x="1" y="271"/>
                  </a:lnTo>
                  <a:lnTo>
                    <a:pt x="4" y="296"/>
                  </a:lnTo>
                  <a:lnTo>
                    <a:pt x="10" y="320"/>
                  </a:lnTo>
                  <a:lnTo>
                    <a:pt x="19" y="343"/>
                  </a:lnTo>
                  <a:lnTo>
                    <a:pt x="29" y="364"/>
                  </a:lnTo>
                  <a:lnTo>
                    <a:pt x="42" y="385"/>
                  </a:lnTo>
                  <a:lnTo>
                    <a:pt x="56" y="403"/>
                  </a:lnTo>
                  <a:lnTo>
                    <a:pt x="71" y="421"/>
                  </a:lnTo>
                  <a:lnTo>
                    <a:pt x="89" y="437"/>
                  </a:lnTo>
                  <a:lnTo>
                    <a:pt x="108" y="451"/>
                  </a:lnTo>
                  <a:lnTo>
                    <a:pt x="128" y="463"/>
                  </a:lnTo>
                  <a:lnTo>
                    <a:pt x="150" y="473"/>
                  </a:lnTo>
                  <a:lnTo>
                    <a:pt x="172" y="482"/>
                  </a:lnTo>
                  <a:lnTo>
                    <a:pt x="196" y="487"/>
                  </a:lnTo>
                  <a:lnTo>
                    <a:pt x="220" y="492"/>
                  </a:lnTo>
                  <a:lnTo>
                    <a:pt x="246" y="493"/>
                  </a:lnTo>
                  <a:lnTo>
                    <a:pt x="246" y="493"/>
                  </a:lnTo>
                  <a:lnTo>
                    <a:pt x="271" y="492"/>
                  </a:lnTo>
                  <a:lnTo>
                    <a:pt x="295" y="487"/>
                  </a:lnTo>
                  <a:lnTo>
                    <a:pt x="319" y="482"/>
                  </a:lnTo>
                  <a:lnTo>
                    <a:pt x="341" y="473"/>
                  </a:lnTo>
                  <a:lnTo>
                    <a:pt x="362" y="463"/>
                  </a:lnTo>
                  <a:lnTo>
                    <a:pt x="383" y="451"/>
                  </a:lnTo>
                  <a:lnTo>
                    <a:pt x="402" y="437"/>
                  </a:lnTo>
                  <a:lnTo>
                    <a:pt x="420" y="421"/>
                  </a:lnTo>
                  <a:lnTo>
                    <a:pt x="436" y="403"/>
                  </a:lnTo>
                  <a:lnTo>
                    <a:pt x="450" y="385"/>
                  </a:lnTo>
                  <a:lnTo>
                    <a:pt x="462" y="364"/>
                  </a:lnTo>
                  <a:lnTo>
                    <a:pt x="473" y="343"/>
                  </a:lnTo>
                  <a:lnTo>
                    <a:pt x="481" y="320"/>
                  </a:lnTo>
                  <a:lnTo>
                    <a:pt x="487" y="296"/>
                  </a:lnTo>
                  <a:lnTo>
                    <a:pt x="491" y="271"/>
                  </a:lnTo>
                  <a:lnTo>
                    <a:pt x="492" y="247"/>
                  </a:lnTo>
                  <a:lnTo>
                    <a:pt x="492" y="247"/>
                  </a:lnTo>
                  <a:lnTo>
                    <a:pt x="491" y="222"/>
                  </a:lnTo>
                  <a:lnTo>
                    <a:pt x="487" y="197"/>
                  </a:lnTo>
                  <a:lnTo>
                    <a:pt x="481" y="173"/>
                  </a:lnTo>
                  <a:lnTo>
                    <a:pt x="473" y="151"/>
                  </a:lnTo>
                  <a:lnTo>
                    <a:pt x="462" y="130"/>
                  </a:lnTo>
                  <a:lnTo>
                    <a:pt x="450" y="109"/>
                  </a:lnTo>
                  <a:lnTo>
                    <a:pt x="436" y="90"/>
                  </a:lnTo>
                  <a:lnTo>
                    <a:pt x="420" y="73"/>
                  </a:lnTo>
                  <a:lnTo>
                    <a:pt x="402" y="57"/>
                  </a:lnTo>
                  <a:lnTo>
                    <a:pt x="383" y="43"/>
                  </a:lnTo>
                  <a:lnTo>
                    <a:pt x="362" y="31"/>
                  </a:lnTo>
                  <a:lnTo>
                    <a:pt x="341" y="20"/>
                  </a:lnTo>
                  <a:lnTo>
                    <a:pt x="319" y="12"/>
                  </a:lnTo>
                  <a:lnTo>
                    <a:pt x="295" y="6"/>
                  </a:lnTo>
                  <a:lnTo>
                    <a:pt x="271" y="3"/>
                  </a:lnTo>
                  <a:lnTo>
                    <a:pt x="246" y="0"/>
                  </a:lnTo>
                  <a:lnTo>
                    <a:pt x="246" y="0"/>
                  </a:lnTo>
                  <a:close/>
                  <a:moveTo>
                    <a:pt x="209" y="250"/>
                  </a:moveTo>
                  <a:lnTo>
                    <a:pt x="209" y="250"/>
                  </a:lnTo>
                  <a:lnTo>
                    <a:pt x="208" y="261"/>
                  </a:lnTo>
                  <a:lnTo>
                    <a:pt x="205" y="270"/>
                  </a:lnTo>
                  <a:lnTo>
                    <a:pt x="282" y="328"/>
                  </a:lnTo>
                  <a:lnTo>
                    <a:pt x="282" y="328"/>
                  </a:lnTo>
                  <a:lnTo>
                    <a:pt x="290" y="323"/>
                  </a:lnTo>
                  <a:lnTo>
                    <a:pt x="298" y="320"/>
                  </a:lnTo>
                  <a:lnTo>
                    <a:pt x="305" y="318"/>
                  </a:lnTo>
                  <a:lnTo>
                    <a:pt x="314" y="317"/>
                  </a:lnTo>
                  <a:lnTo>
                    <a:pt x="314" y="317"/>
                  </a:lnTo>
                  <a:lnTo>
                    <a:pt x="324" y="318"/>
                  </a:lnTo>
                  <a:lnTo>
                    <a:pt x="333" y="321"/>
                  </a:lnTo>
                  <a:lnTo>
                    <a:pt x="342" y="325"/>
                  </a:lnTo>
                  <a:lnTo>
                    <a:pt x="349" y="332"/>
                  </a:lnTo>
                  <a:lnTo>
                    <a:pt x="355" y="340"/>
                  </a:lnTo>
                  <a:lnTo>
                    <a:pt x="360" y="348"/>
                  </a:lnTo>
                  <a:lnTo>
                    <a:pt x="362" y="357"/>
                  </a:lnTo>
                  <a:lnTo>
                    <a:pt x="363" y="368"/>
                  </a:lnTo>
                  <a:lnTo>
                    <a:pt x="363" y="368"/>
                  </a:lnTo>
                  <a:lnTo>
                    <a:pt x="362" y="377"/>
                  </a:lnTo>
                  <a:lnTo>
                    <a:pt x="360" y="386"/>
                  </a:lnTo>
                  <a:lnTo>
                    <a:pt x="355" y="395"/>
                  </a:lnTo>
                  <a:lnTo>
                    <a:pt x="349" y="402"/>
                  </a:lnTo>
                  <a:lnTo>
                    <a:pt x="342" y="409"/>
                  </a:lnTo>
                  <a:lnTo>
                    <a:pt x="333" y="413"/>
                  </a:lnTo>
                  <a:lnTo>
                    <a:pt x="324" y="416"/>
                  </a:lnTo>
                  <a:lnTo>
                    <a:pt x="314" y="417"/>
                  </a:lnTo>
                  <a:lnTo>
                    <a:pt x="314" y="417"/>
                  </a:lnTo>
                  <a:lnTo>
                    <a:pt x="304" y="416"/>
                  </a:lnTo>
                  <a:lnTo>
                    <a:pt x="294" y="413"/>
                  </a:lnTo>
                  <a:lnTo>
                    <a:pt x="286" y="409"/>
                  </a:lnTo>
                  <a:lnTo>
                    <a:pt x="278" y="402"/>
                  </a:lnTo>
                  <a:lnTo>
                    <a:pt x="273" y="395"/>
                  </a:lnTo>
                  <a:lnTo>
                    <a:pt x="268" y="386"/>
                  </a:lnTo>
                  <a:lnTo>
                    <a:pt x="265" y="377"/>
                  </a:lnTo>
                  <a:lnTo>
                    <a:pt x="264" y="368"/>
                  </a:lnTo>
                  <a:lnTo>
                    <a:pt x="264" y="368"/>
                  </a:lnTo>
                  <a:lnTo>
                    <a:pt x="264" y="359"/>
                  </a:lnTo>
                  <a:lnTo>
                    <a:pt x="266" y="352"/>
                  </a:lnTo>
                  <a:lnTo>
                    <a:pt x="185" y="292"/>
                  </a:lnTo>
                  <a:lnTo>
                    <a:pt x="185" y="292"/>
                  </a:lnTo>
                  <a:lnTo>
                    <a:pt x="179" y="295"/>
                  </a:lnTo>
                  <a:lnTo>
                    <a:pt x="172" y="297"/>
                  </a:lnTo>
                  <a:lnTo>
                    <a:pt x="166" y="298"/>
                  </a:lnTo>
                  <a:lnTo>
                    <a:pt x="159" y="300"/>
                  </a:lnTo>
                  <a:lnTo>
                    <a:pt x="159" y="300"/>
                  </a:lnTo>
                  <a:lnTo>
                    <a:pt x="150" y="298"/>
                  </a:lnTo>
                  <a:lnTo>
                    <a:pt x="140" y="295"/>
                  </a:lnTo>
                  <a:lnTo>
                    <a:pt x="131" y="291"/>
                  </a:lnTo>
                  <a:lnTo>
                    <a:pt x="124" y="284"/>
                  </a:lnTo>
                  <a:lnTo>
                    <a:pt x="118" y="278"/>
                  </a:lnTo>
                  <a:lnTo>
                    <a:pt x="113" y="269"/>
                  </a:lnTo>
                  <a:lnTo>
                    <a:pt x="111" y="260"/>
                  </a:lnTo>
                  <a:lnTo>
                    <a:pt x="110" y="250"/>
                  </a:lnTo>
                  <a:lnTo>
                    <a:pt x="110" y="250"/>
                  </a:lnTo>
                  <a:lnTo>
                    <a:pt x="111" y="239"/>
                  </a:lnTo>
                  <a:lnTo>
                    <a:pt x="113" y="230"/>
                  </a:lnTo>
                  <a:lnTo>
                    <a:pt x="118" y="222"/>
                  </a:lnTo>
                  <a:lnTo>
                    <a:pt x="124" y="214"/>
                  </a:lnTo>
                  <a:lnTo>
                    <a:pt x="131" y="209"/>
                  </a:lnTo>
                  <a:lnTo>
                    <a:pt x="140" y="203"/>
                  </a:lnTo>
                  <a:lnTo>
                    <a:pt x="150" y="201"/>
                  </a:lnTo>
                  <a:lnTo>
                    <a:pt x="159" y="200"/>
                  </a:lnTo>
                  <a:lnTo>
                    <a:pt x="159" y="200"/>
                  </a:lnTo>
                  <a:lnTo>
                    <a:pt x="166" y="200"/>
                  </a:lnTo>
                  <a:lnTo>
                    <a:pt x="173" y="201"/>
                  </a:lnTo>
                  <a:lnTo>
                    <a:pt x="179" y="205"/>
                  </a:lnTo>
                  <a:lnTo>
                    <a:pt x="185" y="207"/>
                  </a:lnTo>
                  <a:lnTo>
                    <a:pt x="273" y="155"/>
                  </a:lnTo>
                  <a:lnTo>
                    <a:pt x="273" y="155"/>
                  </a:lnTo>
                  <a:lnTo>
                    <a:pt x="272" y="144"/>
                  </a:lnTo>
                  <a:lnTo>
                    <a:pt x="272" y="144"/>
                  </a:lnTo>
                  <a:lnTo>
                    <a:pt x="273" y="133"/>
                  </a:lnTo>
                  <a:lnTo>
                    <a:pt x="276" y="125"/>
                  </a:lnTo>
                  <a:lnTo>
                    <a:pt x="280" y="116"/>
                  </a:lnTo>
                  <a:lnTo>
                    <a:pt x="287" y="108"/>
                  </a:lnTo>
                  <a:lnTo>
                    <a:pt x="293" y="102"/>
                  </a:lnTo>
                  <a:lnTo>
                    <a:pt x="302" y="98"/>
                  </a:lnTo>
                  <a:lnTo>
                    <a:pt x="312" y="94"/>
                  </a:lnTo>
                  <a:lnTo>
                    <a:pt x="321" y="94"/>
                  </a:lnTo>
                  <a:lnTo>
                    <a:pt x="321" y="94"/>
                  </a:lnTo>
                  <a:lnTo>
                    <a:pt x="331" y="94"/>
                  </a:lnTo>
                  <a:lnTo>
                    <a:pt x="341" y="98"/>
                  </a:lnTo>
                  <a:lnTo>
                    <a:pt x="349" y="102"/>
                  </a:lnTo>
                  <a:lnTo>
                    <a:pt x="357" y="108"/>
                  </a:lnTo>
                  <a:lnTo>
                    <a:pt x="362" y="116"/>
                  </a:lnTo>
                  <a:lnTo>
                    <a:pt x="368" y="125"/>
                  </a:lnTo>
                  <a:lnTo>
                    <a:pt x="370" y="133"/>
                  </a:lnTo>
                  <a:lnTo>
                    <a:pt x="371" y="144"/>
                  </a:lnTo>
                  <a:lnTo>
                    <a:pt x="371" y="144"/>
                  </a:lnTo>
                  <a:lnTo>
                    <a:pt x="370" y="154"/>
                  </a:lnTo>
                  <a:lnTo>
                    <a:pt x="368" y="163"/>
                  </a:lnTo>
                  <a:lnTo>
                    <a:pt x="362" y="171"/>
                  </a:lnTo>
                  <a:lnTo>
                    <a:pt x="357" y="179"/>
                  </a:lnTo>
                  <a:lnTo>
                    <a:pt x="349" y="185"/>
                  </a:lnTo>
                  <a:lnTo>
                    <a:pt x="341" y="189"/>
                  </a:lnTo>
                  <a:lnTo>
                    <a:pt x="331" y="193"/>
                  </a:lnTo>
                  <a:lnTo>
                    <a:pt x="321" y="194"/>
                  </a:lnTo>
                  <a:lnTo>
                    <a:pt x="321" y="194"/>
                  </a:lnTo>
                  <a:lnTo>
                    <a:pt x="312" y="193"/>
                  </a:lnTo>
                  <a:lnTo>
                    <a:pt x="303" y="189"/>
                  </a:lnTo>
                  <a:lnTo>
                    <a:pt x="294" y="186"/>
                  </a:lnTo>
                  <a:lnTo>
                    <a:pt x="288" y="180"/>
                  </a:lnTo>
                  <a:lnTo>
                    <a:pt x="205" y="229"/>
                  </a:lnTo>
                  <a:lnTo>
                    <a:pt x="205" y="229"/>
                  </a:lnTo>
                  <a:lnTo>
                    <a:pt x="208" y="239"/>
                  </a:lnTo>
                  <a:lnTo>
                    <a:pt x="209" y="250"/>
                  </a:lnTo>
                  <a:lnTo>
                    <a:pt x="209" y="250"/>
                  </a:lnTo>
                  <a:close/>
                </a:path>
              </a:pathLst>
            </a:custGeom>
            <a:solidFill>
              <a:srgbClr val="E5E8E8">
                <a:lumMod val="9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84" name="Freeform 583"/>
            <p:cNvSpPr>
              <a:spLocks/>
            </p:cNvSpPr>
            <p:nvPr/>
          </p:nvSpPr>
          <p:spPr bwMode="auto">
            <a:xfrm>
              <a:off x="6799419" y="2160291"/>
              <a:ext cx="290725" cy="290202"/>
            </a:xfrm>
            <a:custGeom>
              <a:avLst/>
              <a:gdLst>
                <a:gd name="T0" fmla="*/ 585 w 677"/>
                <a:gd name="T1" fmla="*/ 281 h 688"/>
                <a:gd name="T2" fmla="*/ 579 w 677"/>
                <a:gd name="T3" fmla="*/ 308 h 688"/>
                <a:gd name="T4" fmla="*/ 564 w 677"/>
                <a:gd name="T5" fmla="*/ 330 h 688"/>
                <a:gd name="T6" fmla="*/ 549 w 677"/>
                <a:gd name="T7" fmla="*/ 339 h 688"/>
                <a:gd name="T8" fmla="*/ 530 w 677"/>
                <a:gd name="T9" fmla="*/ 345 h 688"/>
                <a:gd name="T10" fmla="*/ 510 w 677"/>
                <a:gd name="T11" fmla="*/ 343 h 688"/>
                <a:gd name="T12" fmla="*/ 483 w 677"/>
                <a:gd name="T13" fmla="*/ 331 h 688"/>
                <a:gd name="T14" fmla="*/ 450 w 677"/>
                <a:gd name="T15" fmla="*/ 296 h 688"/>
                <a:gd name="T16" fmla="*/ 443 w 677"/>
                <a:gd name="T17" fmla="*/ 264 h 688"/>
                <a:gd name="T18" fmla="*/ 448 w 677"/>
                <a:gd name="T19" fmla="*/ 227 h 688"/>
                <a:gd name="T20" fmla="*/ 458 w 677"/>
                <a:gd name="T21" fmla="*/ 209 h 688"/>
                <a:gd name="T22" fmla="*/ 473 w 677"/>
                <a:gd name="T23" fmla="*/ 195 h 688"/>
                <a:gd name="T24" fmla="*/ 488 w 677"/>
                <a:gd name="T25" fmla="*/ 188 h 688"/>
                <a:gd name="T26" fmla="*/ 514 w 677"/>
                <a:gd name="T27" fmla="*/ 187 h 688"/>
                <a:gd name="T28" fmla="*/ 540 w 677"/>
                <a:gd name="T29" fmla="*/ 196 h 688"/>
                <a:gd name="T30" fmla="*/ 456 w 677"/>
                <a:gd name="T31" fmla="*/ 7 h 688"/>
                <a:gd name="T32" fmla="*/ 321 w 677"/>
                <a:gd name="T33" fmla="*/ 62 h 688"/>
                <a:gd name="T34" fmla="*/ 313 w 677"/>
                <a:gd name="T35" fmla="*/ 46 h 688"/>
                <a:gd name="T36" fmla="*/ 310 w 677"/>
                <a:gd name="T37" fmla="*/ 37 h 688"/>
                <a:gd name="T38" fmla="*/ 297 w 677"/>
                <a:gd name="T39" fmla="*/ 20 h 688"/>
                <a:gd name="T40" fmla="*/ 278 w 677"/>
                <a:gd name="T41" fmla="*/ 8 h 688"/>
                <a:gd name="T42" fmla="*/ 257 w 677"/>
                <a:gd name="T43" fmla="*/ 1 h 688"/>
                <a:gd name="T44" fmla="*/ 232 w 677"/>
                <a:gd name="T45" fmla="*/ 1 h 688"/>
                <a:gd name="T46" fmla="*/ 206 w 677"/>
                <a:gd name="T47" fmla="*/ 8 h 688"/>
                <a:gd name="T48" fmla="*/ 189 w 677"/>
                <a:gd name="T49" fmla="*/ 15 h 688"/>
                <a:gd name="T50" fmla="*/ 167 w 677"/>
                <a:gd name="T51" fmla="*/ 31 h 688"/>
                <a:gd name="T52" fmla="*/ 152 w 677"/>
                <a:gd name="T53" fmla="*/ 51 h 688"/>
                <a:gd name="T54" fmla="*/ 142 w 677"/>
                <a:gd name="T55" fmla="*/ 73 h 688"/>
                <a:gd name="T56" fmla="*/ 140 w 677"/>
                <a:gd name="T57" fmla="*/ 94 h 688"/>
                <a:gd name="T58" fmla="*/ 146 w 677"/>
                <a:gd name="T59" fmla="*/ 115 h 688"/>
                <a:gd name="T60" fmla="*/ 150 w 677"/>
                <a:gd name="T61" fmla="*/ 123 h 688"/>
                <a:gd name="T62" fmla="*/ 157 w 677"/>
                <a:gd name="T63" fmla="*/ 139 h 688"/>
                <a:gd name="T64" fmla="*/ 5 w 677"/>
                <a:gd name="T65" fmla="*/ 220 h 688"/>
                <a:gd name="T66" fmla="*/ 73 w 677"/>
                <a:gd name="T67" fmla="*/ 363 h 688"/>
                <a:gd name="T68" fmla="*/ 69 w 677"/>
                <a:gd name="T69" fmla="*/ 376 h 688"/>
                <a:gd name="T70" fmla="*/ 36 w 677"/>
                <a:gd name="T71" fmla="*/ 381 h 688"/>
                <a:gd name="T72" fmla="*/ 24 w 677"/>
                <a:gd name="T73" fmla="*/ 389 h 688"/>
                <a:gd name="T74" fmla="*/ 9 w 677"/>
                <a:gd name="T75" fmla="*/ 406 h 688"/>
                <a:gd name="T76" fmla="*/ 2 w 677"/>
                <a:gd name="T77" fmla="*/ 427 h 688"/>
                <a:gd name="T78" fmla="*/ 0 w 677"/>
                <a:gd name="T79" fmla="*/ 452 h 688"/>
                <a:gd name="T80" fmla="*/ 4 w 677"/>
                <a:gd name="T81" fmla="*/ 478 h 688"/>
                <a:gd name="T82" fmla="*/ 11 w 677"/>
                <a:gd name="T83" fmla="*/ 494 h 688"/>
                <a:gd name="T84" fmla="*/ 18 w 677"/>
                <a:gd name="T85" fmla="*/ 511 h 688"/>
                <a:gd name="T86" fmla="*/ 28 w 677"/>
                <a:gd name="T87" fmla="*/ 527 h 688"/>
                <a:gd name="T88" fmla="*/ 44 w 677"/>
                <a:gd name="T89" fmla="*/ 547 h 688"/>
                <a:gd name="T90" fmla="*/ 65 w 677"/>
                <a:gd name="T91" fmla="*/ 560 h 688"/>
                <a:gd name="T92" fmla="*/ 86 w 677"/>
                <a:gd name="T93" fmla="*/ 567 h 688"/>
                <a:gd name="T94" fmla="*/ 108 w 677"/>
                <a:gd name="T95" fmla="*/ 567 h 688"/>
                <a:gd name="T96" fmla="*/ 122 w 677"/>
                <a:gd name="T97" fmla="*/ 562 h 688"/>
                <a:gd name="T98" fmla="*/ 147 w 677"/>
                <a:gd name="T99" fmla="*/ 540 h 688"/>
                <a:gd name="T100" fmla="*/ 219 w 677"/>
                <a:gd name="T101" fmla="*/ 671 h 688"/>
                <a:gd name="T102" fmla="*/ 594 w 677"/>
                <a:gd name="T103" fmla="*/ 297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7" h="688">
                  <a:moveTo>
                    <a:pt x="594" y="297"/>
                  </a:moveTo>
                  <a:lnTo>
                    <a:pt x="585" y="281"/>
                  </a:lnTo>
                  <a:lnTo>
                    <a:pt x="585" y="281"/>
                  </a:lnTo>
                  <a:lnTo>
                    <a:pt x="584" y="290"/>
                  </a:lnTo>
                  <a:lnTo>
                    <a:pt x="582" y="299"/>
                  </a:lnTo>
                  <a:lnTo>
                    <a:pt x="579" y="308"/>
                  </a:lnTo>
                  <a:lnTo>
                    <a:pt x="574" y="316"/>
                  </a:lnTo>
                  <a:lnTo>
                    <a:pt x="570" y="323"/>
                  </a:lnTo>
                  <a:lnTo>
                    <a:pt x="564" y="330"/>
                  </a:lnTo>
                  <a:lnTo>
                    <a:pt x="557" y="335"/>
                  </a:lnTo>
                  <a:lnTo>
                    <a:pt x="549" y="339"/>
                  </a:lnTo>
                  <a:lnTo>
                    <a:pt x="549" y="339"/>
                  </a:lnTo>
                  <a:lnTo>
                    <a:pt x="543" y="341"/>
                  </a:lnTo>
                  <a:lnTo>
                    <a:pt x="537" y="344"/>
                  </a:lnTo>
                  <a:lnTo>
                    <a:pt x="530" y="345"/>
                  </a:lnTo>
                  <a:lnTo>
                    <a:pt x="522" y="345"/>
                  </a:lnTo>
                  <a:lnTo>
                    <a:pt x="516" y="344"/>
                  </a:lnTo>
                  <a:lnTo>
                    <a:pt x="510" y="343"/>
                  </a:lnTo>
                  <a:lnTo>
                    <a:pt x="502" y="341"/>
                  </a:lnTo>
                  <a:lnTo>
                    <a:pt x="495" y="338"/>
                  </a:lnTo>
                  <a:lnTo>
                    <a:pt x="483" y="331"/>
                  </a:lnTo>
                  <a:lnTo>
                    <a:pt x="471" y="322"/>
                  </a:lnTo>
                  <a:lnTo>
                    <a:pt x="460" y="310"/>
                  </a:lnTo>
                  <a:lnTo>
                    <a:pt x="450" y="296"/>
                  </a:lnTo>
                  <a:lnTo>
                    <a:pt x="450" y="296"/>
                  </a:lnTo>
                  <a:lnTo>
                    <a:pt x="445" y="280"/>
                  </a:lnTo>
                  <a:lnTo>
                    <a:pt x="443" y="264"/>
                  </a:lnTo>
                  <a:lnTo>
                    <a:pt x="444" y="249"/>
                  </a:lnTo>
                  <a:lnTo>
                    <a:pt x="446" y="233"/>
                  </a:lnTo>
                  <a:lnTo>
                    <a:pt x="448" y="227"/>
                  </a:lnTo>
                  <a:lnTo>
                    <a:pt x="451" y="220"/>
                  </a:lnTo>
                  <a:lnTo>
                    <a:pt x="454" y="214"/>
                  </a:lnTo>
                  <a:lnTo>
                    <a:pt x="458" y="209"/>
                  </a:lnTo>
                  <a:lnTo>
                    <a:pt x="463" y="203"/>
                  </a:lnTo>
                  <a:lnTo>
                    <a:pt x="467" y="199"/>
                  </a:lnTo>
                  <a:lnTo>
                    <a:pt x="473" y="195"/>
                  </a:lnTo>
                  <a:lnTo>
                    <a:pt x="479" y="191"/>
                  </a:lnTo>
                  <a:lnTo>
                    <a:pt x="479" y="191"/>
                  </a:lnTo>
                  <a:lnTo>
                    <a:pt x="488" y="188"/>
                  </a:lnTo>
                  <a:lnTo>
                    <a:pt x="495" y="186"/>
                  </a:lnTo>
                  <a:lnTo>
                    <a:pt x="504" y="186"/>
                  </a:lnTo>
                  <a:lnTo>
                    <a:pt x="514" y="187"/>
                  </a:lnTo>
                  <a:lnTo>
                    <a:pt x="522" y="188"/>
                  </a:lnTo>
                  <a:lnTo>
                    <a:pt x="531" y="191"/>
                  </a:lnTo>
                  <a:lnTo>
                    <a:pt x="540" y="196"/>
                  </a:lnTo>
                  <a:lnTo>
                    <a:pt x="547" y="200"/>
                  </a:lnTo>
                  <a:lnTo>
                    <a:pt x="463" y="24"/>
                  </a:lnTo>
                  <a:lnTo>
                    <a:pt x="456" y="7"/>
                  </a:lnTo>
                  <a:lnTo>
                    <a:pt x="323" y="70"/>
                  </a:lnTo>
                  <a:lnTo>
                    <a:pt x="323" y="70"/>
                  </a:lnTo>
                  <a:lnTo>
                    <a:pt x="321" y="62"/>
                  </a:lnTo>
                  <a:lnTo>
                    <a:pt x="318" y="53"/>
                  </a:lnTo>
                  <a:lnTo>
                    <a:pt x="318" y="53"/>
                  </a:lnTo>
                  <a:lnTo>
                    <a:pt x="313" y="46"/>
                  </a:lnTo>
                  <a:lnTo>
                    <a:pt x="313" y="46"/>
                  </a:lnTo>
                  <a:lnTo>
                    <a:pt x="310" y="37"/>
                  </a:lnTo>
                  <a:lnTo>
                    <a:pt x="310" y="37"/>
                  </a:lnTo>
                  <a:lnTo>
                    <a:pt x="306" y="30"/>
                  </a:lnTo>
                  <a:lnTo>
                    <a:pt x="302" y="25"/>
                  </a:lnTo>
                  <a:lnTo>
                    <a:pt x="297" y="20"/>
                  </a:lnTo>
                  <a:lnTo>
                    <a:pt x="291" y="15"/>
                  </a:lnTo>
                  <a:lnTo>
                    <a:pt x="285" y="11"/>
                  </a:lnTo>
                  <a:lnTo>
                    <a:pt x="278" y="8"/>
                  </a:lnTo>
                  <a:lnTo>
                    <a:pt x="272" y="4"/>
                  </a:lnTo>
                  <a:lnTo>
                    <a:pt x="264" y="2"/>
                  </a:lnTo>
                  <a:lnTo>
                    <a:pt x="257" y="1"/>
                  </a:lnTo>
                  <a:lnTo>
                    <a:pt x="248" y="0"/>
                  </a:lnTo>
                  <a:lnTo>
                    <a:pt x="240" y="0"/>
                  </a:lnTo>
                  <a:lnTo>
                    <a:pt x="232" y="1"/>
                  </a:lnTo>
                  <a:lnTo>
                    <a:pt x="223" y="2"/>
                  </a:lnTo>
                  <a:lnTo>
                    <a:pt x="215" y="4"/>
                  </a:lnTo>
                  <a:lnTo>
                    <a:pt x="206" y="8"/>
                  </a:lnTo>
                  <a:lnTo>
                    <a:pt x="197" y="11"/>
                  </a:lnTo>
                  <a:lnTo>
                    <a:pt x="197" y="11"/>
                  </a:lnTo>
                  <a:lnTo>
                    <a:pt x="189" y="15"/>
                  </a:lnTo>
                  <a:lnTo>
                    <a:pt x="181" y="21"/>
                  </a:lnTo>
                  <a:lnTo>
                    <a:pt x="174" y="26"/>
                  </a:lnTo>
                  <a:lnTo>
                    <a:pt x="167" y="31"/>
                  </a:lnTo>
                  <a:lnTo>
                    <a:pt x="162" y="38"/>
                  </a:lnTo>
                  <a:lnTo>
                    <a:pt x="156" y="44"/>
                  </a:lnTo>
                  <a:lnTo>
                    <a:pt x="152" y="51"/>
                  </a:lnTo>
                  <a:lnTo>
                    <a:pt x="148" y="57"/>
                  </a:lnTo>
                  <a:lnTo>
                    <a:pt x="144" y="65"/>
                  </a:lnTo>
                  <a:lnTo>
                    <a:pt x="142" y="73"/>
                  </a:lnTo>
                  <a:lnTo>
                    <a:pt x="141" y="79"/>
                  </a:lnTo>
                  <a:lnTo>
                    <a:pt x="140" y="87"/>
                  </a:lnTo>
                  <a:lnTo>
                    <a:pt x="140" y="94"/>
                  </a:lnTo>
                  <a:lnTo>
                    <a:pt x="141" y="101"/>
                  </a:lnTo>
                  <a:lnTo>
                    <a:pt x="143" y="108"/>
                  </a:lnTo>
                  <a:lnTo>
                    <a:pt x="146" y="115"/>
                  </a:lnTo>
                  <a:lnTo>
                    <a:pt x="146" y="115"/>
                  </a:lnTo>
                  <a:lnTo>
                    <a:pt x="150" y="123"/>
                  </a:lnTo>
                  <a:lnTo>
                    <a:pt x="150" y="123"/>
                  </a:lnTo>
                  <a:lnTo>
                    <a:pt x="153" y="132"/>
                  </a:lnTo>
                  <a:lnTo>
                    <a:pt x="153" y="132"/>
                  </a:lnTo>
                  <a:lnTo>
                    <a:pt x="157" y="139"/>
                  </a:lnTo>
                  <a:lnTo>
                    <a:pt x="163" y="146"/>
                  </a:lnTo>
                  <a:lnTo>
                    <a:pt x="103" y="174"/>
                  </a:lnTo>
                  <a:lnTo>
                    <a:pt x="5" y="220"/>
                  </a:lnTo>
                  <a:lnTo>
                    <a:pt x="14" y="238"/>
                  </a:lnTo>
                  <a:lnTo>
                    <a:pt x="14" y="238"/>
                  </a:lnTo>
                  <a:lnTo>
                    <a:pt x="73" y="363"/>
                  </a:lnTo>
                  <a:lnTo>
                    <a:pt x="81" y="379"/>
                  </a:lnTo>
                  <a:lnTo>
                    <a:pt x="81" y="379"/>
                  </a:lnTo>
                  <a:lnTo>
                    <a:pt x="69" y="376"/>
                  </a:lnTo>
                  <a:lnTo>
                    <a:pt x="58" y="376"/>
                  </a:lnTo>
                  <a:lnTo>
                    <a:pt x="46" y="377"/>
                  </a:lnTo>
                  <a:lnTo>
                    <a:pt x="36" y="381"/>
                  </a:lnTo>
                  <a:lnTo>
                    <a:pt x="36" y="381"/>
                  </a:lnTo>
                  <a:lnTo>
                    <a:pt x="30" y="385"/>
                  </a:lnTo>
                  <a:lnTo>
                    <a:pt x="24" y="389"/>
                  </a:lnTo>
                  <a:lnTo>
                    <a:pt x="18" y="394"/>
                  </a:lnTo>
                  <a:lnTo>
                    <a:pt x="14" y="400"/>
                  </a:lnTo>
                  <a:lnTo>
                    <a:pt x="9" y="406"/>
                  </a:lnTo>
                  <a:lnTo>
                    <a:pt x="6" y="413"/>
                  </a:lnTo>
                  <a:lnTo>
                    <a:pt x="4" y="419"/>
                  </a:lnTo>
                  <a:lnTo>
                    <a:pt x="2" y="427"/>
                  </a:lnTo>
                  <a:lnTo>
                    <a:pt x="0" y="435"/>
                  </a:lnTo>
                  <a:lnTo>
                    <a:pt x="0" y="443"/>
                  </a:lnTo>
                  <a:lnTo>
                    <a:pt x="0" y="452"/>
                  </a:lnTo>
                  <a:lnTo>
                    <a:pt x="0" y="460"/>
                  </a:lnTo>
                  <a:lnTo>
                    <a:pt x="2" y="469"/>
                  </a:lnTo>
                  <a:lnTo>
                    <a:pt x="4" y="478"/>
                  </a:lnTo>
                  <a:lnTo>
                    <a:pt x="6" y="486"/>
                  </a:lnTo>
                  <a:lnTo>
                    <a:pt x="11" y="494"/>
                  </a:lnTo>
                  <a:lnTo>
                    <a:pt x="11" y="494"/>
                  </a:lnTo>
                  <a:lnTo>
                    <a:pt x="15" y="502"/>
                  </a:lnTo>
                  <a:lnTo>
                    <a:pt x="15" y="502"/>
                  </a:lnTo>
                  <a:lnTo>
                    <a:pt x="18" y="511"/>
                  </a:lnTo>
                  <a:lnTo>
                    <a:pt x="18" y="511"/>
                  </a:lnTo>
                  <a:lnTo>
                    <a:pt x="22" y="519"/>
                  </a:lnTo>
                  <a:lnTo>
                    <a:pt x="28" y="527"/>
                  </a:lnTo>
                  <a:lnTo>
                    <a:pt x="32" y="534"/>
                  </a:lnTo>
                  <a:lnTo>
                    <a:pt x="39" y="540"/>
                  </a:lnTo>
                  <a:lnTo>
                    <a:pt x="44" y="547"/>
                  </a:lnTo>
                  <a:lnTo>
                    <a:pt x="51" y="551"/>
                  </a:lnTo>
                  <a:lnTo>
                    <a:pt x="58" y="556"/>
                  </a:lnTo>
                  <a:lnTo>
                    <a:pt x="65" y="560"/>
                  </a:lnTo>
                  <a:lnTo>
                    <a:pt x="72" y="563"/>
                  </a:lnTo>
                  <a:lnTo>
                    <a:pt x="79" y="565"/>
                  </a:lnTo>
                  <a:lnTo>
                    <a:pt x="86" y="567"/>
                  </a:lnTo>
                  <a:lnTo>
                    <a:pt x="94" y="568"/>
                  </a:lnTo>
                  <a:lnTo>
                    <a:pt x="101" y="567"/>
                  </a:lnTo>
                  <a:lnTo>
                    <a:pt x="108" y="567"/>
                  </a:lnTo>
                  <a:lnTo>
                    <a:pt x="115" y="565"/>
                  </a:lnTo>
                  <a:lnTo>
                    <a:pt x="122" y="562"/>
                  </a:lnTo>
                  <a:lnTo>
                    <a:pt x="122" y="562"/>
                  </a:lnTo>
                  <a:lnTo>
                    <a:pt x="132" y="556"/>
                  </a:lnTo>
                  <a:lnTo>
                    <a:pt x="140" y="549"/>
                  </a:lnTo>
                  <a:lnTo>
                    <a:pt x="147" y="540"/>
                  </a:lnTo>
                  <a:lnTo>
                    <a:pt x="152" y="529"/>
                  </a:lnTo>
                  <a:lnTo>
                    <a:pt x="219" y="671"/>
                  </a:lnTo>
                  <a:lnTo>
                    <a:pt x="219" y="671"/>
                  </a:lnTo>
                  <a:lnTo>
                    <a:pt x="227" y="688"/>
                  </a:lnTo>
                  <a:lnTo>
                    <a:pt x="677" y="474"/>
                  </a:lnTo>
                  <a:lnTo>
                    <a:pt x="594" y="297"/>
                  </a:lnTo>
                  <a:close/>
                </a:path>
              </a:pathLst>
            </a:custGeom>
            <a:solidFill>
              <a:srgbClr val="E5E8E8">
                <a:lumMod val="9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85" name="Freeform 584"/>
            <p:cNvSpPr>
              <a:spLocks noEditPoints="1"/>
            </p:cNvSpPr>
            <p:nvPr/>
          </p:nvSpPr>
          <p:spPr bwMode="auto">
            <a:xfrm>
              <a:off x="6031313" y="491094"/>
              <a:ext cx="373296" cy="308762"/>
            </a:xfrm>
            <a:custGeom>
              <a:avLst/>
              <a:gdLst>
                <a:gd name="T0" fmla="*/ 862 w 869"/>
                <a:gd name="T1" fmla="*/ 318 h 732"/>
                <a:gd name="T2" fmla="*/ 838 w 869"/>
                <a:gd name="T3" fmla="*/ 274 h 732"/>
                <a:gd name="T4" fmla="*/ 537 w 869"/>
                <a:gd name="T5" fmla="*/ 28 h 732"/>
                <a:gd name="T6" fmla="*/ 492 w 869"/>
                <a:gd name="T7" fmla="*/ 4 h 732"/>
                <a:gd name="T8" fmla="*/ 441 w 869"/>
                <a:gd name="T9" fmla="*/ 0 h 732"/>
                <a:gd name="T10" fmla="*/ 404 w 869"/>
                <a:gd name="T11" fmla="*/ 10 h 732"/>
                <a:gd name="T12" fmla="*/ 362 w 869"/>
                <a:gd name="T13" fmla="*/ 39 h 732"/>
                <a:gd name="T14" fmla="*/ 149 w 869"/>
                <a:gd name="T15" fmla="*/ 302 h 732"/>
                <a:gd name="T16" fmla="*/ 131 w 869"/>
                <a:gd name="T17" fmla="*/ 349 h 732"/>
                <a:gd name="T18" fmla="*/ 129 w 869"/>
                <a:gd name="T19" fmla="*/ 386 h 732"/>
                <a:gd name="T20" fmla="*/ 86 w 869"/>
                <a:gd name="T21" fmla="*/ 418 h 732"/>
                <a:gd name="T22" fmla="*/ 35 w 869"/>
                <a:gd name="T23" fmla="*/ 439 h 732"/>
                <a:gd name="T24" fmla="*/ 0 w 869"/>
                <a:gd name="T25" fmla="*/ 447 h 732"/>
                <a:gd name="T26" fmla="*/ 82 w 869"/>
                <a:gd name="T27" fmla="*/ 476 h 732"/>
                <a:gd name="T28" fmla="*/ 173 w 869"/>
                <a:gd name="T29" fmla="*/ 472 h 732"/>
                <a:gd name="T30" fmla="*/ 460 w 869"/>
                <a:gd name="T31" fmla="*/ 704 h 732"/>
                <a:gd name="T32" fmla="*/ 493 w 869"/>
                <a:gd name="T33" fmla="*/ 722 h 732"/>
                <a:gd name="T34" fmla="*/ 543 w 869"/>
                <a:gd name="T35" fmla="*/ 732 h 732"/>
                <a:gd name="T36" fmla="*/ 581 w 869"/>
                <a:gd name="T37" fmla="*/ 726 h 732"/>
                <a:gd name="T38" fmla="*/ 626 w 869"/>
                <a:gd name="T39" fmla="*/ 702 h 732"/>
                <a:gd name="T40" fmla="*/ 839 w 869"/>
                <a:gd name="T41" fmla="*/ 439 h 732"/>
                <a:gd name="T42" fmla="*/ 863 w 869"/>
                <a:gd name="T43" fmla="*/ 395 h 732"/>
                <a:gd name="T44" fmla="*/ 867 w 869"/>
                <a:gd name="T45" fmla="*/ 343 h 732"/>
                <a:gd name="T46" fmla="*/ 253 w 869"/>
                <a:gd name="T47" fmla="*/ 381 h 732"/>
                <a:gd name="T48" fmla="*/ 240 w 869"/>
                <a:gd name="T49" fmla="*/ 339 h 732"/>
                <a:gd name="T50" fmla="*/ 253 w 869"/>
                <a:gd name="T51" fmla="*/ 307 h 732"/>
                <a:gd name="T52" fmla="*/ 292 w 869"/>
                <a:gd name="T53" fmla="*/ 285 h 732"/>
                <a:gd name="T54" fmla="*/ 335 w 869"/>
                <a:gd name="T55" fmla="*/ 298 h 732"/>
                <a:gd name="T56" fmla="*/ 354 w 869"/>
                <a:gd name="T57" fmla="*/ 326 h 732"/>
                <a:gd name="T58" fmla="*/ 351 w 869"/>
                <a:gd name="T59" fmla="*/ 370 h 732"/>
                <a:gd name="T60" fmla="*/ 326 w 869"/>
                <a:gd name="T61" fmla="*/ 396 h 732"/>
                <a:gd name="T62" fmla="*/ 282 w 869"/>
                <a:gd name="T63" fmla="*/ 401 h 732"/>
                <a:gd name="T64" fmla="*/ 397 w 869"/>
                <a:gd name="T65" fmla="*/ 498 h 732"/>
                <a:gd name="T66" fmla="*/ 377 w 869"/>
                <a:gd name="T67" fmla="*/ 470 h 732"/>
                <a:gd name="T68" fmla="*/ 380 w 869"/>
                <a:gd name="T69" fmla="*/ 425 h 732"/>
                <a:gd name="T70" fmla="*/ 405 w 869"/>
                <a:gd name="T71" fmla="*/ 401 h 732"/>
                <a:gd name="T72" fmla="*/ 449 w 869"/>
                <a:gd name="T73" fmla="*/ 396 h 732"/>
                <a:gd name="T74" fmla="*/ 479 w 869"/>
                <a:gd name="T75" fmla="*/ 415 h 732"/>
                <a:gd name="T76" fmla="*/ 492 w 869"/>
                <a:gd name="T77" fmla="*/ 458 h 732"/>
                <a:gd name="T78" fmla="*/ 479 w 869"/>
                <a:gd name="T79" fmla="*/ 489 h 732"/>
                <a:gd name="T80" fmla="*/ 440 w 869"/>
                <a:gd name="T81" fmla="*/ 511 h 732"/>
                <a:gd name="T82" fmla="*/ 397 w 869"/>
                <a:gd name="T83" fmla="*/ 498 h 732"/>
                <a:gd name="T84" fmla="*/ 523 w 869"/>
                <a:gd name="T85" fmla="*/ 598 h 732"/>
                <a:gd name="T86" fmla="*/ 509 w 869"/>
                <a:gd name="T87" fmla="*/ 556 h 732"/>
                <a:gd name="T88" fmla="*/ 522 w 869"/>
                <a:gd name="T89" fmla="*/ 524 h 732"/>
                <a:gd name="T90" fmla="*/ 562 w 869"/>
                <a:gd name="T91" fmla="*/ 502 h 732"/>
                <a:gd name="T92" fmla="*/ 605 w 869"/>
                <a:gd name="T93" fmla="*/ 515 h 732"/>
                <a:gd name="T94" fmla="*/ 624 w 869"/>
                <a:gd name="T95" fmla="*/ 543 h 732"/>
                <a:gd name="T96" fmla="*/ 620 w 869"/>
                <a:gd name="T97" fmla="*/ 587 h 732"/>
                <a:gd name="T98" fmla="*/ 595 w 869"/>
                <a:gd name="T99" fmla="*/ 612 h 732"/>
                <a:gd name="T100" fmla="*/ 552 w 869"/>
                <a:gd name="T101" fmla="*/ 618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9" h="732">
                  <a:moveTo>
                    <a:pt x="867" y="343"/>
                  </a:moveTo>
                  <a:lnTo>
                    <a:pt x="867" y="343"/>
                  </a:lnTo>
                  <a:lnTo>
                    <a:pt x="865" y="331"/>
                  </a:lnTo>
                  <a:lnTo>
                    <a:pt x="862" y="318"/>
                  </a:lnTo>
                  <a:lnTo>
                    <a:pt x="858" y="307"/>
                  </a:lnTo>
                  <a:lnTo>
                    <a:pt x="852" y="295"/>
                  </a:lnTo>
                  <a:lnTo>
                    <a:pt x="846" y="284"/>
                  </a:lnTo>
                  <a:lnTo>
                    <a:pt x="838" y="274"/>
                  </a:lnTo>
                  <a:lnTo>
                    <a:pt x="830" y="264"/>
                  </a:lnTo>
                  <a:lnTo>
                    <a:pt x="820" y="256"/>
                  </a:lnTo>
                  <a:lnTo>
                    <a:pt x="537" y="28"/>
                  </a:lnTo>
                  <a:lnTo>
                    <a:pt x="537" y="28"/>
                  </a:lnTo>
                  <a:lnTo>
                    <a:pt x="526" y="20"/>
                  </a:lnTo>
                  <a:lnTo>
                    <a:pt x="515" y="14"/>
                  </a:lnTo>
                  <a:lnTo>
                    <a:pt x="503" y="8"/>
                  </a:lnTo>
                  <a:lnTo>
                    <a:pt x="492" y="4"/>
                  </a:lnTo>
                  <a:lnTo>
                    <a:pt x="480" y="2"/>
                  </a:lnTo>
                  <a:lnTo>
                    <a:pt x="467" y="0"/>
                  </a:lnTo>
                  <a:lnTo>
                    <a:pt x="454" y="0"/>
                  </a:lnTo>
                  <a:lnTo>
                    <a:pt x="441" y="0"/>
                  </a:lnTo>
                  <a:lnTo>
                    <a:pt x="441" y="0"/>
                  </a:lnTo>
                  <a:lnTo>
                    <a:pt x="428" y="2"/>
                  </a:lnTo>
                  <a:lnTo>
                    <a:pt x="416" y="5"/>
                  </a:lnTo>
                  <a:lnTo>
                    <a:pt x="404" y="10"/>
                  </a:lnTo>
                  <a:lnTo>
                    <a:pt x="392" y="15"/>
                  </a:lnTo>
                  <a:lnTo>
                    <a:pt x="381" y="21"/>
                  </a:lnTo>
                  <a:lnTo>
                    <a:pt x="371" y="30"/>
                  </a:lnTo>
                  <a:lnTo>
                    <a:pt x="362" y="39"/>
                  </a:lnTo>
                  <a:lnTo>
                    <a:pt x="353" y="48"/>
                  </a:lnTo>
                  <a:lnTo>
                    <a:pt x="157" y="291"/>
                  </a:lnTo>
                  <a:lnTo>
                    <a:pt x="157" y="291"/>
                  </a:lnTo>
                  <a:lnTo>
                    <a:pt x="149" y="302"/>
                  </a:lnTo>
                  <a:lnTo>
                    <a:pt x="143" y="313"/>
                  </a:lnTo>
                  <a:lnTo>
                    <a:pt x="137" y="324"/>
                  </a:lnTo>
                  <a:lnTo>
                    <a:pt x="133" y="336"/>
                  </a:lnTo>
                  <a:lnTo>
                    <a:pt x="131" y="349"/>
                  </a:lnTo>
                  <a:lnTo>
                    <a:pt x="129" y="361"/>
                  </a:lnTo>
                  <a:lnTo>
                    <a:pt x="128" y="374"/>
                  </a:lnTo>
                  <a:lnTo>
                    <a:pt x="129" y="386"/>
                  </a:lnTo>
                  <a:lnTo>
                    <a:pt x="129" y="386"/>
                  </a:lnTo>
                  <a:lnTo>
                    <a:pt x="119" y="395"/>
                  </a:lnTo>
                  <a:lnTo>
                    <a:pt x="108" y="404"/>
                  </a:lnTo>
                  <a:lnTo>
                    <a:pt x="97" y="411"/>
                  </a:lnTo>
                  <a:lnTo>
                    <a:pt x="86" y="418"/>
                  </a:lnTo>
                  <a:lnTo>
                    <a:pt x="74" y="424"/>
                  </a:lnTo>
                  <a:lnTo>
                    <a:pt x="61" y="431"/>
                  </a:lnTo>
                  <a:lnTo>
                    <a:pt x="48" y="435"/>
                  </a:lnTo>
                  <a:lnTo>
                    <a:pt x="35" y="439"/>
                  </a:lnTo>
                  <a:lnTo>
                    <a:pt x="35" y="439"/>
                  </a:lnTo>
                  <a:lnTo>
                    <a:pt x="17" y="444"/>
                  </a:lnTo>
                  <a:lnTo>
                    <a:pt x="0" y="447"/>
                  </a:lnTo>
                  <a:lnTo>
                    <a:pt x="0" y="447"/>
                  </a:lnTo>
                  <a:lnTo>
                    <a:pt x="20" y="457"/>
                  </a:lnTo>
                  <a:lnTo>
                    <a:pt x="40" y="465"/>
                  </a:lnTo>
                  <a:lnTo>
                    <a:pt x="61" y="472"/>
                  </a:lnTo>
                  <a:lnTo>
                    <a:pt x="82" y="476"/>
                  </a:lnTo>
                  <a:lnTo>
                    <a:pt x="105" y="478"/>
                  </a:lnTo>
                  <a:lnTo>
                    <a:pt x="128" y="478"/>
                  </a:lnTo>
                  <a:lnTo>
                    <a:pt x="150" y="476"/>
                  </a:lnTo>
                  <a:lnTo>
                    <a:pt x="173" y="472"/>
                  </a:lnTo>
                  <a:lnTo>
                    <a:pt x="173" y="472"/>
                  </a:lnTo>
                  <a:lnTo>
                    <a:pt x="176" y="475"/>
                  </a:lnTo>
                  <a:lnTo>
                    <a:pt x="460" y="703"/>
                  </a:lnTo>
                  <a:lnTo>
                    <a:pt x="460" y="704"/>
                  </a:lnTo>
                  <a:lnTo>
                    <a:pt x="460" y="704"/>
                  </a:lnTo>
                  <a:lnTo>
                    <a:pt x="470" y="712"/>
                  </a:lnTo>
                  <a:lnTo>
                    <a:pt x="482" y="718"/>
                  </a:lnTo>
                  <a:lnTo>
                    <a:pt x="493" y="722"/>
                  </a:lnTo>
                  <a:lnTo>
                    <a:pt x="506" y="727"/>
                  </a:lnTo>
                  <a:lnTo>
                    <a:pt x="518" y="730"/>
                  </a:lnTo>
                  <a:lnTo>
                    <a:pt x="530" y="732"/>
                  </a:lnTo>
                  <a:lnTo>
                    <a:pt x="543" y="732"/>
                  </a:lnTo>
                  <a:lnTo>
                    <a:pt x="556" y="731"/>
                  </a:lnTo>
                  <a:lnTo>
                    <a:pt x="556" y="731"/>
                  </a:lnTo>
                  <a:lnTo>
                    <a:pt x="568" y="729"/>
                  </a:lnTo>
                  <a:lnTo>
                    <a:pt x="581" y="726"/>
                  </a:lnTo>
                  <a:lnTo>
                    <a:pt x="593" y="721"/>
                  </a:lnTo>
                  <a:lnTo>
                    <a:pt x="605" y="716"/>
                  </a:lnTo>
                  <a:lnTo>
                    <a:pt x="616" y="709"/>
                  </a:lnTo>
                  <a:lnTo>
                    <a:pt x="626" y="702"/>
                  </a:lnTo>
                  <a:lnTo>
                    <a:pt x="635" y="693"/>
                  </a:lnTo>
                  <a:lnTo>
                    <a:pt x="644" y="683"/>
                  </a:lnTo>
                  <a:lnTo>
                    <a:pt x="839" y="439"/>
                  </a:lnTo>
                  <a:lnTo>
                    <a:pt x="839" y="439"/>
                  </a:lnTo>
                  <a:lnTo>
                    <a:pt x="847" y="430"/>
                  </a:lnTo>
                  <a:lnTo>
                    <a:pt x="853" y="418"/>
                  </a:lnTo>
                  <a:lnTo>
                    <a:pt x="859" y="407"/>
                  </a:lnTo>
                  <a:lnTo>
                    <a:pt x="863" y="395"/>
                  </a:lnTo>
                  <a:lnTo>
                    <a:pt x="866" y="382"/>
                  </a:lnTo>
                  <a:lnTo>
                    <a:pt x="869" y="369"/>
                  </a:lnTo>
                  <a:lnTo>
                    <a:pt x="869" y="357"/>
                  </a:lnTo>
                  <a:lnTo>
                    <a:pt x="867" y="343"/>
                  </a:lnTo>
                  <a:lnTo>
                    <a:pt x="867" y="343"/>
                  </a:lnTo>
                  <a:close/>
                  <a:moveTo>
                    <a:pt x="262" y="390"/>
                  </a:moveTo>
                  <a:lnTo>
                    <a:pt x="262" y="390"/>
                  </a:lnTo>
                  <a:lnTo>
                    <a:pt x="253" y="381"/>
                  </a:lnTo>
                  <a:lnTo>
                    <a:pt x="246" y="371"/>
                  </a:lnTo>
                  <a:lnTo>
                    <a:pt x="242" y="362"/>
                  </a:lnTo>
                  <a:lnTo>
                    <a:pt x="240" y="350"/>
                  </a:lnTo>
                  <a:lnTo>
                    <a:pt x="240" y="339"/>
                  </a:lnTo>
                  <a:lnTo>
                    <a:pt x="242" y="328"/>
                  </a:lnTo>
                  <a:lnTo>
                    <a:pt x="246" y="317"/>
                  </a:lnTo>
                  <a:lnTo>
                    <a:pt x="253" y="307"/>
                  </a:lnTo>
                  <a:lnTo>
                    <a:pt x="253" y="307"/>
                  </a:lnTo>
                  <a:lnTo>
                    <a:pt x="260" y="298"/>
                  </a:lnTo>
                  <a:lnTo>
                    <a:pt x="270" y="293"/>
                  </a:lnTo>
                  <a:lnTo>
                    <a:pt x="281" y="287"/>
                  </a:lnTo>
                  <a:lnTo>
                    <a:pt x="292" y="285"/>
                  </a:lnTo>
                  <a:lnTo>
                    <a:pt x="304" y="285"/>
                  </a:lnTo>
                  <a:lnTo>
                    <a:pt x="314" y="287"/>
                  </a:lnTo>
                  <a:lnTo>
                    <a:pt x="325" y="291"/>
                  </a:lnTo>
                  <a:lnTo>
                    <a:pt x="335" y="298"/>
                  </a:lnTo>
                  <a:lnTo>
                    <a:pt x="335" y="298"/>
                  </a:lnTo>
                  <a:lnTo>
                    <a:pt x="344" y="307"/>
                  </a:lnTo>
                  <a:lnTo>
                    <a:pt x="350" y="316"/>
                  </a:lnTo>
                  <a:lnTo>
                    <a:pt x="354" y="326"/>
                  </a:lnTo>
                  <a:lnTo>
                    <a:pt x="357" y="338"/>
                  </a:lnTo>
                  <a:lnTo>
                    <a:pt x="357" y="349"/>
                  </a:lnTo>
                  <a:lnTo>
                    <a:pt x="356" y="359"/>
                  </a:lnTo>
                  <a:lnTo>
                    <a:pt x="351" y="370"/>
                  </a:lnTo>
                  <a:lnTo>
                    <a:pt x="345" y="381"/>
                  </a:lnTo>
                  <a:lnTo>
                    <a:pt x="345" y="381"/>
                  </a:lnTo>
                  <a:lnTo>
                    <a:pt x="336" y="390"/>
                  </a:lnTo>
                  <a:lnTo>
                    <a:pt x="326" y="396"/>
                  </a:lnTo>
                  <a:lnTo>
                    <a:pt x="316" y="401"/>
                  </a:lnTo>
                  <a:lnTo>
                    <a:pt x="305" y="403"/>
                  </a:lnTo>
                  <a:lnTo>
                    <a:pt x="294" y="403"/>
                  </a:lnTo>
                  <a:lnTo>
                    <a:pt x="282" y="401"/>
                  </a:lnTo>
                  <a:lnTo>
                    <a:pt x="271" y="396"/>
                  </a:lnTo>
                  <a:lnTo>
                    <a:pt x="262" y="390"/>
                  </a:lnTo>
                  <a:lnTo>
                    <a:pt x="262" y="390"/>
                  </a:lnTo>
                  <a:close/>
                  <a:moveTo>
                    <a:pt x="397" y="498"/>
                  </a:moveTo>
                  <a:lnTo>
                    <a:pt x="397" y="498"/>
                  </a:lnTo>
                  <a:lnTo>
                    <a:pt x="388" y="490"/>
                  </a:lnTo>
                  <a:lnTo>
                    <a:pt x="381" y="480"/>
                  </a:lnTo>
                  <a:lnTo>
                    <a:pt x="377" y="470"/>
                  </a:lnTo>
                  <a:lnTo>
                    <a:pt x="375" y="459"/>
                  </a:lnTo>
                  <a:lnTo>
                    <a:pt x="375" y="447"/>
                  </a:lnTo>
                  <a:lnTo>
                    <a:pt x="376" y="436"/>
                  </a:lnTo>
                  <a:lnTo>
                    <a:pt x="380" y="425"/>
                  </a:lnTo>
                  <a:lnTo>
                    <a:pt x="387" y="416"/>
                  </a:lnTo>
                  <a:lnTo>
                    <a:pt x="387" y="416"/>
                  </a:lnTo>
                  <a:lnTo>
                    <a:pt x="395" y="407"/>
                  </a:lnTo>
                  <a:lnTo>
                    <a:pt x="405" y="401"/>
                  </a:lnTo>
                  <a:lnTo>
                    <a:pt x="416" y="396"/>
                  </a:lnTo>
                  <a:lnTo>
                    <a:pt x="427" y="394"/>
                  </a:lnTo>
                  <a:lnTo>
                    <a:pt x="438" y="394"/>
                  </a:lnTo>
                  <a:lnTo>
                    <a:pt x="449" y="396"/>
                  </a:lnTo>
                  <a:lnTo>
                    <a:pt x="460" y="399"/>
                  </a:lnTo>
                  <a:lnTo>
                    <a:pt x="470" y="407"/>
                  </a:lnTo>
                  <a:lnTo>
                    <a:pt x="470" y="407"/>
                  </a:lnTo>
                  <a:lnTo>
                    <a:pt x="479" y="415"/>
                  </a:lnTo>
                  <a:lnTo>
                    <a:pt x="485" y="424"/>
                  </a:lnTo>
                  <a:lnTo>
                    <a:pt x="489" y="435"/>
                  </a:lnTo>
                  <a:lnTo>
                    <a:pt x="492" y="446"/>
                  </a:lnTo>
                  <a:lnTo>
                    <a:pt x="492" y="458"/>
                  </a:lnTo>
                  <a:lnTo>
                    <a:pt x="489" y="469"/>
                  </a:lnTo>
                  <a:lnTo>
                    <a:pt x="485" y="479"/>
                  </a:lnTo>
                  <a:lnTo>
                    <a:pt x="479" y="489"/>
                  </a:lnTo>
                  <a:lnTo>
                    <a:pt x="479" y="489"/>
                  </a:lnTo>
                  <a:lnTo>
                    <a:pt x="471" y="498"/>
                  </a:lnTo>
                  <a:lnTo>
                    <a:pt x="461" y="504"/>
                  </a:lnTo>
                  <a:lnTo>
                    <a:pt x="451" y="509"/>
                  </a:lnTo>
                  <a:lnTo>
                    <a:pt x="440" y="511"/>
                  </a:lnTo>
                  <a:lnTo>
                    <a:pt x="428" y="511"/>
                  </a:lnTo>
                  <a:lnTo>
                    <a:pt x="417" y="509"/>
                  </a:lnTo>
                  <a:lnTo>
                    <a:pt x="406" y="504"/>
                  </a:lnTo>
                  <a:lnTo>
                    <a:pt x="397" y="498"/>
                  </a:lnTo>
                  <a:lnTo>
                    <a:pt x="397" y="498"/>
                  </a:lnTo>
                  <a:close/>
                  <a:moveTo>
                    <a:pt x="530" y="607"/>
                  </a:moveTo>
                  <a:lnTo>
                    <a:pt x="530" y="607"/>
                  </a:lnTo>
                  <a:lnTo>
                    <a:pt x="523" y="598"/>
                  </a:lnTo>
                  <a:lnTo>
                    <a:pt x="516" y="588"/>
                  </a:lnTo>
                  <a:lnTo>
                    <a:pt x="512" y="578"/>
                  </a:lnTo>
                  <a:lnTo>
                    <a:pt x="509" y="567"/>
                  </a:lnTo>
                  <a:lnTo>
                    <a:pt x="509" y="556"/>
                  </a:lnTo>
                  <a:lnTo>
                    <a:pt x="511" y="544"/>
                  </a:lnTo>
                  <a:lnTo>
                    <a:pt x="515" y="533"/>
                  </a:lnTo>
                  <a:lnTo>
                    <a:pt x="522" y="524"/>
                  </a:lnTo>
                  <a:lnTo>
                    <a:pt x="522" y="524"/>
                  </a:lnTo>
                  <a:lnTo>
                    <a:pt x="530" y="515"/>
                  </a:lnTo>
                  <a:lnTo>
                    <a:pt x="540" y="509"/>
                  </a:lnTo>
                  <a:lnTo>
                    <a:pt x="551" y="504"/>
                  </a:lnTo>
                  <a:lnTo>
                    <a:pt x="562" y="502"/>
                  </a:lnTo>
                  <a:lnTo>
                    <a:pt x="573" y="502"/>
                  </a:lnTo>
                  <a:lnTo>
                    <a:pt x="584" y="504"/>
                  </a:lnTo>
                  <a:lnTo>
                    <a:pt x="595" y="509"/>
                  </a:lnTo>
                  <a:lnTo>
                    <a:pt x="605" y="515"/>
                  </a:lnTo>
                  <a:lnTo>
                    <a:pt x="605" y="515"/>
                  </a:lnTo>
                  <a:lnTo>
                    <a:pt x="614" y="524"/>
                  </a:lnTo>
                  <a:lnTo>
                    <a:pt x="620" y="533"/>
                  </a:lnTo>
                  <a:lnTo>
                    <a:pt x="624" y="543"/>
                  </a:lnTo>
                  <a:lnTo>
                    <a:pt x="627" y="555"/>
                  </a:lnTo>
                  <a:lnTo>
                    <a:pt x="627" y="566"/>
                  </a:lnTo>
                  <a:lnTo>
                    <a:pt x="624" y="577"/>
                  </a:lnTo>
                  <a:lnTo>
                    <a:pt x="620" y="587"/>
                  </a:lnTo>
                  <a:lnTo>
                    <a:pt x="614" y="598"/>
                  </a:lnTo>
                  <a:lnTo>
                    <a:pt x="614" y="598"/>
                  </a:lnTo>
                  <a:lnTo>
                    <a:pt x="605" y="606"/>
                  </a:lnTo>
                  <a:lnTo>
                    <a:pt x="595" y="612"/>
                  </a:lnTo>
                  <a:lnTo>
                    <a:pt x="586" y="617"/>
                  </a:lnTo>
                  <a:lnTo>
                    <a:pt x="574" y="620"/>
                  </a:lnTo>
                  <a:lnTo>
                    <a:pt x="563" y="620"/>
                  </a:lnTo>
                  <a:lnTo>
                    <a:pt x="552" y="618"/>
                  </a:lnTo>
                  <a:lnTo>
                    <a:pt x="541" y="613"/>
                  </a:lnTo>
                  <a:lnTo>
                    <a:pt x="530" y="607"/>
                  </a:lnTo>
                  <a:lnTo>
                    <a:pt x="530" y="607"/>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86" name="Freeform 585"/>
            <p:cNvSpPr>
              <a:spLocks noEditPoints="1"/>
            </p:cNvSpPr>
            <p:nvPr/>
          </p:nvSpPr>
          <p:spPr bwMode="auto">
            <a:xfrm>
              <a:off x="6596037" y="1722539"/>
              <a:ext cx="149663" cy="121480"/>
            </a:xfrm>
            <a:custGeom>
              <a:avLst/>
              <a:gdLst>
                <a:gd name="T0" fmla="*/ 166 w 349"/>
                <a:gd name="T1" fmla="*/ 0 h 285"/>
                <a:gd name="T2" fmla="*/ 120 w 349"/>
                <a:gd name="T3" fmla="*/ 198 h 285"/>
                <a:gd name="T4" fmla="*/ 107 w 349"/>
                <a:gd name="T5" fmla="*/ 181 h 285"/>
                <a:gd name="T6" fmla="*/ 96 w 349"/>
                <a:gd name="T7" fmla="*/ 169 h 285"/>
                <a:gd name="T8" fmla="*/ 82 w 349"/>
                <a:gd name="T9" fmla="*/ 162 h 285"/>
                <a:gd name="T10" fmla="*/ 74 w 349"/>
                <a:gd name="T11" fmla="*/ 159 h 285"/>
                <a:gd name="T12" fmla="*/ 61 w 349"/>
                <a:gd name="T13" fmla="*/ 158 h 285"/>
                <a:gd name="T14" fmla="*/ 47 w 349"/>
                <a:gd name="T15" fmla="*/ 160 h 285"/>
                <a:gd name="T16" fmla="*/ 24 w 349"/>
                <a:gd name="T17" fmla="*/ 171 h 285"/>
                <a:gd name="T18" fmla="*/ 6 w 349"/>
                <a:gd name="T19" fmla="*/ 183 h 285"/>
                <a:gd name="T20" fmla="*/ 0 w 349"/>
                <a:gd name="T21" fmla="*/ 189 h 285"/>
                <a:gd name="T22" fmla="*/ 7 w 349"/>
                <a:gd name="T23" fmla="*/ 206 h 285"/>
                <a:gd name="T24" fmla="*/ 21 w 349"/>
                <a:gd name="T25" fmla="*/ 225 h 285"/>
                <a:gd name="T26" fmla="*/ 35 w 349"/>
                <a:gd name="T27" fmla="*/ 239 h 285"/>
                <a:gd name="T28" fmla="*/ 47 w 349"/>
                <a:gd name="T29" fmla="*/ 246 h 285"/>
                <a:gd name="T30" fmla="*/ 54 w 349"/>
                <a:gd name="T31" fmla="*/ 248 h 285"/>
                <a:gd name="T32" fmla="*/ 67 w 349"/>
                <a:gd name="T33" fmla="*/ 249 h 285"/>
                <a:gd name="T34" fmla="*/ 80 w 349"/>
                <a:gd name="T35" fmla="*/ 248 h 285"/>
                <a:gd name="T36" fmla="*/ 102 w 349"/>
                <a:gd name="T37" fmla="*/ 238 h 285"/>
                <a:gd name="T38" fmla="*/ 121 w 349"/>
                <a:gd name="T39" fmla="*/ 226 h 285"/>
                <a:gd name="T40" fmla="*/ 129 w 349"/>
                <a:gd name="T41" fmla="*/ 219 h 285"/>
                <a:gd name="T42" fmla="*/ 317 w 349"/>
                <a:gd name="T43" fmla="*/ 114 h 285"/>
                <a:gd name="T44" fmla="*/ 289 w 349"/>
                <a:gd name="T45" fmla="*/ 234 h 285"/>
                <a:gd name="T46" fmla="*/ 276 w 349"/>
                <a:gd name="T47" fmla="*/ 217 h 285"/>
                <a:gd name="T48" fmla="*/ 265 w 349"/>
                <a:gd name="T49" fmla="*/ 206 h 285"/>
                <a:gd name="T50" fmla="*/ 251 w 349"/>
                <a:gd name="T51" fmla="*/ 197 h 285"/>
                <a:gd name="T52" fmla="*/ 244 w 349"/>
                <a:gd name="T53" fmla="*/ 195 h 285"/>
                <a:gd name="T54" fmla="*/ 231 w 349"/>
                <a:gd name="T55" fmla="*/ 194 h 285"/>
                <a:gd name="T56" fmla="*/ 218 w 349"/>
                <a:gd name="T57" fmla="*/ 196 h 285"/>
                <a:gd name="T58" fmla="*/ 193 w 349"/>
                <a:gd name="T59" fmla="*/ 207 h 285"/>
                <a:gd name="T60" fmla="*/ 176 w 349"/>
                <a:gd name="T61" fmla="*/ 219 h 285"/>
                <a:gd name="T62" fmla="*/ 169 w 349"/>
                <a:gd name="T63" fmla="*/ 224 h 285"/>
                <a:gd name="T64" fmla="*/ 177 w 349"/>
                <a:gd name="T65" fmla="*/ 241 h 285"/>
                <a:gd name="T66" fmla="*/ 191 w 349"/>
                <a:gd name="T67" fmla="*/ 261 h 285"/>
                <a:gd name="T68" fmla="*/ 205 w 349"/>
                <a:gd name="T69" fmla="*/ 275 h 285"/>
                <a:gd name="T70" fmla="*/ 217 w 349"/>
                <a:gd name="T71" fmla="*/ 281 h 285"/>
                <a:gd name="T72" fmla="*/ 223 w 349"/>
                <a:gd name="T73" fmla="*/ 284 h 285"/>
                <a:gd name="T74" fmla="*/ 236 w 349"/>
                <a:gd name="T75" fmla="*/ 285 h 285"/>
                <a:gd name="T76" fmla="*/ 249 w 349"/>
                <a:gd name="T77" fmla="*/ 284 h 285"/>
                <a:gd name="T78" fmla="*/ 272 w 349"/>
                <a:gd name="T79" fmla="*/ 274 h 285"/>
                <a:gd name="T80" fmla="*/ 290 w 349"/>
                <a:gd name="T81" fmla="*/ 262 h 285"/>
                <a:gd name="T82" fmla="*/ 299 w 349"/>
                <a:gd name="T83" fmla="*/ 254 h 285"/>
                <a:gd name="T84" fmla="*/ 322 w 349"/>
                <a:gd name="T85" fmla="*/ 96 h 285"/>
                <a:gd name="T86" fmla="*/ 175 w 349"/>
                <a:gd name="T87" fmla="*/ 21 h 285"/>
                <a:gd name="T88" fmla="*/ 322 w 349"/>
                <a:gd name="T89" fmla="*/ 96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9" h="285">
                  <a:moveTo>
                    <a:pt x="349" y="42"/>
                  </a:moveTo>
                  <a:lnTo>
                    <a:pt x="166" y="0"/>
                  </a:lnTo>
                  <a:lnTo>
                    <a:pt x="120" y="198"/>
                  </a:lnTo>
                  <a:lnTo>
                    <a:pt x="120" y="198"/>
                  </a:lnTo>
                  <a:lnTo>
                    <a:pt x="112" y="186"/>
                  </a:lnTo>
                  <a:lnTo>
                    <a:pt x="107" y="181"/>
                  </a:lnTo>
                  <a:lnTo>
                    <a:pt x="101" y="174"/>
                  </a:lnTo>
                  <a:lnTo>
                    <a:pt x="96" y="169"/>
                  </a:lnTo>
                  <a:lnTo>
                    <a:pt x="89" y="165"/>
                  </a:lnTo>
                  <a:lnTo>
                    <a:pt x="82" y="162"/>
                  </a:lnTo>
                  <a:lnTo>
                    <a:pt x="74" y="159"/>
                  </a:lnTo>
                  <a:lnTo>
                    <a:pt x="74" y="159"/>
                  </a:lnTo>
                  <a:lnTo>
                    <a:pt x="68" y="158"/>
                  </a:lnTo>
                  <a:lnTo>
                    <a:pt x="61" y="158"/>
                  </a:lnTo>
                  <a:lnTo>
                    <a:pt x="55" y="158"/>
                  </a:lnTo>
                  <a:lnTo>
                    <a:pt x="47" y="160"/>
                  </a:lnTo>
                  <a:lnTo>
                    <a:pt x="35" y="165"/>
                  </a:lnTo>
                  <a:lnTo>
                    <a:pt x="24" y="171"/>
                  </a:lnTo>
                  <a:lnTo>
                    <a:pt x="14" y="177"/>
                  </a:lnTo>
                  <a:lnTo>
                    <a:pt x="6" y="183"/>
                  </a:lnTo>
                  <a:lnTo>
                    <a:pt x="0" y="189"/>
                  </a:lnTo>
                  <a:lnTo>
                    <a:pt x="0" y="189"/>
                  </a:lnTo>
                  <a:lnTo>
                    <a:pt x="3" y="197"/>
                  </a:lnTo>
                  <a:lnTo>
                    <a:pt x="7" y="206"/>
                  </a:lnTo>
                  <a:lnTo>
                    <a:pt x="13" y="216"/>
                  </a:lnTo>
                  <a:lnTo>
                    <a:pt x="21" y="225"/>
                  </a:lnTo>
                  <a:lnTo>
                    <a:pt x="30" y="235"/>
                  </a:lnTo>
                  <a:lnTo>
                    <a:pt x="35" y="239"/>
                  </a:lnTo>
                  <a:lnTo>
                    <a:pt x="42" y="244"/>
                  </a:lnTo>
                  <a:lnTo>
                    <a:pt x="47" y="246"/>
                  </a:lnTo>
                  <a:lnTo>
                    <a:pt x="54" y="248"/>
                  </a:lnTo>
                  <a:lnTo>
                    <a:pt x="54" y="248"/>
                  </a:lnTo>
                  <a:lnTo>
                    <a:pt x="60" y="249"/>
                  </a:lnTo>
                  <a:lnTo>
                    <a:pt x="67" y="249"/>
                  </a:lnTo>
                  <a:lnTo>
                    <a:pt x="73" y="249"/>
                  </a:lnTo>
                  <a:lnTo>
                    <a:pt x="80" y="248"/>
                  </a:lnTo>
                  <a:lnTo>
                    <a:pt x="92" y="244"/>
                  </a:lnTo>
                  <a:lnTo>
                    <a:pt x="102" y="238"/>
                  </a:lnTo>
                  <a:lnTo>
                    <a:pt x="112" y="232"/>
                  </a:lnTo>
                  <a:lnTo>
                    <a:pt x="121" y="226"/>
                  </a:lnTo>
                  <a:lnTo>
                    <a:pt x="129" y="219"/>
                  </a:lnTo>
                  <a:lnTo>
                    <a:pt x="129" y="219"/>
                  </a:lnTo>
                  <a:lnTo>
                    <a:pt x="162" y="78"/>
                  </a:lnTo>
                  <a:lnTo>
                    <a:pt x="317" y="114"/>
                  </a:lnTo>
                  <a:lnTo>
                    <a:pt x="289" y="234"/>
                  </a:lnTo>
                  <a:lnTo>
                    <a:pt x="289" y="234"/>
                  </a:lnTo>
                  <a:lnTo>
                    <a:pt x="282" y="222"/>
                  </a:lnTo>
                  <a:lnTo>
                    <a:pt x="276" y="217"/>
                  </a:lnTo>
                  <a:lnTo>
                    <a:pt x="271" y="210"/>
                  </a:lnTo>
                  <a:lnTo>
                    <a:pt x="265" y="206"/>
                  </a:lnTo>
                  <a:lnTo>
                    <a:pt x="259" y="200"/>
                  </a:lnTo>
                  <a:lnTo>
                    <a:pt x="251" y="197"/>
                  </a:lnTo>
                  <a:lnTo>
                    <a:pt x="244" y="195"/>
                  </a:lnTo>
                  <a:lnTo>
                    <a:pt x="244" y="195"/>
                  </a:lnTo>
                  <a:lnTo>
                    <a:pt x="237" y="194"/>
                  </a:lnTo>
                  <a:lnTo>
                    <a:pt x="231" y="194"/>
                  </a:lnTo>
                  <a:lnTo>
                    <a:pt x="224" y="194"/>
                  </a:lnTo>
                  <a:lnTo>
                    <a:pt x="218" y="196"/>
                  </a:lnTo>
                  <a:lnTo>
                    <a:pt x="205" y="200"/>
                  </a:lnTo>
                  <a:lnTo>
                    <a:pt x="193" y="207"/>
                  </a:lnTo>
                  <a:lnTo>
                    <a:pt x="183" y="212"/>
                  </a:lnTo>
                  <a:lnTo>
                    <a:pt x="176" y="219"/>
                  </a:lnTo>
                  <a:lnTo>
                    <a:pt x="169" y="224"/>
                  </a:lnTo>
                  <a:lnTo>
                    <a:pt x="169" y="224"/>
                  </a:lnTo>
                  <a:lnTo>
                    <a:pt x="173" y="233"/>
                  </a:lnTo>
                  <a:lnTo>
                    <a:pt x="177" y="241"/>
                  </a:lnTo>
                  <a:lnTo>
                    <a:pt x="183" y="251"/>
                  </a:lnTo>
                  <a:lnTo>
                    <a:pt x="191" y="261"/>
                  </a:lnTo>
                  <a:lnTo>
                    <a:pt x="200" y="271"/>
                  </a:lnTo>
                  <a:lnTo>
                    <a:pt x="205" y="275"/>
                  </a:lnTo>
                  <a:lnTo>
                    <a:pt x="211" y="279"/>
                  </a:lnTo>
                  <a:lnTo>
                    <a:pt x="217" y="281"/>
                  </a:lnTo>
                  <a:lnTo>
                    <a:pt x="223" y="284"/>
                  </a:lnTo>
                  <a:lnTo>
                    <a:pt x="223" y="284"/>
                  </a:lnTo>
                  <a:lnTo>
                    <a:pt x="230" y="285"/>
                  </a:lnTo>
                  <a:lnTo>
                    <a:pt x="236" y="285"/>
                  </a:lnTo>
                  <a:lnTo>
                    <a:pt x="243" y="285"/>
                  </a:lnTo>
                  <a:lnTo>
                    <a:pt x="249" y="284"/>
                  </a:lnTo>
                  <a:lnTo>
                    <a:pt x="261" y="279"/>
                  </a:lnTo>
                  <a:lnTo>
                    <a:pt x="272" y="274"/>
                  </a:lnTo>
                  <a:lnTo>
                    <a:pt x="282" y="267"/>
                  </a:lnTo>
                  <a:lnTo>
                    <a:pt x="290" y="262"/>
                  </a:lnTo>
                  <a:lnTo>
                    <a:pt x="299" y="254"/>
                  </a:lnTo>
                  <a:lnTo>
                    <a:pt x="299" y="254"/>
                  </a:lnTo>
                  <a:lnTo>
                    <a:pt x="349" y="42"/>
                  </a:lnTo>
                  <a:close/>
                  <a:moveTo>
                    <a:pt x="322" y="96"/>
                  </a:moveTo>
                  <a:lnTo>
                    <a:pt x="166" y="60"/>
                  </a:lnTo>
                  <a:lnTo>
                    <a:pt x="175" y="21"/>
                  </a:lnTo>
                  <a:lnTo>
                    <a:pt x="330" y="57"/>
                  </a:lnTo>
                  <a:lnTo>
                    <a:pt x="322" y="96"/>
                  </a:lnTo>
                  <a:close/>
                </a:path>
              </a:pathLst>
            </a:custGeom>
            <a:solidFill>
              <a:srgbClr val="E5E8E8">
                <a:lumMod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nvGrpSpPr>
            <p:cNvPr id="587" name="Group 586"/>
            <p:cNvGrpSpPr/>
            <p:nvPr/>
          </p:nvGrpSpPr>
          <p:grpSpPr>
            <a:xfrm>
              <a:off x="3556725" y="188561"/>
              <a:ext cx="626173" cy="1061263"/>
              <a:chOff x="3519335" y="77578"/>
              <a:chExt cx="626173" cy="1061263"/>
            </a:xfrm>
          </p:grpSpPr>
          <p:sp>
            <p:nvSpPr>
              <p:cNvPr id="649" name="Freeform 648"/>
              <p:cNvSpPr>
                <a:spLocks/>
              </p:cNvSpPr>
              <p:nvPr/>
            </p:nvSpPr>
            <p:spPr bwMode="auto">
              <a:xfrm>
                <a:off x="3519335" y="249675"/>
                <a:ext cx="626173" cy="889166"/>
              </a:xfrm>
              <a:custGeom>
                <a:avLst/>
                <a:gdLst>
                  <a:gd name="T0" fmla="*/ 836 w 1454"/>
                  <a:gd name="T1" fmla="*/ 0 h 2106"/>
                  <a:gd name="T2" fmla="*/ 0 w 1454"/>
                  <a:gd name="T3" fmla="*/ 284 h 2106"/>
                  <a:gd name="T4" fmla="*/ 617 w 1454"/>
                  <a:gd name="T5" fmla="*/ 2106 h 2106"/>
                  <a:gd name="T6" fmla="*/ 1454 w 1454"/>
                  <a:gd name="T7" fmla="*/ 1823 h 2106"/>
                  <a:gd name="T8" fmla="*/ 836 w 1454"/>
                  <a:gd name="T9" fmla="*/ 0 h 2106"/>
                </a:gdLst>
                <a:ahLst/>
                <a:cxnLst>
                  <a:cxn ang="0">
                    <a:pos x="T0" y="T1"/>
                  </a:cxn>
                  <a:cxn ang="0">
                    <a:pos x="T2" y="T3"/>
                  </a:cxn>
                  <a:cxn ang="0">
                    <a:pos x="T4" y="T5"/>
                  </a:cxn>
                  <a:cxn ang="0">
                    <a:pos x="T6" y="T7"/>
                  </a:cxn>
                  <a:cxn ang="0">
                    <a:pos x="T8" y="T9"/>
                  </a:cxn>
                </a:cxnLst>
                <a:rect l="0" t="0" r="r" b="b"/>
                <a:pathLst>
                  <a:path w="1454" h="2106">
                    <a:moveTo>
                      <a:pt x="836" y="0"/>
                    </a:moveTo>
                    <a:lnTo>
                      <a:pt x="0" y="284"/>
                    </a:lnTo>
                    <a:lnTo>
                      <a:pt x="617" y="2106"/>
                    </a:lnTo>
                    <a:lnTo>
                      <a:pt x="1454" y="1823"/>
                    </a:lnTo>
                    <a:lnTo>
                      <a:pt x="836" y="0"/>
                    </a:lnTo>
                    <a:close/>
                  </a:path>
                </a:pathLst>
              </a:custGeom>
              <a:solidFill>
                <a:sysClr val="window" lastClr="FFFFFF">
                  <a:lumMod val="7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50" name="Freeform 649"/>
              <p:cNvSpPr>
                <a:spLocks/>
              </p:cNvSpPr>
              <p:nvPr/>
            </p:nvSpPr>
            <p:spPr bwMode="auto">
              <a:xfrm>
                <a:off x="3541697" y="187247"/>
                <a:ext cx="366416" cy="391434"/>
              </a:xfrm>
              <a:custGeom>
                <a:avLst/>
                <a:gdLst>
                  <a:gd name="T0" fmla="*/ 608 w 853"/>
                  <a:gd name="T1" fmla="*/ 0 h 927"/>
                  <a:gd name="T2" fmla="*/ 0 w 853"/>
                  <a:gd name="T3" fmla="*/ 206 h 927"/>
                  <a:gd name="T4" fmla="*/ 244 w 853"/>
                  <a:gd name="T5" fmla="*/ 927 h 927"/>
                  <a:gd name="T6" fmla="*/ 853 w 853"/>
                  <a:gd name="T7" fmla="*/ 721 h 927"/>
                  <a:gd name="T8" fmla="*/ 608 w 853"/>
                  <a:gd name="T9" fmla="*/ 0 h 927"/>
                </a:gdLst>
                <a:ahLst/>
                <a:cxnLst>
                  <a:cxn ang="0">
                    <a:pos x="T0" y="T1"/>
                  </a:cxn>
                  <a:cxn ang="0">
                    <a:pos x="T2" y="T3"/>
                  </a:cxn>
                  <a:cxn ang="0">
                    <a:pos x="T4" y="T5"/>
                  </a:cxn>
                  <a:cxn ang="0">
                    <a:pos x="T6" y="T7"/>
                  </a:cxn>
                  <a:cxn ang="0">
                    <a:pos x="T8" y="T9"/>
                  </a:cxn>
                </a:cxnLst>
                <a:rect l="0" t="0" r="r" b="b"/>
                <a:pathLst>
                  <a:path w="853" h="927">
                    <a:moveTo>
                      <a:pt x="608" y="0"/>
                    </a:moveTo>
                    <a:lnTo>
                      <a:pt x="0" y="206"/>
                    </a:lnTo>
                    <a:lnTo>
                      <a:pt x="244" y="927"/>
                    </a:lnTo>
                    <a:lnTo>
                      <a:pt x="853" y="721"/>
                    </a:lnTo>
                    <a:lnTo>
                      <a:pt x="608" y="0"/>
                    </a:lnTo>
                    <a:close/>
                  </a:path>
                </a:pathLst>
              </a:custGeom>
              <a:solidFill>
                <a:sysClr val="window" lastClr="FFFFFF">
                  <a:lumMod val="7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51" name="Freeform 650"/>
              <p:cNvSpPr>
                <a:spLocks/>
              </p:cNvSpPr>
              <p:nvPr/>
            </p:nvSpPr>
            <p:spPr bwMode="auto">
              <a:xfrm>
                <a:off x="3579543" y="116386"/>
                <a:ext cx="168586" cy="178846"/>
              </a:xfrm>
              <a:custGeom>
                <a:avLst/>
                <a:gdLst>
                  <a:gd name="T0" fmla="*/ 281 w 394"/>
                  <a:gd name="T1" fmla="*/ 0 h 428"/>
                  <a:gd name="T2" fmla="*/ 0 w 394"/>
                  <a:gd name="T3" fmla="*/ 95 h 428"/>
                  <a:gd name="T4" fmla="*/ 112 w 394"/>
                  <a:gd name="T5" fmla="*/ 428 h 428"/>
                  <a:gd name="T6" fmla="*/ 394 w 394"/>
                  <a:gd name="T7" fmla="*/ 333 h 428"/>
                  <a:gd name="T8" fmla="*/ 281 w 394"/>
                  <a:gd name="T9" fmla="*/ 0 h 428"/>
                </a:gdLst>
                <a:ahLst/>
                <a:cxnLst>
                  <a:cxn ang="0">
                    <a:pos x="T0" y="T1"/>
                  </a:cxn>
                  <a:cxn ang="0">
                    <a:pos x="T2" y="T3"/>
                  </a:cxn>
                  <a:cxn ang="0">
                    <a:pos x="T4" y="T5"/>
                  </a:cxn>
                  <a:cxn ang="0">
                    <a:pos x="T6" y="T7"/>
                  </a:cxn>
                  <a:cxn ang="0">
                    <a:pos x="T8" y="T9"/>
                  </a:cxn>
                </a:cxnLst>
                <a:rect l="0" t="0" r="r" b="b"/>
                <a:pathLst>
                  <a:path w="394" h="428">
                    <a:moveTo>
                      <a:pt x="281" y="0"/>
                    </a:moveTo>
                    <a:lnTo>
                      <a:pt x="0" y="95"/>
                    </a:lnTo>
                    <a:lnTo>
                      <a:pt x="112" y="428"/>
                    </a:lnTo>
                    <a:lnTo>
                      <a:pt x="394" y="333"/>
                    </a:lnTo>
                    <a:lnTo>
                      <a:pt x="281" y="0"/>
                    </a:lnTo>
                    <a:close/>
                  </a:path>
                </a:pathLst>
              </a:custGeom>
              <a:solidFill>
                <a:sysClr val="window" lastClr="FFFFFF">
                  <a:lumMod val="7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52" name="Freeform 651"/>
              <p:cNvSpPr>
                <a:spLocks/>
              </p:cNvSpPr>
              <p:nvPr/>
            </p:nvSpPr>
            <p:spPr bwMode="auto">
              <a:xfrm>
                <a:off x="3607065" y="423459"/>
                <a:ext cx="304485" cy="116419"/>
              </a:xfrm>
              <a:custGeom>
                <a:avLst/>
                <a:gdLst>
                  <a:gd name="T0" fmla="*/ 8 w 708"/>
                  <a:gd name="T1" fmla="*/ 264 h 275"/>
                  <a:gd name="T2" fmla="*/ 13 w 708"/>
                  <a:gd name="T3" fmla="*/ 275 h 275"/>
                  <a:gd name="T4" fmla="*/ 708 w 708"/>
                  <a:gd name="T5" fmla="*/ 39 h 275"/>
                  <a:gd name="T6" fmla="*/ 704 w 708"/>
                  <a:gd name="T7" fmla="*/ 27 h 275"/>
                  <a:gd name="T8" fmla="*/ 695 w 708"/>
                  <a:gd name="T9" fmla="*/ 0 h 275"/>
                  <a:gd name="T10" fmla="*/ 0 w 708"/>
                  <a:gd name="T11" fmla="*/ 237 h 275"/>
                  <a:gd name="T12" fmla="*/ 8 w 708"/>
                  <a:gd name="T13" fmla="*/ 264 h 275"/>
                </a:gdLst>
                <a:ahLst/>
                <a:cxnLst>
                  <a:cxn ang="0">
                    <a:pos x="T0" y="T1"/>
                  </a:cxn>
                  <a:cxn ang="0">
                    <a:pos x="T2" y="T3"/>
                  </a:cxn>
                  <a:cxn ang="0">
                    <a:pos x="T4" y="T5"/>
                  </a:cxn>
                  <a:cxn ang="0">
                    <a:pos x="T6" y="T7"/>
                  </a:cxn>
                  <a:cxn ang="0">
                    <a:pos x="T8" y="T9"/>
                  </a:cxn>
                  <a:cxn ang="0">
                    <a:pos x="T10" y="T11"/>
                  </a:cxn>
                  <a:cxn ang="0">
                    <a:pos x="T12" y="T13"/>
                  </a:cxn>
                </a:cxnLst>
                <a:rect l="0" t="0" r="r" b="b"/>
                <a:pathLst>
                  <a:path w="708" h="275">
                    <a:moveTo>
                      <a:pt x="8" y="264"/>
                    </a:moveTo>
                    <a:lnTo>
                      <a:pt x="13" y="275"/>
                    </a:lnTo>
                    <a:lnTo>
                      <a:pt x="708" y="39"/>
                    </a:lnTo>
                    <a:lnTo>
                      <a:pt x="704" y="27"/>
                    </a:lnTo>
                    <a:lnTo>
                      <a:pt x="695" y="0"/>
                    </a:lnTo>
                    <a:lnTo>
                      <a:pt x="0" y="237"/>
                    </a:lnTo>
                    <a:lnTo>
                      <a:pt x="8" y="264"/>
                    </a:lnTo>
                    <a:close/>
                  </a:path>
                </a:pathLst>
              </a:custGeom>
              <a:solidFill>
                <a:srgbClr val="E5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53" name="Freeform 652"/>
              <p:cNvSpPr>
                <a:spLocks/>
              </p:cNvSpPr>
              <p:nvPr/>
            </p:nvSpPr>
            <p:spPr bwMode="auto">
              <a:xfrm>
                <a:off x="3562341" y="295230"/>
                <a:ext cx="307927" cy="123168"/>
              </a:xfrm>
              <a:custGeom>
                <a:avLst/>
                <a:gdLst>
                  <a:gd name="T0" fmla="*/ 0 w 716"/>
                  <a:gd name="T1" fmla="*/ 236 h 293"/>
                  <a:gd name="T2" fmla="*/ 20 w 716"/>
                  <a:gd name="T3" fmla="*/ 293 h 293"/>
                  <a:gd name="T4" fmla="*/ 716 w 716"/>
                  <a:gd name="T5" fmla="*/ 58 h 293"/>
                  <a:gd name="T6" fmla="*/ 695 w 716"/>
                  <a:gd name="T7" fmla="*/ 0 h 293"/>
                  <a:gd name="T8" fmla="*/ 0 w 716"/>
                  <a:gd name="T9" fmla="*/ 236 h 293"/>
                </a:gdLst>
                <a:ahLst/>
                <a:cxnLst>
                  <a:cxn ang="0">
                    <a:pos x="T0" y="T1"/>
                  </a:cxn>
                  <a:cxn ang="0">
                    <a:pos x="T2" y="T3"/>
                  </a:cxn>
                  <a:cxn ang="0">
                    <a:pos x="T4" y="T5"/>
                  </a:cxn>
                  <a:cxn ang="0">
                    <a:pos x="T6" y="T7"/>
                  </a:cxn>
                  <a:cxn ang="0">
                    <a:pos x="T8" y="T9"/>
                  </a:cxn>
                </a:cxnLst>
                <a:rect l="0" t="0" r="r" b="b"/>
                <a:pathLst>
                  <a:path w="716" h="293">
                    <a:moveTo>
                      <a:pt x="0" y="236"/>
                    </a:moveTo>
                    <a:lnTo>
                      <a:pt x="20" y="293"/>
                    </a:lnTo>
                    <a:lnTo>
                      <a:pt x="716" y="58"/>
                    </a:lnTo>
                    <a:lnTo>
                      <a:pt x="695" y="0"/>
                    </a:lnTo>
                    <a:lnTo>
                      <a:pt x="0" y="236"/>
                    </a:lnTo>
                    <a:close/>
                  </a:path>
                </a:pathLst>
              </a:custGeom>
              <a:solidFill>
                <a:srgbClr val="E5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54" name="Freeform 653"/>
              <p:cNvSpPr>
                <a:spLocks/>
              </p:cNvSpPr>
              <p:nvPr/>
            </p:nvSpPr>
            <p:spPr bwMode="auto">
              <a:xfrm>
                <a:off x="3593305" y="384651"/>
                <a:ext cx="304485" cy="114731"/>
              </a:xfrm>
              <a:custGeom>
                <a:avLst/>
                <a:gdLst>
                  <a:gd name="T0" fmla="*/ 13 w 709"/>
                  <a:gd name="T1" fmla="*/ 274 h 274"/>
                  <a:gd name="T2" fmla="*/ 709 w 709"/>
                  <a:gd name="T3" fmla="*/ 38 h 274"/>
                  <a:gd name="T4" fmla="*/ 696 w 709"/>
                  <a:gd name="T5" fmla="*/ 0 h 274"/>
                  <a:gd name="T6" fmla="*/ 0 w 709"/>
                  <a:gd name="T7" fmla="*/ 236 h 274"/>
                  <a:gd name="T8" fmla="*/ 13 w 709"/>
                  <a:gd name="T9" fmla="*/ 274 h 274"/>
                </a:gdLst>
                <a:ahLst/>
                <a:cxnLst>
                  <a:cxn ang="0">
                    <a:pos x="T0" y="T1"/>
                  </a:cxn>
                  <a:cxn ang="0">
                    <a:pos x="T2" y="T3"/>
                  </a:cxn>
                  <a:cxn ang="0">
                    <a:pos x="T4" y="T5"/>
                  </a:cxn>
                  <a:cxn ang="0">
                    <a:pos x="T6" y="T7"/>
                  </a:cxn>
                  <a:cxn ang="0">
                    <a:pos x="T8" y="T9"/>
                  </a:cxn>
                </a:cxnLst>
                <a:rect l="0" t="0" r="r" b="b"/>
                <a:pathLst>
                  <a:path w="709" h="274">
                    <a:moveTo>
                      <a:pt x="13" y="274"/>
                    </a:moveTo>
                    <a:lnTo>
                      <a:pt x="709" y="38"/>
                    </a:lnTo>
                    <a:lnTo>
                      <a:pt x="696" y="0"/>
                    </a:lnTo>
                    <a:lnTo>
                      <a:pt x="0" y="236"/>
                    </a:lnTo>
                    <a:lnTo>
                      <a:pt x="13" y="274"/>
                    </a:lnTo>
                    <a:close/>
                  </a:path>
                </a:pathLst>
              </a:custGeom>
              <a:solidFill>
                <a:srgbClr val="E5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55" name="Freeform 654"/>
              <p:cNvSpPr>
                <a:spLocks/>
              </p:cNvSpPr>
              <p:nvPr/>
            </p:nvSpPr>
            <p:spPr bwMode="auto">
              <a:xfrm>
                <a:off x="3579543" y="344160"/>
                <a:ext cx="304485" cy="114731"/>
              </a:xfrm>
              <a:custGeom>
                <a:avLst/>
                <a:gdLst>
                  <a:gd name="T0" fmla="*/ 13 w 708"/>
                  <a:gd name="T1" fmla="*/ 275 h 275"/>
                  <a:gd name="T2" fmla="*/ 708 w 708"/>
                  <a:gd name="T3" fmla="*/ 38 h 275"/>
                  <a:gd name="T4" fmla="*/ 695 w 708"/>
                  <a:gd name="T5" fmla="*/ 0 h 275"/>
                  <a:gd name="T6" fmla="*/ 0 w 708"/>
                  <a:gd name="T7" fmla="*/ 236 h 275"/>
                  <a:gd name="T8" fmla="*/ 13 w 708"/>
                  <a:gd name="T9" fmla="*/ 275 h 275"/>
                </a:gdLst>
                <a:ahLst/>
                <a:cxnLst>
                  <a:cxn ang="0">
                    <a:pos x="T0" y="T1"/>
                  </a:cxn>
                  <a:cxn ang="0">
                    <a:pos x="T2" y="T3"/>
                  </a:cxn>
                  <a:cxn ang="0">
                    <a:pos x="T4" y="T5"/>
                  </a:cxn>
                  <a:cxn ang="0">
                    <a:pos x="T6" y="T7"/>
                  </a:cxn>
                  <a:cxn ang="0">
                    <a:pos x="T8" y="T9"/>
                  </a:cxn>
                </a:cxnLst>
                <a:rect l="0" t="0" r="r" b="b"/>
                <a:pathLst>
                  <a:path w="708" h="275">
                    <a:moveTo>
                      <a:pt x="13" y="275"/>
                    </a:moveTo>
                    <a:lnTo>
                      <a:pt x="708" y="38"/>
                    </a:lnTo>
                    <a:lnTo>
                      <a:pt x="695" y="0"/>
                    </a:lnTo>
                    <a:lnTo>
                      <a:pt x="0" y="236"/>
                    </a:lnTo>
                    <a:lnTo>
                      <a:pt x="13" y="275"/>
                    </a:lnTo>
                    <a:close/>
                  </a:path>
                </a:pathLst>
              </a:custGeom>
              <a:solidFill>
                <a:srgbClr val="E5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56" name="Freeform 655"/>
              <p:cNvSpPr>
                <a:spLocks/>
              </p:cNvSpPr>
              <p:nvPr/>
            </p:nvSpPr>
            <p:spPr bwMode="auto">
              <a:xfrm>
                <a:off x="3595026" y="77578"/>
                <a:ext cx="106655" cy="167035"/>
              </a:xfrm>
              <a:custGeom>
                <a:avLst/>
                <a:gdLst>
                  <a:gd name="T0" fmla="*/ 245 w 249"/>
                  <a:gd name="T1" fmla="*/ 283 h 396"/>
                  <a:gd name="T2" fmla="*/ 248 w 249"/>
                  <a:gd name="T3" fmla="*/ 300 h 396"/>
                  <a:gd name="T4" fmla="*/ 249 w 249"/>
                  <a:gd name="T5" fmla="*/ 317 h 396"/>
                  <a:gd name="T6" fmla="*/ 246 w 249"/>
                  <a:gd name="T7" fmla="*/ 333 h 396"/>
                  <a:gd name="T8" fmla="*/ 240 w 249"/>
                  <a:gd name="T9" fmla="*/ 348 h 396"/>
                  <a:gd name="T10" fmla="*/ 232 w 249"/>
                  <a:gd name="T11" fmla="*/ 362 h 396"/>
                  <a:gd name="T12" fmla="*/ 220 w 249"/>
                  <a:gd name="T13" fmla="*/ 374 h 396"/>
                  <a:gd name="T14" fmla="*/ 207 w 249"/>
                  <a:gd name="T15" fmla="*/ 384 h 396"/>
                  <a:gd name="T16" fmla="*/ 191 w 249"/>
                  <a:gd name="T17" fmla="*/ 392 h 396"/>
                  <a:gd name="T18" fmla="*/ 191 w 249"/>
                  <a:gd name="T19" fmla="*/ 392 h 396"/>
                  <a:gd name="T20" fmla="*/ 173 w 249"/>
                  <a:gd name="T21" fmla="*/ 396 h 396"/>
                  <a:gd name="T22" fmla="*/ 157 w 249"/>
                  <a:gd name="T23" fmla="*/ 396 h 396"/>
                  <a:gd name="T24" fmla="*/ 141 w 249"/>
                  <a:gd name="T25" fmla="*/ 394 h 396"/>
                  <a:gd name="T26" fmla="*/ 125 w 249"/>
                  <a:gd name="T27" fmla="*/ 387 h 396"/>
                  <a:gd name="T28" fmla="*/ 111 w 249"/>
                  <a:gd name="T29" fmla="*/ 379 h 396"/>
                  <a:gd name="T30" fmla="*/ 99 w 249"/>
                  <a:gd name="T31" fmla="*/ 368 h 396"/>
                  <a:gd name="T32" fmla="*/ 89 w 249"/>
                  <a:gd name="T33" fmla="*/ 354 h 396"/>
                  <a:gd name="T34" fmla="*/ 81 w 249"/>
                  <a:gd name="T35" fmla="*/ 338 h 396"/>
                  <a:gd name="T36" fmla="*/ 5 w 249"/>
                  <a:gd name="T37" fmla="*/ 113 h 396"/>
                  <a:gd name="T38" fmla="*/ 2 w 249"/>
                  <a:gd name="T39" fmla="*/ 96 h 396"/>
                  <a:gd name="T40" fmla="*/ 0 w 249"/>
                  <a:gd name="T41" fmla="*/ 78 h 396"/>
                  <a:gd name="T42" fmla="*/ 4 w 249"/>
                  <a:gd name="T43" fmla="*/ 62 h 396"/>
                  <a:gd name="T44" fmla="*/ 9 w 249"/>
                  <a:gd name="T45" fmla="*/ 47 h 396"/>
                  <a:gd name="T46" fmla="*/ 18 w 249"/>
                  <a:gd name="T47" fmla="*/ 33 h 396"/>
                  <a:gd name="T48" fmla="*/ 30 w 249"/>
                  <a:gd name="T49" fmla="*/ 21 h 396"/>
                  <a:gd name="T50" fmla="*/ 43 w 249"/>
                  <a:gd name="T51" fmla="*/ 10 h 396"/>
                  <a:gd name="T52" fmla="*/ 59 w 249"/>
                  <a:gd name="T53" fmla="*/ 4 h 396"/>
                  <a:gd name="T54" fmla="*/ 59 w 249"/>
                  <a:gd name="T55" fmla="*/ 4 h 396"/>
                  <a:gd name="T56" fmla="*/ 76 w 249"/>
                  <a:gd name="T57" fmla="*/ 0 h 396"/>
                  <a:gd name="T58" fmla="*/ 92 w 249"/>
                  <a:gd name="T59" fmla="*/ 0 h 396"/>
                  <a:gd name="T60" fmla="*/ 110 w 249"/>
                  <a:gd name="T61" fmla="*/ 2 h 396"/>
                  <a:gd name="T62" fmla="*/ 125 w 249"/>
                  <a:gd name="T63" fmla="*/ 8 h 396"/>
                  <a:gd name="T64" fmla="*/ 139 w 249"/>
                  <a:gd name="T65" fmla="*/ 17 h 396"/>
                  <a:gd name="T66" fmla="*/ 151 w 249"/>
                  <a:gd name="T67" fmla="*/ 28 h 396"/>
                  <a:gd name="T68" fmla="*/ 160 w 249"/>
                  <a:gd name="T69" fmla="*/ 42 h 396"/>
                  <a:gd name="T70" fmla="*/ 168 w 249"/>
                  <a:gd name="T71" fmla="*/ 5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9" h="396">
                    <a:moveTo>
                      <a:pt x="245" y="283"/>
                    </a:moveTo>
                    <a:lnTo>
                      <a:pt x="245" y="283"/>
                    </a:lnTo>
                    <a:lnTo>
                      <a:pt x="247" y="291"/>
                    </a:lnTo>
                    <a:lnTo>
                      <a:pt x="248" y="300"/>
                    </a:lnTo>
                    <a:lnTo>
                      <a:pt x="249" y="308"/>
                    </a:lnTo>
                    <a:lnTo>
                      <a:pt x="249" y="317"/>
                    </a:lnTo>
                    <a:lnTo>
                      <a:pt x="248" y="325"/>
                    </a:lnTo>
                    <a:lnTo>
                      <a:pt x="246" y="333"/>
                    </a:lnTo>
                    <a:lnTo>
                      <a:pt x="243" y="341"/>
                    </a:lnTo>
                    <a:lnTo>
                      <a:pt x="240" y="348"/>
                    </a:lnTo>
                    <a:lnTo>
                      <a:pt x="236" y="356"/>
                    </a:lnTo>
                    <a:lnTo>
                      <a:pt x="232" y="362"/>
                    </a:lnTo>
                    <a:lnTo>
                      <a:pt x="226" y="369"/>
                    </a:lnTo>
                    <a:lnTo>
                      <a:pt x="220" y="374"/>
                    </a:lnTo>
                    <a:lnTo>
                      <a:pt x="213" y="380"/>
                    </a:lnTo>
                    <a:lnTo>
                      <a:pt x="207" y="384"/>
                    </a:lnTo>
                    <a:lnTo>
                      <a:pt x="199" y="388"/>
                    </a:lnTo>
                    <a:lnTo>
                      <a:pt x="191" y="392"/>
                    </a:lnTo>
                    <a:lnTo>
                      <a:pt x="191" y="392"/>
                    </a:lnTo>
                    <a:lnTo>
                      <a:pt x="191" y="392"/>
                    </a:lnTo>
                    <a:lnTo>
                      <a:pt x="182" y="394"/>
                    </a:lnTo>
                    <a:lnTo>
                      <a:pt x="173" y="396"/>
                    </a:lnTo>
                    <a:lnTo>
                      <a:pt x="165" y="396"/>
                    </a:lnTo>
                    <a:lnTo>
                      <a:pt x="157" y="396"/>
                    </a:lnTo>
                    <a:lnTo>
                      <a:pt x="148" y="395"/>
                    </a:lnTo>
                    <a:lnTo>
                      <a:pt x="141" y="394"/>
                    </a:lnTo>
                    <a:lnTo>
                      <a:pt x="132" y="391"/>
                    </a:lnTo>
                    <a:lnTo>
                      <a:pt x="125" y="387"/>
                    </a:lnTo>
                    <a:lnTo>
                      <a:pt x="118" y="383"/>
                    </a:lnTo>
                    <a:lnTo>
                      <a:pt x="111" y="379"/>
                    </a:lnTo>
                    <a:lnTo>
                      <a:pt x="104" y="373"/>
                    </a:lnTo>
                    <a:lnTo>
                      <a:pt x="99" y="368"/>
                    </a:lnTo>
                    <a:lnTo>
                      <a:pt x="93" y="361"/>
                    </a:lnTo>
                    <a:lnTo>
                      <a:pt x="89" y="354"/>
                    </a:lnTo>
                    <a:lnTo>
                      <a:pt x="85" y="346"/>
                    </a:lnTo>
                    <a:lnTo>
                      <a:pt x="81" y="338"/>
                    </a:lnTo>
                    <a:lnTo>
                      <a:pt x="5" y="113"/>
                    </a:lnTo>
                    <a:lnTo>
                      <a:pt x="5" y="113"/>
                    </a:lnTo>
                    <a:lnTo>
                      <a:pt x="3" y="104"/>
                    </a:lnTo>
                    <a:lnTo>
                      <a:pt x="2" y="96"/>
                    </a:lnTo>
                    <a:lnTo>
                      <a:pt x="0" y="87"/>
                    </a:lnTo>
                    <a:lnTo>
                      <a:pt x="0" y="78"/>
                    </a:lnTo>
                    <a:lnTo>
                      <a:pt x="2" y="71"/>
                    </a:lnTo>
                    <a:lnTo>
                      <a:pt x="4" y="62"/>
                    </a:lnTo>
                    <a:lnTo>
                      <a:pt x="6" y="55"/>
                    </a:lnTo>
                    <a:lnTo>
                      <a:pt x="9" y="47"/>
                    </a:lnTo>
                    <a:lnTo>
                      <a:pt x="13" y="40"/>
                    </a:lnTo>
                    <a:lnTo>
                      <a:pt x="18" y="33"/>
                    </a:lnTo>
                    <a:lnTo>
                      <a:pt x="23" y="27"/>
                    </a:lnTo>
                    <a:lnTo>
                      <a:pt x="30" y="21"/>
                    </a:lnTo>
                    <a:lnTo>
                      <a:pt x="36" y="16"/>
                    </a:lnTo>
                    <a:lnTo>
                      <a:pt x="43" y="10"/>
                    </a:lnTo>
                    <a:lnTo>
                      <a:pt x="51" y="7"/>
                    </a:lnTo>
                    <a:lnTo>
                      <a:pt x="59" y="4"/>
                    </a:lnTo>
                    <a:lnTo>
                      <a:pt x="59" y="4"/>
                    </a:lnTo>
                    <a:lnTo>
                      <a:pt x="59" y="4"/>
                    </a:lnTo>
                    <a:lnTo>
                      <a:pt x="67" y="2"/>
                    </a:lnTo>
                    <a:lnTo>
                      <a:pt x="76" y="0"/>
                    </a:lnTo>
                    <a:lnTo>
                      <a:pt x="85" y="0"/>
                    </a:lnTo>
                    <a:lnTo>
                      <a:pt x="92" y="0"/>
                    </a:lnTo>
                    <a:lnTo>
                      <a:pt x="101" y="1"/>
                    </a:lnTo>
                    <a:lnTo>
                      <a:pt x="110" y="2"/>
                    </a:lnTo>
                    <a:lnTo>
                      <a:pt x="117" y="5"/>
                    </a:lnTo>
                    <a:lnTo>
                      <a:pt x="125" y="8"/>
                    </a:lnTo>
                    <a:lnTo>
                      <a:pt x="131" y="11"/>
                    </a:lnTo>
                    <a:lnTo>
                      <a:pt x="139" y="17"/>
                    </a:lnTo>
                    <a:lnTo>
                      <a:pt x="145" y="22"/>
                    </a:lnTo>
                    <a:lnTo>
                      <a:pt x="151" y="28"/>
                    </a:lnTo>
                    <a:lnTo>
                      <a:pt x="156" y="34"/>
                    </a:lnTo>
                    <a:lnTo>
                      <a:pt x="160" y="42"/>
                    </a:lnTo>
                    <a:lnTo>
                      <a:pt x="165" y="49"/>
                    </a:lnTo>
                    <a:lnTo>
                      <a:pt x="168" y="58"/>
                    </a:lnTo>
                    <a:lnTo>
                      <a:pt x="245" y="283"/>
                    </a:lnTo>
                    <a:close/>
                  </a:path>
                </a:pathLst>
              </a:custGeom>
              <a:solidFill>
                <a:sysClr val="window" lastClr="FFFFFF">
                  <a:lumMod val="7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57" name="Freeform 656"/>
              <p:cNvSpPr>
                <a:spLocks/>
              </p:cNvSpPr>
              <p:nvPr/>
            </p:nvSpPr>
            <p:spPr bwMode="auto">
              <a:xfrm>
                <a:off x="3787691" y="588804"/>
                <a:ext cx="10321" cy="25310"/>
              </a:xfrm>
              <a:custGeom>
                <a:avLst/>
                <a:gdLst>
                  <a:gd name="T0" fmla="*/ 6 w 25"/>
                  <a:gd name="T1" fmla="*/ 12 h 60"/>
                  <a:gd name="T2" fmla="*/ 6 w 25"/>
                  <a:gd name="T3" fmla="*/ 12 h 60"/>
                  <a:gd name="T4" fmla="*/ 4 w 25"/>
                  <a:gd name="T5" fmla="*/ 16 h 60"/>
                  <a:gd name="T6" fmla="*/ 2 w 25"/>
                  <a:gd name="T7" fmla="*/ 21 h 60"/>
                  <a:gd name="T8" fmla="*/ 1 w 25"/>
                  <a:gd name="T9" fmla="*/ 25 h 60"/>
                  <a:gd name="T10" fmla="*/ 0 w 25"/>
                  <a:gd name="T11" fmla="*/ 30 h 60"/>
                  <a:gd name="T12" fmla="*/ 0 w 25"/>
                  <a:gd name="T13" fmla="*/ 30 h 60"/>
                  <a:gd name="T14" fmla="*/ 1 w 25"/>
                  <a:gd name="T15" fmla="*/ 35 h 60"/>
                  <a:gd name="T16" fmla="*/ 2 w 25"/>
                  <a:gd name="T17" fmla="*/ 39 h 60"/>
                  <a:gd name="T18" fmla="*/ 3 w 25"/>
                  <a:gd name="T19" fmla="*/ 43 h 60"/>
                  <a:gd name="T20" fmla="*/ 6 w 25"/>
                  <a:gd name="T21" fmla="*/ 47 h 60"/>
                  <a:gd name="T22" fmla="*/ 6 w 25"/>
                  <a:gd name="T23" fmla="*/ 47 h 60"/>
                  <a:gd name="T24" fmla="*/ 9 w 25"/>
                  <a:gd name="T25" fmla="*/ 51 h 60"/>
                  <a:gd name="T26" fmla="*/ 14 w 25"/>
                  <a:gd name="T27" fmla="*/ 54 h 60"/>
                  <a:gd name="T28" fmla="*/ 18 w 25"/>
                  <a:gd name="T29" fmla="*/ 56 h 60"/>
                  <a:gd name="T30" fmla="*/ 25 w 25"/>
                  <a:gd name="T31" fmla="*/ 60 h 60"/>
                  <a:gd name="T32" fmla="*/ 25 w 25"/>
                  <a:gd name="T33" fmla="*/ 0 h 60"/>
                  <a:gd name="T34" fmla="*/ 25 w 25"/>
                  <a:gd name="T35" fmla="*/ 0 h 60"/>
                  <a:gd name="T36" fmla="*/ 19 w 25"/>
                  <a:gd name="T37" fmla="*/ 2 h 60"/>
                  <a:gd name="T38" fmla="*/ 14 w 25"/>
                  <a:gd name="T39" fmla="*/ 6 h 60"/>
                  <a:gd name="T40" fmla="*/ 11 w 25"/>
                  <a:gd name="T41" fmla="*/ 9 h 60"/>
                  <a:gd name="T42" fmla="*/ 6 w 25"/>
                  <a:gd name="T43" fmla="*/ 12 h 60"/>
                  <a:gd name="T44" fmla="*/ 6 w 25"/>
                  <a:gd name="T45"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60">
                    <a:moveTo>
                      <a:pt x="6" y="12"/>
                    </a:moveTo>
                    <a:lnTo>
                      <a:pt x="6" y="12"/>
                    </a:lnTo>
                    <a:lnTo>
                      <a:pt x="4" y="16"/>
                    </a:lnTo>
                    <a:lnTo>
                      <a:pt x="2" y="21"/>
                    </a:lnTo>
                    <a:lnTo>
                      <a:pt x="1" y="25"/>
                    </a:lnTo>
                    <a:lnTo>
                      <a:pt x="0" y="30"/>
                    </a:lnTo>
                    <a:lnTo>
                      <a:pt x="0" y="30"/>
                    </a:lnTo>
                    <a:lnTo>
                      <a:pt x="1" y="35"/>
                    </a:lnTo>
                    <a:lnTo>
                      <a:pt x="2" y="39"/>
                    </a:lnTo>
                    <a:lnTo>
                      <a:pt x="3" y="43"/>
                    </a:lnTo>
                    <a:lnTo>
                      <a:pt x="6" y="47"/>
                    </a:lnTo>
                    <a:lnTo>
                      <a:pt x="6" y="47"/>
                    </a:lnTo>
                    <a:lnTo>
                      <a:pt x="9" y="51"/>
                    </a:lnTo>
                    <a:lnTo>
                      <a:pt x="14" y="54"/>
                    </a:lnTo>
                    <a:lnTo>
                      <a:pt x="18" y="56"/>
                    </a:lnTo>
                    <a:lnTo>
                      <a:pt x="25" y="60"/>
                    </a:lnTo>
                    <a:lnTo>
                      <a:pt x="25" y="0"/>
                    </a:lnTo>
                    <a:lnTo>
                      <a:pt x="25" y="0"/>
                    </a:lnTo>
                    <a:lnTo>
                      <a:pt x="19" y="2"/>
                    </a:lnTo>
                    <a:lnTo>
                      <a:pt x="14" y="6"/>
                    </a:lnTo>
                    <a:lnTo>
                      <a:pt x="11" y="9"/>
                    </a:lnTo>
                    <a:lnTo>
                      <a:pt x="6" y="12"/>
                    </a:lnTo>
                    <a:lnTo>
                      <a:pt x="6" y="12"/>
                    </a:lnTo>
                    <a:close/>
                  </a:path>
                </a:pathLst>
              </a:custGeom>
              <a:solidFill>
                <a:srgbClr val="E5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grpSp>
          <p:nvGrpSpPr>
            <p:cNvPr id="588" name="Group 587"/>
            <p:cNvGrpSpPr/>
            <p:nvPr/>
          </p:nvGrpSpPr>
          <p:grpSpPr>
            <a:xfrm>
              <a:off x="4112286" y="4638881"/>
              <a:ext cx="103216" cy="199090"/>
              <a:chOff x="4219844" y="3970998"/>
              <a:chExt cx="91088" cy="175700"/>
            </a:xfrm>
          </p:grpSpPr>
          <p:sp>
            <p:nvSpPr>
              <p:cNvPr id="647" name="Freeform 646"/>
              <p:cNvSpPr>
                <a:spLocks/>
              </p:cNvSpPr>
              <p:nvPr/>
            </p:nvSpPr>
            <p:spPr bwMode="auto">
              <a:xfrm>
                <a:off x="4236543" y="4100539"/>
                <a:ext cx="45544" cy="46159"/>
              </a:xfrm>
              <a:custGeom>
                <a:avLst/>
                <a:gdLst>
                  <a:gd name="T0" fmla="*/ 59 w 121"/>
                  <a:gd name="T1" fmla="*/ 0 h 123"/>
                  <a:gd name="T2" fmla="*/ 59 w 121"/>
                  <a:gd name="T3" fmla="*/ 0 h 123"/>
                  <a:gd name="T4" fmla="*/ 48 w 121"/>
                  <a:gd name="T5" fmla="*/ 1 h 123"/>
                  <a:gd name="T6" fmla="*/ 36 w 121"/>
                  <a:gd name="T7" fmla="*/ 4 h 123"/>
                  <a:gd name="T8" fmla="*/ 25 w 121"/>
                  <a:gd name="T9" fmla="*/ 10 h 123"/>
                  <a:gd name="T10" fmla="*/ 16 w 121"/>
                  <a:gd name="T11" fmla="*/ 17 h 123"/>
                  <a:gd name="T12" fmla="*/ 10 w 121"/>
                  <a:gd name="T13" fmla="*/ 26 h 123"/>
                  <a:gd name="T14" fmla="*/ 4 w 121"/>
                  <a:gd name="T15" fmla="*/ 37 h 123"/>
                  <a:gd name="T16" fmla="*/ 1 w 121"/>
                  <a:gd name="T17" fmla="*/ 48 h 123"/>
                  <a:gd name="T18" fmla="*/ 0 w 121"/>
                  <a:gd name="T19" fmla="*/ 61 h 123"/>
                  <a:gd name="T20" fmla="*/ 0 w 121"/>
                  <a:gd name="T21" fmla="*/ 61 h 123"/>
                  <a:gd name="T22" fmla="*/ 1 w 121"/>
                  <a:gd name="T23" fmla="*/ 74 h 123"/>
                  <a:gd name="T24" fmla="*/ 4 w 121"/>
                  <a:gd name="T25" fmla="*/ 86 h 123"/>
                  <a:gd name="T26" fmla="*/ 9 w 121"/>
                  <a:gd name="T27" fmla="*/ 96 h 123"/>
                  <a:gd name="T28" fmla="*/ 16 w 121"/>
                  <a:gd name="T29" fmla="*/ 106 h 123"/>
                  <a:gd name="T30" fmla="*/ 25 w 121"/>
                  <a:gd name="T31" fmla="*/ 112 h 123"/>
                  <a:gd name="T32" fmla="*/ 36 w 121"/>
                  <a:gd name="T33" fmla="*/ 119 h 123"/>
                  <a:gd name="T34" fmla="*/ 46 w 121"/>
                  <a:gd name="T35" fmla="*/ 122 h 123"/>
                  <a:gd name="T36" fmla="*/ 59 w 121"/>
                  <a:gd name="T37" fmla="*/ 123 h 123"/>
                  <a:gd name="T38" fmla="*/ 59 w 121"/>
                  <a:gd name="T39" fmla="*/ 123 h 123"/>
                  <a:gd name="T40" fmla="*/ 72 w 121"/>
                  <a:gd name="T41" fmla="*/ 122 h 123"/>
                  <a:gd name="T42" fmla="*/ 84 w 121"/>
                  <a:gd name="T43" fmla="*/ 119 h 123"/>
                  <a:gd name="T44" fmla="*/ 95 w 121"/>
                  <a:gd name="T45" fmla="*/ 112 h 123"/>
                  <a:gd name="T46" fmla="*/ 104 w 121"/>
                  <a:gd name="T47" fmla="*/ 106 h 123"/>
                  <a:gd name="T48" fmla="*/ 111 w 121"/>
                  <a:gd name="T49" fmla="*/ 96 h 123"/>
                  <a:gd name="T50" fmla="*/ 117 w 121"/>
                  <a:gd name="T51" fmla="*/ 86 h 123"/>
                  <a:gd name="T52" fmla="*/ 120 w 121"/>
                  <a:gd name="T53" fmla="*/ 74 h 123"/>
                  <a:gd name="T54" fmla="*/ 121 w 121"/>
                  <a:gd name="T55" fmla="*/ 61 h 123"/>
                  <a:gd name="T56" fmla="*/ 121 w 121"/>
                  <a:gd name="T57" fmla="*/ 61 h 123"/>
                  <a:gd name="T58" fmla="*/ 120 w 121"/>
                  <a:gd name="T59" fmla="*/ 48 h 123"/>
                  <a:gd name="T60" fmla="*/ 116 w 121"/>
                  <a:gd name="T61" fmla="*/ 37 h 123"/>
                  <a:gd name="T62" fmla="*/ 111 w 121"/>
                  <a:gd name="T63" fmla="*/ 26 h 123"/>
                  <a:gd name="T64" fmla="*/ 104 w 121"/>
                  <a:gd name="T65" fmla="*/ 17 h 123"/>
                  <a:gd name="T66" fmla="*/ 95 w 121"/>
                  <a:gd name="T67" fmla="*/ 10 h 123"/>
                  <a:gd name="T68" fmla="*/ 84 w 121"/>
                  <a:gd name="T69" fmla="*/ 4 h 123"/>
                  <a:gd name="T70" fmla="*/ 72 w 121"/>
                  <a:gd name="T71" fmla="*/ 1 h 123"/>
                  <a:gd name="T72" fmla="*/ 59 w 121"/>
                  <a:gd name="T73" fmla="*/ 0 h 123"/>
                  <a:gd name="T74" fmla="*/ 59 w 121"/>
                  <a:gd name="T7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1" h="123">
                    <a:moveTo>
                      <a:pt x="59" y="0"/>
                    </a:moveTo>
                    <a:lnTo>
                      <a:pt x="59" y="0"/>
                    </a:lnTo>
                    <a:lnTo>
                      <a:pt x="48" y="1"/>
                    </a:lnTo>
                    <a:lnTo>
                      <a:pt x="36" y="4"/>
                    </a:lnTo>
                    <a:lnTo>
                      <a:pt x="25" y="10"/>
                    </a:lnTo>
                    <a:lnTo>
                      <a:pt x="16" y="17"/>
                    </a:lnTo>
                    <a:lnTo>
                      <a:pt x="10" y="26"/>
                    </a:lnTo>
                    <a:lnTo>
                      <a:pt x="4" y="37"/>
                    </a:lnTo>
                    <a:lnTo>
                      <a:pt x="1" y="48"/>
                    </a:lnTo>
                    <a:lnTo>
                      <a:pt x="0" y="61"/>
                    </a:lnTo>
                    <a:lnTo>
                      <a:pt x="0" y="61"/>
                    </a:lnTo>
                    <a:lnTo>
                      <a:pt x="1" y="74"/>
                    </a:lnTo>
                    <a:lnTo>
                      <a:pt x="4" y="86"/>
                    </a:lnTo>
                    <a:lnTo>
                      <a:pt x="9" y="96"/>
                    </a:lnTo>
                    <a:lnTo>
                      <a:pt x="16" y="106"/>
                    </a:lnTo>
                    <a:lnTo>
                      <a:pt x="25" y="112"/>
                    </a:lnTo>
                    <a:lnTo>
                      <a:pt x="36" y="119"/>
                    </a:lnTo>
                    <a:lnTo>
                      <a:pt x="46" y="122"/>
                    </a:lnTo>
                    <a:lnTo>
                      <a:pt x="59" y="123"/>
                    </a:lnTo>
                    <a:lnTo>
                      <a:pt x="59" y="123"/>
                    </a:lnTo>
                    <a:lnTo>
                      <a:pt x="72" y="122"/>
                    </a:lnTo>
                    <a:lnTo>
                      <a:pt x="84" y="119"/>
                    </a:lnTo>
                    <a:lnTo>
                      <a:pt x="95" y="112"/>
                    </a:lnTo>
                    <a:lnTo>
                      <a:pt x="104" y="106"/>
                    </a:lnTo>
                    <a:lnTo>
                      <a:pt x="111" y="96"/>
                    </a:lnTo>
                    <a:lnTo>
                      <a:pt x="117" y="86"/>
                    </a:lnTo>
                    <a:lnTo>
                      <a:pt x="120" y="74"/>
                    </a:lnTo>
                    <a:lnTo>
                      <a:pt x="121" y="61"/>
                    </a:lnTo>
                    <a:lnTo>
                      <a:pt x="121" y="61"/>
                    </a:lnTo>
                    <a:lnTo>
                      <a:pt x="120" y="48"/>
                    </a:lnTo>
                    <a:lnTo>
                      <a:pt x="116" y="37"/>
                    </a:lnTo>
                    <a:lnTo>
                      <a:pt x="111" y="26"/>
                    </a:lnTo>
                    <a:lnTo>
                      <a:pt x="104" y="17"/>
                    </a:lnTo>
                    <a:lnTo>
                      <a:pt x="95" y="10"/>
                    </a:lnTo>
                    <a:lnTo>
                      <a:pt x="84" y="4"/>
                    </a:lnTo>
                    <a:lnTo>
                      <a:pt x="72" y="1"/>
                    </a:lnTo>
                    <a:lnTo>
                      <a:pt x="59" y="0"/>
                    </a:lnTo>
                    <a:lnTo>
                      <a:pt x="59" y="0"/>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48" name="Freeform 647"/>
              <p:cNvSpPr>
                <a:spLocks/>
              </p:cNvSpPr>
              <p:nvPr/>
            </p:nvSpPr>
            <p:spPr bwMode="auto">
              <a:xfrm>
                <a:off x="4219844" y="3970998"/>
                <a:ext cx="91088" cy="117630"/>
              </a:xfrm>
              <a:custGeom>
                <a:avLst/>
                <a:gdLst>
                  <a:gd name="T0" fmla="*/ 113 w 243"/>
                  <a:gd name="T1" fmla="*/ 0 h 315"/>
                  <a:gd name="T2" fmla="*/ 79 w 243"/>
                  <a:gd name="T3" fmla="*/ 2 h 315"/>
                  <a:gd name="T4" fmla="*/ 48 w 243"/>
                  <a:gd name="T5" fmla="*/ 9 h 315"/>
                  <a:gd name="T6" fmla="*/ 21 w 243"/>
                  <a:gd name="T7" fmla="*/ 17 h 315"/>
                  <a:gd name="T8" fmla="*/ 0 w 243"/>
                  <a:gd name="T9" fmla="*/ 27 h 315"/>
                  <a:gd name="T10" fmla="*/ 24 w 243"/>
                  <a:gd name="T11" fmla="*/ 102 h 315"/>
                  <a:gd name="T12" fmla="*/ 38 w 243"/>
                  <a:gd name="T13" fmla="*/ 93 h 315"/>
                  <a:gd name="T14" fmla="*/ 73 w 243"/>
                  <a:gd name="T15" fmla="*/ 82 h 315"/>
                  <a:gd name="T16" fmla="*/ 90 w 243"/>
                  <a:gd name="T17" fmla="*/ 81 h 315"/>
                  <a:gd name="T18" fmla="*/ 102 w 243"/>
                  <a:gd name="T19" fmla="*/ 82 h 315"/>
                  <a:gd name="T20" fmla="*/ 121 w 243"/>
                  <a:gd name="T21" fmla="*/ 88 h 315"/>
                  <a:gd name="T22" fmla="*/ 133 w 243"/>
                  <a:gd name="T23" fmla="*/ 98 h 315"/>
                  <a:gd name="T24" fmla="*/ 139 w 243"/>
                  <a:gd name="T25" fmla="*/ 113 h 315"/>
                  <a:gd name="T26" fmla="*/ 140 w 243"/>
                  <a:gd name="T27" fmla="*/ 121 h 315"/>
                  <a:gd name="T28" fmla="*/ 137 w 243"/>
                  <a:gd name="T29" fmla="*/ 138 h 315"/>
                  <a:gd name="T30" fmla="*/ 128 w 243"/>
                  <a:gd name="T31" fmla="*/ 156 h 315"/>
                  <a:gd name="T32" fmla="*/ 100 w 243"/>
                  <a:gd name="T33" fmla="*/ 192 h 315"/>
                  <a:gd name="T34" fmla="*/ 89 w 243"/>
                  <a:gd name="T35" fmla="*/ 205 h 315"/>
                  <a:gd name="T36" fmla="*/ 74 w 243"/>
                  <a:gd name="T37" fmla="*/ 232 h 315"/>
                  <a:gd name="T38" fmla="*/ 65 w 243"/>
                  <a:gd name="T39" fmla="*/ 259 h 315"/>
                  <a:gd name="T40" fmla="*/ 60 w 243"/>
                  <a:gd name="T41" fmla="*/ 285 h 315"/>
                  <a:gd name="T42" fmla="*/ 61 w 243"/>
                  <a:gd name="T43" fmla="*/ 315 h 315"/>
                  <a:gd name="T44" fmla="*/ 151 w 243"/>
                  <a:gd name="T45" fmla="*/ 304 h 315"/>
                  <a:gd name="T46" fmla="*/ 151 w 243"/>
                  <a:gd name="T47" fmla="*/ 293 h 315"/>
                  <a:gd name="T48" fmla="*/ 155 w 243"/>
                  <a:gd name="T49" fmla="*/ 271 h 315"/>
                  <a:gd name="T50" fmla="*/ 164 w 243"/>
                  <a:gd name="T51" fmla="*/ 250 h 315"/>
                  <a:gd name="T52" fmla="*/ 177 w 243"/>
                  <a:gd name="T53" fmla="*/ 229 h 315"/>
                  <a:gd name="T54" fmla="*/ 186 w 243"/>
                  <a:gd name="T55" fmla="*/ 219 h 315"/>
                  <a:gd name="T56" fmla="*/ 216 w 243"/>
                  <a:gd name="T57" fmla="*/ 184 h 315"/>
                  <a:gd name="T58" fmla="*/ 232 w 243"/>
                  <a:gd name="T59" fmla="*/ 157 h 315"/>
                  <a:gd name="T60" fmla="*/ 241 w 243"/>
                  <a:gd name="T61" fmla="*/ 133 h 315"/>
                  <a:gd name="T62" fmla="*/ 243 w 243"/>
                  <a:gd name="T63" fmla="*/ 115 h 315"/>
                  <a:gd name="T64" fmla="*/ 243 w 243"/>
                  <a:gd name="T65" fmla="*/ 105 h 315"/>
                  <a:gd name="T66" fmla="*/ 242 w 243"/>
                  <a:gd name="T67" fmla="*/ 84 h 315"/>
                  <a:gd name="T68" fmla="*/ 235 w 243"/>
                  <a:gd name="T69" fmla="*/ 65 h 315"/>
                  <a:gd name="T70" fmla="*/ 225 w 243"/>
                  <a:gd name="T71" fmla="*/ 48 h 315"/>
                  <a:gd name="T72" fmla="*/ 211 w 243"/>
                  <a:gd name="T73" fmla="*/ 31 h 315"/>
                  <a:gd name="T74" fmla="*/ 194 w 243"/>
                  <a:gd name="T75" fmla="*/ 18 h 315"/>
                  <a:gd name="T76" fmla="*/ 171 w 243"/>
                  <a:gd name="T77" fmla="*/ 9 h 315"/>
                  <a:gd name="T78" fmla="*/ 144 w 243"/>
                  <a:gd name="T79" fmla="*/ 2 h 315"/>
                  <a:gd name="T80" fmla="*/ 113 w 243"/>
                  <a:gd name="T81"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3" h="315">
                    <a:moveTo>
                      <a:pt x="113" y="0"/>
                    </a:moveTo>
                    <a:lnTo>
                      <a:pt x="113" y="0"/>
                    </a:lnTo>
                    <a:lnTo>
                      <a:pt x="96" y="0"/>
                    </a:lnTo>
                    <a:lnTo>
                      <a:pt x="79" y="2"/>
                    </a:lnTo>
                    <a:lnTo>
                      <a:pt x="62" y="4"/>
                    </a:lnTo>
                    <a:lnTo>
                      <a:pt x="48" y="9"/>
                    </a:lnTo>
                    <a:lnTo>
                      <a:pt x="34" y="12"/>
                    </a:lnTo>
                    <a:lnTo>
                      <a:pt x="21" y="17"/>
                    </a:lnTo>
                    <a:lnTo>
                      <a:pt x="11" y="22"/>
                    </a:lnTo>
                    <a:lnTo>
                      <a:pt x="0" y="27"/>
                    </a:lnTo>
                    <a:lnTo>
                      <a:pt x="24" y="102"/>
                    </a:lnTo>
                    <a:lnTo>
                      <a:pt x="24" y="102"/>
                    </a:lnTo>
                    <a:lnTo>
                      <a:pt x="30" y="97"/>
                    </a:lnTo>
                    <a:lnTo>
                      <a:pt x="38" y="93"/>
                    </a:lnTo>
                    <a:lnTo>
                      <a:pt x="55" y="86"/>
                    </a:lnTo>
                    <a:lnTo>
                      <a:pt x="73" y="82"/>
                    </a:lnTo>
                    <a:lnTo>
                      <a:pt x="82" y="81"/>
                    </a:lnTo>
                    <a:lnTo>
                      <a:pt x="90" y="81"/>
                    </a:lnTo>
                    <a:lnTo>
                      <a:pt x="90" y="81"/>
                    </a:lnTo>
                    <a:lnTo>
                      <a:pt x="102" y="82"/>
                    </a:lnTo>
                    <a:lnTo>
                      <a:pt x="112" y="84"/>
                    </a:lnTo>
                    <a:lnTo>
                      <a:pt x="121" y="88"/>
                    </a:lnTo>
                    <a:lnTo>
                      <a:pt x="127" y="93"/>
                    </a:lnTo>
                    <a:lnTo>
                      <a:pt x="133" y="98"/>
                    </a:lnTo>
                    <a:lnTo>
                      <a:pt x="137" y="105"/>
                    </a:lnTo>
                    <a:lnTo>
                      <a:pt x="139" y="113"/>
                    </a:lnTo>
                    <a:lnTo>
                      <a:pt x="140" y="121"/>
                    </a:lnTo>
                    <a:lnTo>
                      <a:pt x="140" y="121"/>
                    </a:lnTo>
                    <a:lnTo>
                      <a:pt x="139" y="130"/>
                    </a:lnTo>
                    <a:lnTo>
                      <a:pt x="137" y="138"/>
                    </a:lnTo>
                    <a:lnTo>
                      <a:pt x="133" y="147"/>
                    </a:lnTo>
                    <a:lnTo>
                      <a:pt x="128" y="156"/>
                    </a:lnTo>
                    <a:lnTo>
                      <a:pt x="115" y="173"/>
                    </a:lnTo>
                    <a:lnTo>
                      <a:pt x="100" y="192"/>
                    </a:lnTo>
                    <a:lnTo>
                      <a:pt x="100" y="192"/>
                    </a:lnTo>
                    <a:lnTo>
                      <a:pt x="89" y="205"/>
                    </a:lnTo>
                    <a:lnTo>
                      <a:pt x="81" y="219"/>
                    </a:lnTo>
                    <a:lnTo>
                      <a:pt x="74" y="232"/>
                    </a:lnTo>
                    <a:lnTo>
                      <a:pt x="68" y="246"/>
                    </a:lnTo>
                    <a:lnTo>
                      <a:pt x="65" y="259"/>
                    </a:lnTo>
                    <a:lnTo>
                      <a:pt x="61" y="272"/>
                    </a:lnTo>
                    <a:lnTo>
                      <a:pt x="60" y="285"/>
                    </a:lnTo>
                    <a:lnTo>
                      <a:pt x="60" y="298"/>
                    </a:lnTo>
                    <a:lnTo>
                      <a:pt x="61" y="315"/>
                    </a:lnTo>
                    <a:lnTo>
                      <a:pt x="151" y="315"/>
                    </a:lnTo>
                    <a:lnTo>
                      <a:pt x="151" y="304"/>
                    </a:lnTo>
                    <a:lnTo>
                      <a:pt x="151" y="304"/>
                    </a:lnTo>
                    <a:lnTo>
                      <a:pt x="151" y="293"/>
                    </a:lnTo>
                    <a:lnTo>
                      <a:pt x="153" y="282"/>
                    </a:lnTo>
                    <a:lnTo>
                      <a:pt x="155" y="271"/>
                    </a:lnTo>
                    <a:lnTo>
                      <a:pt x="159" y="260"/>
                    </a:lnTo>
                    <a:lnTo>
                      <a:pt x="164" y="250"/>
                    </a:lnTo>
                    <a:lnTo>
                      <a:pt x="169" y="240"/>
                    </a:lnTo>
                    <a:lnTo>
                      <a:pt x="177" y="229"/>
                    </a:lnTo>
                    <a:lnTo>
                      <a:pt x="186" y="219"/>
                    </a:lnTo>
                    <a:lnTo>
                      <a:pt x="186" y="219"/>
                    </a:lnTo>
                    <a:lnTo>
                      <a:pt x="206" y="197"/>
                    </a:lnTo>
                    <a:lnTo>
                      <a:pt x="216" y="184"/>
                    </a:lnTo>
                    <a:lnTo>
                      <a:pt x="224" y="171"/>
                    </a:lnTo>
                    <a:lnTo>
                      <a:pt x="232" y="157"/>
                    </a:lnTo>
                    <a:lnTo>
                      <a:pt x="238" y="140"/>
                    </a:lnTo>
                    <a:lnTo>
                      <a:pt x="241" y="133"/>
                    </a:lnTo>
                    <a:lnTo>
                      <a:pt x="242" y="124"/>
                    </a:lnTo>
                    <a:lnTo>
                      <a:pt x="243" y="115"/>
                    </a:lnTo>
                    <a:lnTo>
                      <a:pt x="243" y="105"/>
                    </a:lnTo>
                    <a:lnTo>
                      <a:pt x="243" y="105"/>
                    </a:lnTo>
                    <a:lnTo>
                      <a:pt x="243" y="95"/>
                    </a:lnTo>
                    <a:lnTo>
                      <a:pt x="242" y="84"/>
                    </a:lnTo>
                    <a:lnTo>
                      <a:pt x="238" y="75"/>
                    </a:lnTo>
                    <a:lnTo>
                      <a:pt x="235" y="65"/>
                    </a:lnTo>
                    <a:lnTo>
                      <a:pt x="231" y="56"/>
                    </a:lnTo>
                    <a:lnTo>
                      <a:pt x="225" y="48"/>
                    </a:lnTo>
                    <a:lnTo>
                      <a:pt x="219" y="39"/>
                    </a:lnTo>
                    <a:lnTo>
                      <a:pt x="211" y="31"/>
                    </a:lnTo>
                    <a:lnTo>
                      <a:pt x="203" y="25"/>
                    </a:lnTo>
                    <a:lnTo>
                      <a:pt x="194" y="18"/>
                    </a:lnTo>
                    <a:lnTo>
                      <a:pt x="183" y="13"/>
                    </a:lnTo>
                    <a:lnTo>
                      <a:pt x="171" y="9"/>
                    </a:lnTo>
                    <a:lnTo>
                      <a:pt x="159" y="4"/>
                    </a:lnTo>
                    <a:lnTo>
                      <a:pt x="144" y="2"/>
                    </a:lnTo>
                    <a:lnTo>
                      <a:pt x="129" y="0"/>
                    </a:lnTo>
                    <a:lnTo>
                      <a:pt x="113" y="0"/>
                    </a:lnTo>
                    <a:lnTo>
                      <a:pt x="113" y="0"/>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sp>
          <p:nvSpPr>
            <p:cNvPr id="589" name="Freeform 588"/>
            <p:cNvSpPr>
              <a:spLocks/>
            </p:cNvSpPr>
            <p:nvPr/>
          </p:nvSpPr>
          <p:spPr bwMode="auto">
            <a:xfrm>
              <a:off x="2676319" y="1380540"/>
              <a:ext cx="132461" cy="150164"/>
            </a:xfrm>
            <a:custGeom>
              <a:avLst/>
              <a:gdLst>
                <a:gd name="T0" fmla="*/ 130 w 310"/>
                <a:gd name="T1" fmla="*/ 91 h 358"/>
                <a:gd name="T2" fmla="*/ 0 w 310"/>
                <a:gd name="T3" fmla="*/ 253 h 358"/>
                <a:gd name="T4" fmla="*/ 129 w 310"/>
                <a:gd name="T5" fmla="*/ 358 h 358"/>
                <a:gd name="T6" fmla="*/ 260 w 310"/>
                <a:gd name="T7" fmla="*/ 195 h 358"/>
                <a:gd name="T8" fmla="*/ 304 w 310"/>
                <a:gd name="T9" fmla="*/ 231 h 358"/>
                <a:gd name="T10" fmla="*/ 310 w 310"/>
                <a:gd name="T11" fmla="*/ 0 h 358"/>
                <a:gd name="T12" fmla="*/ 86 w 310"/>
                <a:gd name="T13" fmla="*/ 54 h 358"/>
                <a:gd name="T14" fmla="*/ 130 w 310"/>
                <a:gd name="T15" fmla="*/ 91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0" h="358">
                  <a:moveTo>
                    <a:pt x="130" y="91"/>
                  </a:moveTo>
                  <a:lnTo>
                    <a:pt x="0" y="253"/>
                  </a:lnTo>
                  <a:lnTo>
                    <a:pt x="129" y="358"/>
                  </a:lnTo>
                  <a:lnTo>
                    <a:pt x="260" y="195"/>
                  </a:lnTo>
                  <a:lnTo>
                    <a:pt x="304" y="231"/>
                  </a:lnTo>
                  <a:lnTo>
                    <a:pt x="310" y="0"/>
                  </a:lnTo>
                  <a:lnTo>
                    <a:pt x="86" y="54"/>
                  </a:lnTo>
                  <a:lnTo>
                    <a:pt x="130" y="91"/>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90" name="Freeform 589"/>
            <p:cNvSpPr>
              <a:spLocks/>
            </p:cNvSpPr>
            <p:nvPr/>
          </p:nvSpPr>
          <p:spPr bwMode="auto">
            <a:xfrm>
              <a:off x="5922075" y="1059234"/>
              <a:ext cx="137619" cy="187283"/>
            </a:xfrm>
            <a:custGeom>
              <a:avLst/>
              <a:gdLst>
                <a:gd name="T0" fmla="*/ 320 w 321"/>
                <a:gd name="T1" fmla="*/ 362 h 448"/>
                <a:gd name="T2" fmla="*/ 320 w 321"/>
                <a:gd name="T3" fmla="*/ 362 h 448"/>
                <a:gd name="T4" fmla="*/ 321 w 321"/>
                <a:gd name="T5" fmla="*/ 360 h 448"/>
                <a:gd name="T6" fmla="*/ 320 w 321"/>
                <a:gd name="T7" fmla="*/ 357 h 448"/>
                <a:gd name="T8" fmla="*/ 320 w 321"/>
                <a:gd name="T9" fmla="*/ 355 h 448"/>
                <a:gd name="T10" fmla="*/ 317 w 321"/>
                <a:gd name="T11" fmla="*/ 353 h 448"/>
                <a:gd name="T12" fmla="*/ 133 w 321"/>
                <a:gd name="T13" fmla="*/ 117 h 448"/>
                <a:gd name="T14" fmla="*/ 163 w 321"/>
                <a:gd name="T15" fmla="*/ 71 h 448"/>
                <a:gd name="T16" fmla="*/ 163 w 321"/>
                <a:gd name="T17" fmla="*/ 71 h 448"/>
                <a:gd name="T18" fmla="*/ 165 w 321"/>
                <a:gd name="T19" fmla="*/ 67 h 448"/>
                <a:gd name="T20" fmla="*/ 165 w 321"/>
                <a:gd name="T21" fmla="*/ 64 h 448"/>
                <a:gd name="T22" fmla="*/ 164 w 321"/>
                <a:gd name="T23" fmla="*/ 61 h 448"/>
                <a:gd name="T24" fmla="*/ 163 w 321"/>
                <a:gd name="T25" fmla="*/ 58 h 448"/>
                <a:gd name="T26" fmla="*/ 121 w 321"/>
                <a:gd name="T27" fmla="*/ 5 h 448"/>
                <a:gd name="T28" fmla="*/ 121 w 321"/>
                <a:gd name="T29" fmla="*/ 5 h 448"/>
                <a:gd name="T30" fmla="*/ 118 w 321"/>
                <a:gd name="T31" fmla="*/ 2 h 448"/>
                <a:gd name="T32" fmla="*/ 113 w 321"/>
                <a:gd name="T33" fmla="*/ 0 h 448"/>
                <a:gd name="T34" fmla="*/ 109 w 321"/>
                <a:gd name="T35" fmla="*/ 0 h 448"/>
                <a:gd name="T36" fmla="*/ 105 w 321"/>
                <a:gd name="T37" fmla="*/ 3 h 448"/>
                <a:gd name="T38" fmla="*/ 105 w 321"/>
                <a:gd name="T39" fmla="*/ 3 h 448"/>
                <a:gd name="T40" fmla="*/ 101 w 321"/>
                <a:gd name="T41" fmla="*/ 6 h 448"/>
                <a:gd name="T42" fmla="*/ 100 w 321"/>
                <a:gd name="T43" fmla="*/ 10 h 448"/>
                <a:gd name="T44" fmla="*/ 100 w 321"/>
                <a:gd name="T45" fmla="*/ 15 h 448"/>
                <a:gd name="T46" fmla="*/ 102 w 321"/>
                <a:gd name="T47" fmla="*/ 19 h 448"/>
                <a:gd name="T48" fmla="*/ 139 w 321"/>
                <a:gd name="T49" fmla="*/ 65 h 448"/>
                <a:gd name="T50" fmla="*/ 2 w 321"/>
                <a:gd name="T51" fmla="*/ 273 h 448"/>
                <a:gd name="T52" fmla="*/ 2 w 321"/>
                <a:gd name="T53" fmla="*/ 273 h 448"/>
                <a:gd name="T54" fmla="*/ 1 w 321"/>
                <a:gd name="T55" fmla="*/ 276 h 448"/>
                <a:gd name="T56" fmla="*/ 0 w 321"/>
                <a:gd name="T57" fmla="*/ 279 h 448"/>
                <a:gd name="T58" fmla="*/ 1 w 321"/>
                <a:gd name="T59" fmla="*/ 283 h 448"/>
                <a:gd name="T60" fmla="*/ 3 w 321"/>
                <a:gd name="T61" fmla="*/ 287 h 448"/>
                <a:gd name="T62" fmla="*/ 126 w 321"/>
                <a:gd name="T63" fmla="*/ 443 h 448"/>
                <a:gd name="T64" fmla="*/ 126 w 321"/>
                <a:gd name="T65" fmla="*/ 443 h 448"/>
                <a:gd name="T66" fmla="*/ 129 w 321"/>
                <a:gd name="T67" fmla="*/ 447 h 448"/>
                <a:gd name="T68" fmla="*/ 134 w 321"/>
                <a:gd name="T69" fmla="*/ 448 h 448"/>
                <a:gd name="T70" fmla="*/ 138 w 321"/>
                <a:gd name="T71" fmla="*/ 448 h 448"/>
                <a:gd name="T72" fmla="*/ 142 w 321"/>
                <a:gd name="T73" fmla="*/ 445 h 448"/>
                <a:gd name="T74" fmla="*/ 142 w 321"/>
                <a:gd name="T75" fmla="*/ 445 h 448"/>
                <a:gd name="T76" fmla="*/ 146 w 321"/>
                <a:gd name="T77" fmla="*/ 442 h 448"/>
                <a:gd name="T78" fmla="*/ 147 w 321"/>
                <a:gd name="T79" fmla="*/ 438 h 448"/>
                <a:gd name="T80" fmla="*/ 147 w 321"/>
                <a:gd name="T81" fmla="*/ 434 h 448"/>
                <a:gd name="T82" fmla="*/ 145 w 321"/>
                <a:gd name="T83" fmla="*/ 429 h 448"/>
                <a:gd name="T84" fmla="*/ 26 w 321"/>
                <a:gd name="T85" fmla="*/ 278 h 448"/>
                <a:gd name="T86" fmla="*/ 38 w 321"/>
                <a:gd name="T87" fmla="*/ 261 h 448"/>
                <a:gd name="T88" fmla="*/ 168 w 321"/>
                <a:gd name="T89" fmla="*/ 427 h 448"/>
                <a:gd name="T90" fmla="*/ 168 w 321"/>
                <a:gd name="T91" fmla="*/ 427 h 448"/>
                <a:gd name="T92" fmla="*/ 170 w 321"/>
                <a:gd name="T93" fmla="*/ 429 h 448"/>
                <a:gd name="T94" fmla="*/ 174 w 321"/>
                <a:gd name="T95" fmla="*/ 431 h 448"/>
                <a:gd name="T96" fmla="*/ 178 w 321"/>
                <a:gd name="T97" fmla="*/ 431 h 448"/>
                <a:gd name="T98" fmla="*/ 181 w 321"/>
                <a:gd name="T99" fmla="*/ 430 h 448"/>
                <a:gd name="T100" fmla="*/ 313 w 321"/>
                <a:gd name="T101" fmla="*/ 370 h 448"/>
                <a:gd name="T102" fmla="*/ 313 w 321"/>
                <a:gd name="T103" fmla="*/ 370 h 448"/>
                <a:gd name="T104" fmla="*/ 315 w 321"/>
                <a:gd name="T105" fmla="*/ 369 h 448"/>
                <a:gd name="T106" fmla="*/ 317 w 321"/>
                <a:gd name="T107" fmla="*/ 368 h 448"/>
                <a:gd name="T108" fmla="*/ 320 w 321"/>
                <a:gd name="T109" fmla="*/ 362 h 448"/>
                <a:gd name="T110" fmla="*/ 320 w 321"/>
                <a:gd name="T111" fmla="*/ 36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448">
                  <a:moveTo>
                    <a:pt x="320" y="362"/>
                  </a:moveTo>
                  <a:lnTo>
                    <a:pt x="320" y="362"/>
                  </a:lnTo>
                  <a:lnTo>
                    <a:pt x="321" y="360"/>
                  </a:lnTo>
                  <a:lnTo>
                    <a:pt x="320" y="357"/>
                  </a:lnTo>
                  <a:lnTo>
                    <a:pt x="320" y="355"/>
                  </a:lnTo>
                  <a:lnTo>
                    <a:pt x="317" y="353"/>
                  </a:lnTo>
                  <a:lnTo>
                    <a:pt x="133" y="117"/>
                  </a:lnTo>
                  <a:lnTo>
                    <a:pt x="163" y="71"/>
                  </a:lnTo>
                  <a:lnTo>
                    <a:pt x="163" y="71"/>
                  </a:lnTo>
                  <a:lnTo>
                    <a:pt x="165" y="67"/>
                  </a:lnTo>
                  <a:lnTo>
                    <a:pt x="165" y="64"/>
                  </a:lnTo>
                  <a:lnTo>
                    <a:pt x="164" y="61"/>
                  </a:lnTo>
                  <a:lnTo>
                    <a:pt x="163" y="58"/>
                  </a:lnTo>
                  <a:lnTo>
                    <a:pt x="121" y="5"/>
                  </a:lnTo>
                  <a:lnTo>
                    <a:pt x="121" y="5"/>
                  </a:lnTo>
                  <a:lnTo>
                    <a:pt x="118" y="2"/>
                  </a:lnTo>
                  <a:lnTo>
                    <a:pt x="113" y="0"/>
                  </a:lnTo>
                  <a:lnTo>
                    <a:pt x="109" y="0"/>
                  </a:lnTo>
                  <a:lnTo>
                    <a:pt x="105" y="3"/>
                  </a:lnTo>
                  <a:lnTo>
                    <a:pt x="105" y="3"/>
                  </a:lnTo>
                  <a:lnTo>
                    <a:pt x="101" y="6"/>
                  </a:lnTo>
                  <a:lnTo>
                    <a:pt x="100" y="10"/>
                  </a:lnTo>
                  <a:lnTo>
                    <a:pt x="100" y="15"/>
                  </a:lnTo>
                  <a:lnTo>
                    <a:pt x="102" y="19"/>
                  </a:lnTo>
                  <a:lnTo>
                    <a:pt x="139" y="65"/>
                  </a:lnTo>
                  <a:lnTo>
                    <a:pt x="2" y="273"/>
                  </a:lnTo>
                  <a:lnTo>
                    <a:pt x="2" y="273"/>
                  </a:lnTo>
                  <a:lnTo>
                    <a:pt x="1" y="276"/>
                  </a:lnTo>
                  <a:lnTo>
                    <a:pt x="0" y="279"/>
                  </a:lnTo>
                  <a:lnTo>
                    <a:pt x="1" y="283"/>
                  </a:lnTo>
                  <a:lnTo>
                    <a:pt x="3" y="287"/>
                  </a:lnTo>
                  <a:lnTo>
                    <a:pt x="126" y="443"/>
                  </a:lnTo>
                  <a:lnTo>
                    <a:pt x="126" y="443"/>
                  </a:lnTo>
                  <a:lnTo>
                    <a:pt x="129" y="447"/>
                  </a:lnTo>
                  <a:lnTo>
                    <a:pt x="134" y="448"/>
                  </a:lnTo>
                  <a:lnTo>
                    <a:pt x="138" y="448"/>
                  </a:lnTo>
                  <a:lnTo>
                    <a:pt x="142" y="445"/>
                  </a:lnTo>
                  <a:lnTo>
                    <a:pt x="142" y="445"/>
                  </a:lnTo>
                  <a:lnTo>
                    <a:pt x="146" y="442"/>
                  </a:lnTo>
                  <a:lnTo>
                    <a:pt x="147" y="438"/>
                  </a:lnTo>
                  <a:lnTo>
                    <a:pt x="147" y="434"/>
                  </a:lnTo>
                  <a:lnTo>
                    <a:pt x="145" y="429"/>
                  </a:lnTo>
                  <a:lnTo>
                    <a:pt x="26" y="278"/>
                  </a:lnTo>
                  <a:lnTo>
                    <a:pt x="38" y="261"/>
                  </a:lnTo>
                  <a:lnTo>
                    <a:pt x="168" y="427"/>
                  </a:lnTo>
                  <a:lnTo>
                    <a:pt x="168" y="427"/>
                  </a:lnTo>
                  <a:lnTo>
                    <a:pt x="170" y="429"/>
                  </a:lnTo>
                  <a:lnTo>
                    <a:pt x="174" y="431"/>
                  </a:lnTo>
                  <a:lnTo>
                    <a:pt x="178" y="431"/>
                  </a:lnTo>
                  <a:lnTo>
                    <a:pt x="181" y="430"/>
                  </a:lnTo>
                  <a:lnTo>
                    <a:pt x="313" y="370"/>
                  </a:lnTo>
                  <a:lnTo>
                    <a:pt x="313" y="370"/>
                  </a:lnTo>
                  <a:lnTo>
                    <a:pt x="315" y="369"/>
                  </a:lnTo>
                  <a:lnTo>
                    <a:pt x="317" y="368"/>
                  </a:lnTo>
                  <a:lnTo>
                    <a:pt x="320" y="362"/>
                  </a:lnTo>
                  <a:lnTo>
                    <a:pt x="320" y="362"/>
                  </a:lnTo>
                  <a:close/>
                </a:path>
              </a:pathLst>
            </a:custGeom>
            <a:solidFill>
              <a:srgbClr val="6C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91" name="Freeform 590"/>
            <p:cNvSpPr>
              <a:spLocks noEditPoints="1"/>
            </p:cNvSpPr>
            <p:nvPr/>
          </p:nvSpPr>
          <p:spPr bwMode="auto">
            <a:xfrm>
              <a:off x="5427102" y="708074"/>
              <a:ext cx="89453" cy="140040"/>
            </a:xfrm>
            <a:custGeom>
              <a:avLst/>
              <a:gdLst>
                <a:gd name="T0" fmla="*/ 5 w 208"/>
                <a:gd name="T1" fmla="*/ 268 h 330"/>
                <a:gd name="T2" fmla="*/ 5 w 208"/>
                <a:gd name="T3" fmla="*/ 268 h 330"/>
                <a:gd name="T4" fmla="*/ 10 w 208"/>
                <a:gd name="T5" fmla="*/ 260 h 330"/>
                <a:gd name="T6" fmla="*/ 15 w 208"/>
                <a:gd name="T7" fmla="*/ 254 h 330"/>
                <a:gd name="T8" fmla="*/ 23 w 208"/>
                <a:gd name="T9" fmla="*/ 248 h 330"/>
                <a:gd name="T10" fmla="*/ 29 w 208"/>
                <a:gd name="T11" fmla="*/ 245 h 330"/>
                <a:gd name="T12" fmla="*/ 38 w 208"/>
                <a:gd name="T13" fmla="*/ 243 h 330"/>
                <a:gd name="T14" fmla="*/ 45 w 208"/>
                <a:gd name="T15" fmla="*/ 243 h 330"/>
                <a:gd name="T16" fmla="*/ 54 w 208"/>
                <a:gd name="T17" fmla="*/ 244 h 330"/>
                <a:gd name="T18" fmla="*/ 63 w 208"/>
                <a:gd name="T19" fmla="*/ 247 h 330"/>
                <a:gd name="T20" fmla="*/ 63 w 208"/>
                <a:gd name="T21" fmla="*/ 247 h 330"/>
                <a:gd name="T22" fmla="*/ 71 w 208"/>
                <a:gd name="T23" fmla="*/ 251 h 330"/>
                <a:gd name="T24" fmla="*/ 78 w 208"/>
                <a:gd name="T25" fmla="*/ 258 h 330"/>
                <a:gd name="T26" fmla="*/ 82 w 208"/>
                <a:gd name="T27" fmla="*/ 264 h 330"/>
                <a:gd name="T28" fmla="*/ 85 w 208"/>
                <a:gd name="T29" fmla="*/ 272 h 330"/>
                <a:gd name="T30" fmla="*/ 87 w 208"/>
                <a:gd name="T31" fmla="*/ 279 h 330"/>
                <a:gd name="T32" fmla="*/ 87 w 208"/>
                <a:gd name="T33" fmla="*/ 288 h 330"/>
                <a:gd name="T34" fmla="*/ 86 w 208"/>
                <a:gd name="T35" fmla="*/ 297 h 330"/>
                <a:gd name="T36" fmla="*/ 83 w 208"/>
                <a:gd name="T37" fmla="*/ 305 h 330"/>
                <a:gd name="T38" fmla="*/ 83 w 208"/>
                <a:gd name="T39" fmla="*/ 305 h 330"/>
                <a:gd name="T40" fmla="*/ 78 w 208"/>
                <a:gd name="T41" fmla="*/ 313 h 330"/>
                <a:gd name="T42" fmla="*/ 72 w 208"/>
                <a:gd name="T43" fmla="*/ 319 h 330"/>
                <a:gd name="T44" fmla="*/ 66 w 208"/>
                <a:gd name="T45" fmla="*/ 325 h 330"/>
                <a:gd name="T46" fmla="*/ 58 w 208"/>
                <a:gd name="T47" fmla="*/ 328 h 330"/>
                <a:gd name="T48" fmla="*/ 51 w 208"/>
                <a:gd name="T49" fmla="*/ 330 h 330"/>
                <a:gd name="T50" fmla="*/ 42 w 208"/>
                <a:gd name="T51" fmla="*/ 330 h 330"/>
                <a:gd name="T52" fmla="*/ 33 w 208"/>
                <a:gd name="T53" fmla="*/ 329 h 330"/>
                <a:gd name="T54" fmla="*/ 25 w 208"/>
                <a:gd name="T55" fmla="*/ 326 h 330"/>
                <a:gd name="T56" fmla="*/ 25 w 208"/>
                <a:gd name="T57" fmla="*/ 326 h 330"/>
                <a:gd name="T58" fmla="*/ 17 w 208"/>
                <a:gd name="T59" fmla="*/ 322 h 330"/>
                <a:gd name="T60" fmla="*/ 11 w 208"/>
                <a:gd name="T61" fmla="*/ 315 h 330"/>
                <a:gd name="T62" fmla="*/ 5 w 208"/>
                <a:gd name="T63" fmla="*/ 309 h 330"/>
                <a:gd name="T64" fmla="*/ 2 w 208"/>
                <a:gd name="T65" fmla="*/ 301 h 330"/>
                <a:gd name="T66" fmla="*/ 0 w 208"/>
                <a:gd name="T67" fmla="*/ 293 h 330"/>
                <a:gd name="T68" fmla="*/ 0 w 208"/>
                <a:gd name="T69" fmla="*/ 285 h 330"/>
                <a:gd name="T70" fmla="*/ 2 w 208"/>
                <a:gd name="T71" fmla="*/ 276 h 330"/>
                <a:gd name="T72" fmla="*/ 5 w 208"/>
                <a:gd name="T73" fmla="*/ 268 h 330"/>
                <a:gd name="T74" fmla="*/ 5 w 208"/>
                <a:gd name="T75" fmla="*/ 268 h 330"/>
                <a:gd name="T76" fmla="*/ 54 w 208"/>
                <a:gd name="T77" fmla="*/ 202 h 330"/>
                <a:gd name="T78" fmla="*/ 139 w 208"/>
                <a:gd name="T79" fmla="*/ 0 h 330"/>
                <a:gd name="T80" fmla="*/ 208 w 208"/>
                <a:gd name="T81" fmla="*/ 33 h 330"/>
                <a:gd name="T82" fmla="*/ 104 w 208"/>
                <a:gd name="T83" fmla="*/ 225 h 330"/>
                <a:gd name="T84" fmla="*/ 54 w 208"/>
                <a:gd name="T85" fmla="*/ 202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8" h="330">
                  <a:moveTo>
                    <a:pt x="5" y="268"/>
                  </a:moveTo>
                  <a:lnTo>
                    <a:pt x="5" y="268"/>
                  </a:lnTo>
                  <a:lnTo>
                    <a:pt x="10" y="260"/>
                  </a:lnTo>
                  <a:lnTo>
                    <a:pt x="15" y="254"/>
                  </a:lnTo>
                  <a:lnTo>
                    <a:pt x="23" y="248"/>
                  </a:lnTo>
                  <a:lnTo>
                    <a:pt x="29" y="245"/>
                  </a:lnTo>
                  <a:lnTo>
                    <a:pt x="38" y="243"/>
                  </a:lnTo>
                  <a:lnTo>
                    <a:pt x="45" y="243"/>
                  </a:lnTo>
                  <a:lnTo>
                    <a:pt x="54" y="244"/>
                  </a:lnTo>
                  <a:lnTo>
                    <a:pt x="63" y="247"/>
                  </a:lnTo>
                  <a:lnTo>
                    <a:pt x="63" y="247"/>
                  </a:lnTo>
                  <a:lnTo>
                    <a:pt x="71" y="251"/>
                  </a:lnTo>
                  <a:lnTo>
                    <a:pt x="78" y="258"/>
                  </a:lnTo>
                  <a:lnTo>
                    <a:pt x="82" y="264"/>
                  </a:lnTo>
                  <a:lnTo>
                    <a:pt x="85" y="272"/>
                  </a:lnTo>
                  <a:lnTo>
                    <a:pt x="87" y="279"/>
                  </a:lnTo>
                  <a:lnTo>
                    <a:pt x="87" y="288"/>
                  </a:lnTo>
                  <a:lnTo>
                    <a:pt x="86" y="297"/>
                  </a:lnTo>
                  <a:lnTo>
                    <a:pt x="83" y="305"/>
                  </a:lnTo>
                  <a:lnTo>
                    <a:pt x="83" y="305"/>
                  </a:lnTo>
                  <a:lnTo>
                    <a:pt x="78" y="313"/>
                  </a:lnTo>
                  <a:lnTo>
                    <a:pt x="72" y="319"/>
                  </a:lnTo>
                  <a:lnTo>
                    <a:pt x="66" y="325"/>
                  </a:lnTo>
                  <a:lnTo>
                    <a:pt x="58" y="328"/>
                  </a:lnTo>
                  <a:lnTo>
                    <a:pt x="51" y="330"/>
                  </a:lnTo>
                  <a:lnTo>
                    <a:pt x="42" y="330"/>
                  </a:lnTo>
                  <a:lnTo>
                    <a:pt x="33" y="329"/>
                  </a:lnTo>
                  <a:lnTo>
                    <a:pt x="25" y="326"/>
                  </a:lnTo>
                  <a:lnTo>
                    <a:pt x="25" y="326"/>
                  </a:lnTo>
                  <a:lnTo>
                    <a:pt x="17" y="322"/>
                  </a:lnTo>
                  <a:lnTo>
                    <a:pt x="11" y="315"/>
                  </a:lnTo>
                  <a:lnTo>
                    <a:pt x="5" y="309"/>
                  </a:lnTo>
                  <a:lnTo>
                    <a:pt x="2" y="301"/>
                  </a:lnTo>
                  <a:lnTo>
                    <a:pt x="0" y="293"/>
                  </a:lnTo>
                  <a:lnTo>
                    <a:pt x="0" y="285"/>
                  </a:lnTo>
                  <a:lnTo>
                    <a:pt x="2" y="276"/>
                  </a:lnTo>
                  <a:lnTo>
                    <a:pt x="5" y="268"/>
                  </a:lnTo>
                  <a:lnTo>
                    <a:pt x="5" y="268"/>
                  </a:lnTo>
                  <a:close/>
                  <a:moveTo>
                    <a:pt x="54" y="202"/>
                  </a:moveTo>
                  <a:lnTo>
                    <a:pt x="139" y="0"/>
                  </a:lnTo>
                  <a:lnTo>
                    <a:pt x="208" y="33"/>
                  </a:lnTo>
                  <a:lnTo>
                    <a:pt x="104" y="225"/>
                  </a:lnTo>
                  <a:lnTo>
                    <a:pt x="54" y="202"/>
                  </a:lnTo>
                  <a:close/>
                </a:path>
              </a:pathLst>
            </a:custGeom>
            <a:solidFill>
              <a:srgbClr val="E5E8E8">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nvGrpSpPr>
            <p:cNvPr id="592" name="Group 591"/>
            <p:cNvGrpSpPr/>
            <p:nvPr/>
          </p:nvGrpSpPr>
          <p:grpSpPr>
            <a:xfrm>
              <a:off x="4026495" y="106848"/>
              <a:ext cx="218462" cy="431919"/>
              <a:chOff x="4019039" y="58685"/>
              <a:chExt cx="192805" cy="381180"/>
            </a:xfrm>
          </p:grpSpPr>
          <p:sp>
            <p:nvSpPr>
              <p:cNvPr id="639" name="Freeform 638"/>
              <p:cNvSpPr>
                <a:spLocks/>
              </p:cNvSpPr>
              <p:nvPr/>
            </p:nvSpPr>
            <p:spPr bwMode="auto">
              <a:xfrm>
                <a:off x="4132901" y="250764"/>
                <a:ext cx="15182" cy="14890"/>
              </a:xfrm>
              <a:custGeom>
                <a:avLst/>
                <a:gdLst>
                  <a:gd name="T0" fmla="*/ 18 w 42"/>
                  <a:gd name="T1" fmla="*/ 0 h 42"/>
                  <a:gd name="T2" fmla="*/ 18 w 42"/>
                  <a:gd name="T3" fmla="*/ 0 h 42"/>
                  <a:gd name="T4" fmla="*/ 13 w 42"/>
                  <a:gd name="T5" fmla="*/ 1 h 42"/>
                  <a:gd name="T6" fmla="*/ 10 w 42"/>
                  <a:gd name="T7" fmla="*/ 3 h 42"/>
                  <a:gd name="T8" fmla="*/ 7 w 42"/>
                  <a:gd name="T9" fmla="*/ 6 h 42"/>
                  <a:gd name="T10" fmla="*/ 4 w 42"/>
                  <a:gd name="T11" fmla="*/ 9 h 42"/>
                  <a:gd name="T12" fmla="*/ 1 w 42"/>
                  <a:gd name="T13" fmla="*/ 12 h 42"/>
                  <a:gd name="T14" fmla="*/ 0 w 42"/>
                  <a:gd name="T15" fmla="*/ 16 h 42"/>
                  <a:gd name="T16" fmla="*/ 0 w 42"/>
                  <a:gd name="T17" fmla="*/ 21 h 42"/>
                  <a:gd name="T18" fmla="*/ 0 w 42"/>
                  <a:gd name="T19" fmla="*/ 25 h 42"/>
                  <a:gd name="T20" fmla="*/ 0 w 42"/>
                  <a:gd name="T21" fmla="*/ 25 h 42"/>
                  <a:gd name="T22" fmla="*/ 1 w 42"/>
                  <a:gd name="T23" fmla="*/ 29 h 42"/>
                  <a:gd name="T24" fmla="*/ 4 w 42"/>
                  <a:gd name="T25" fmla="*/ 33 h 42"/>
                  <a:gd name="T26" fmla="*/ 6 w 42"/>
                  <a:gd name="T27" fmla="*/ 36 h 42"/>
                  <a:gd name="T28" fmla="*/ 9 w 42"/>
                  <a:gd name="T29" fmla="*/ 39 h 42"/>
                  <a:gd name="T30" fmla="*/ 12 w 42"/>
                  <a:gd name="T31" fmla="*/ 40 h 42"/>
                  <a:gd name="T32" fmla="*/ 17 w 42"/>
                  <a:gd name="T33" fmla="*/ 42 h 42"/>
                  <a:gd name="T34" fmla="*/ 21 w 42"/>
                  <a:gd name="T35" fmla="*/ 42 h 42"/>
                  <a:gd name="T36" fmla="*/ 25 w 42"/>
                  <a:gd name="T37" fmla="*/ 42 h 42"/>
                  <a:gd name="T38" fmla="*/ 25 w 42"/>
                  <a:gd name="T39" fmla="*/ 42 h 42"/>
                  <a:gd name="T40" fmla="*/ 29 w 42"/>
                  <a:gd name="T41" fmla="*/ 41 h 42"/>
                  <a:gd name="T42" fmla="*/ 33 w 42"/>
                  <a:gd name="T43" fmla="*/ 39 h 42"/>
                  <a:gd name="T44" fmla="*/ 36 w 42"/>
                  <a:gd name="T45" fmla="*/ 37 h 42"/>
                  <a:gd name="T46" fmla="*/ 38 w 42"/>
                  <a:gd name="T47" fmla="*/ 34 h 42"/>
                  <a:gd name="T48" fmla="*/ 40 w 42"/>
                  <a:gd name="T49" fmla="*/ 29 h 42"/>
                  <a:gd name="T50" fmla="*/ 41 w 42"/>
                  <a:gd name="T51" fmla="*/ 26 h 42"/>
                  <a:gd name="T52" fmla="*/ 42 w 42"/>
                  <a:gd name="T53" fmla="*/ 22 h 42"/>
                  <a:gd name="T54" fmla="*/ 42 w 42"/>
                  <a:gd name="T55" fmla="*/ 17 h 42"/>
                  <a:gd name="T56" fmla="*/ 42 w 42"/>
                  <a:gd name="T57" fmla="*/ 17 h 42"/>
                  <a:gd name="T58" fmla="*/ 40 w 42"/>
                  <a:gd name="T59" fmla="*/ 13 h 42"/>
                  <a:gd name="T60" fmla="*/ 39 w 42"/>
                  <a:gd name="T61" fmla="*/ 10 h 42"/>
                  <a:gd name="T62" fmla="*/ 36 w 42"/>
                  <a:gd name="T63" fmla="*/ 7 h 42"/>
                  <a:gd name="T64" fmla="*/ 33 w 42"/>
                  <a:gd name="T65" fmla="*/ 3 h 42"/>
                  <a:gd name="T66" fmla="*/ 29 w 42"/>
                  <a:gd name="T67" fmla="*/ 1 h 42"/>
                  <a:gd name="T68" fmla="*/ 26 w 42"/>
                  <a:gd name="T69" fmla="*/ 0 h 42"/>
                  <a:gd name="T70" fmla="*/ 22 w 42"/>
                  <a:gd name="T71" fmla="*/ 0 h 42"/>
                  <a:gd name="T72" fmla="*/ 18 w 42"/>
                  <a:gd name="T73" fmla="*/ 0 h 42"/>
                  <a:gd name="T74" fmla="*/ 18 w 42"/>
                  <a:gd name="T7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42">
                    <a:moveTo>
                      <a:pt x="18" y="0"/>
                    </a:moveTo>
                    <a:lnTo>
                      <a:pt x="18" y="0"/>
                    </a:lnTo>
                    <a:lnTo>
                      <a:pt x="13" y="1"/>
                    </a:lnTo>
                    <a:lnTo>
                      <a:pt x="10" y="3"/>
                    </a:lnTo>
                    <a:lnTo>
                      <a:pt x="7" y="6"/>
                    </a:lnTo>
                    <a:lnTo>
                      <a:pt x="4" y="9"/>
                    </a:lnTo>
                    <a:lnTo>
                      <a:pt x="1" y="12"/>
                    </a:lnTo>
                    <a:lnTo>
                      <a:pt x="0" y="16"/>
                    </a:lnTo>
                    <a:lnTo>
                      <a:pt x="0" y="21"/>
                    </a:lnTo>
                    <a:lnTo>
                      <a:pt x="0" y="25"/>
                    </a:lnTo>
                    <a:lnTo>
                      <a:pt x="0" y="25"/>
                    </a:lnTo>
                    <a:lnTo>
                      <a:pt x="1" y="29"/>
                    </a:lnTo>
                    <a:lnTo>
                      <a:pt x="4" y="33"/>
                    </a:lnTo>
                    <a:lnTo>
                      <a:pt x="6" y="36"/>
                    </a:lnTo>
                    <a:lnTo>
                      <a:pt x="9" y="39"/>
                    </a:lnTo>
                    <a:lnTo>
                      <a:pt x="12" y="40"/>
                    </a:lnTo>
                    <a:lnTo>
                      <a:pt x="17" y="42"/>
                    </a:lnTo>
                    <a:lnTo>
                      <a:pt x="21" y="42"/>
                    </a:lnTo>
                    <a:lnTo>
                      <a:pt x="25" y="42"/>
                    </a:lnTo>
                    <a:lnTo>
                      <a:pt x="25" y="42"/>
                    </a:lnTo>
                    <a:lnTo>
                      <a:pt x="29" y="41"/>
                    </a:lnTo>
                    <a:lnTo>
                      <a:pt x="33" y="39"/>
                    </a:lnTo>
                    <a:lnTo>
                      <a:pt x="36" y="37"/>
                    </a:lnTo>
                    <a:lnTo>
                      <a:pt x="38" y="34"/>
                    </a:lnTo>
                    <a:lnTo>
                      <a:pt x="40" y="29"/>
                    </a:lnTo>
                    <a:lnTo>
                      <a:pt x="41" y="26"/>
                    </a:lnTo>
                    <a:lnTo>
                      <a:pt x="42" y="22"/>
                    </a:lnTo>
                    <a:lnTo>
                      <a:pt x="42" y="17"/>
                    </a:lnTo>
                    <a:lnTo>
                      <a:pt x="42" y="17"/>
                    </a:lnTo>
                    <a:lnTo>
                      <a:pt x="40" y="13"/>
                    </a:lnTo>
                    <a:lnTo>
                      <a:pt x="39" y="10"/>
                    </a:lnTo>
                    <a:lnTo>
                      <a:pt x="36" y="7"/>
                    </a:lnTo>
                    <a:lnTo>
                      <a:pt x="33" y="3"/>
                    </a:lnTo>
                    <a:lnTo>
                      <a:pt x="29" y="1"/>
                    </a:lnTo>
                    <a:lnTo>
                      <a:pt x="26" y="0"/>
                    </a:lnTo>
                    <a:lnTo>
                      <a:pt x="22" y="0"/>
                    </a:lnTo>
                    <a:lnTo>
                      <a:pt x="18" y="0"/>
                    </a:lnTo>
                    <a:lnTo>
                      <a:pt x="18" y="0"/>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40" name="Freeform 639"/>
              <p:cNvSpPr>
                <a:spLocks/>
              </p:cNvSpPr>
              <p:nvPr/>
            </p:nvSpPr>
            <p:spPr bwMode="auto">
              <a:xfrm>
                <a:off x="4126828" y="220984"/>
                <a:ext cx="16699" cy="14890"/>
              </a:xfrm>
              <a:custGeom>
                <a:avLst/>
                <a:gdLst>
                  <a:gd name="T0" fmla="*/ 18 w 42"/>
                  <a:gd name="T1" fmla="*/ 0 h 42"/>
                  <a:gd name="T2" fmla="*/ 18 w 42"/>
                  <a:gd name="T3" fmla="*/ 0 h 42"/>
                  <a:gd name="T4" fmla="*/ 13 w 42"/>
                  <a:gd name="T5" fmla="*/ 1 h 42"/>
                  <a:gd name="T6" fmla="*/ 9 w 42"/>
                  <a:gd name="T7" fmla="*/ 4 h 42"/>
                  <a:gd name="T8" fmla="*/ 6 w 42"/>
                  <a:gd name="T9" fmla="*/ 6 h 42"/>
                  <a:gd name="T10" fmla="*/ 4 w 42"/>
                  <a:gd name="T11" fmla="*/ 9 h 42"/>
                  <a:gd name="T12" fmla="*/ 1 w 42"/>
                  <a:gd name="T13" fmla="*/ 13 h 42"/>
                  <a:gd name="T14" fmla="*/ 0 w 42"/>
                  <a:gd name="T15" fmla="*/ 16 h 42"/>
                  <a:gd name="T16" fmla="*/ 0 w 42"/>
                  <a:gd name="T17" fmla="*/ 21 h 42"/>
                  <a:gd name="T18" fmla="*/ 0 w 42"/>
                  <a:gd name="T19" fmla="*/ 25 h 42"/>
                  <a:gd name="T20" fmla="*/ 0 w 42"/>
                  <a:gd name="T21" fmla="*/ 25 h 42"/>
                  <a:gd name="T22" fmla="*/ 1 w 42"/>
                  <a:gd name="T23" fmla="*/ 29 h 42"/>
                  <a:gd name="T24" fmla="*/ 4 w 42"/>
                  <a:gd name="T25" fmla="*/ 33 h 42"/>
                  <a:gd name="T26" fmla="*/ 6 w 42"/>
                  <a:gd name="T27" fmla="*/ 36 h 42"/>
                  <a:gd name="T28" fmla="*/ 9 w 42"/>
                  <a:gd name="T29" fmla="*/ 39 h 42"/>
                  <a:gd name="T30" fmla="*/ 12 w 42"/>
                  <a:gd name="T31" fmla="*/ 41 h 42"/>
                  <a:gd name="T32" fmla="*/ 16 w 42"/>
                  <a:gd name="T33" fmla="*/ 42 h 42"/>
                  <a:gd name="T34" fmla="*/ 21 w 42"/>
                  <a:gd name="T35" fmla="*/ 42 h 42"/>
                  <a:gd name="T36" fmla="*/ 25 w 42"/>
                  <a:gd name="T37" fmla="*/ 42 h 42"/>
                  <a:gd name="T38" fmla="*/ 25 w 42"/>
                  <a:gd name="T39" fmla="*/ 42 h 42"/>
                  <a:gd name="T40" fmla="*/ 28 w 42"/>
                  <a:gd name="T41" fmla="*/ 41 h 42"/>
                  <a:gd name="T42" fmla="*/ 33 w 42"/>
                  <a:gd name="T43" fmla="*/ 39 h 42"/>
                  <a:gd name="T44" fmla="*/ 36 w 42"/>
                  <a:gd name="T45" fmla="*/ 37 h 42"/>
                  <a:gd name="T46" fmla="*/ 38 w 42"/>
                  <a:gd name="T47" fmla="*/ 34 h 42"/>
                  <a:gd name="T48" fmla="*/ 40 w 42"/>
                  <a:gd name="T49" fmla="*/ 29 h 42"/>
                  <a:gd name="T50" fmla="*/ 41 w 42"/>
                  <a:gd name="T51" fmla="*/ 26 h 42"/>
                  <a:gd name="T52" fmla="*/ 42 w 42"/>
                  <a:gd name="T53" fmla="*/ 22 h 42"/>
                  <a:gd name="T54" fmla="*/ 41 w 42"/>
                  <a:gd name="T55" fmla="*/ 18 h 42"/>
                  <a:gd name="T56" fmla="*/ 41 w 42"/>
                  <a:gd name="T57" fmla="*/ 18 h 42"/>
                  <a:gd name="T58" fmla="*/ 40 w 42"/>
                  <a:gd name="T59" fmla="*/ 13 h 42"/>
                  <a:gd name="T60" fmla="*/ 38 w 42"/>
                  <a:gd name="T61" fmla="*/ 10 h 42"/>
                  <a:gd name="T62" fmla="*/ 36 w 42"/>
                  <a:gd name="T63" fmla="*/ 7 h 42"/>
                  <a:gd name="T64" fmla="*/ 33 w 42"/>
                  <a:gd name="T65" fmla="*/ 4 h 42"/>
                  <a:gd name="T66" fmla="*/ 29 w 42"/>
                  <a:gd name="T67" fmla="*/ 2 h 42"/>
                  <a:gd name="T68" fmla="*/ 25 w 42"/>
                  <a:gd name="T69" fmla="*/ 0 h 42"/>
                  <a:gd name="T70" fmla="*/ 21 w 42"/>
                  <a:gd name="T71" fmla="*/ 0 h 42"/>
                  <a:gd name="T72" fmla="*/ 18 w 42"/>
                  <a:gd name="T73" fmla="*/ 0 h 42"/>
                  <a:gd name="T74" fmla="*/ 18 w 42"/>
                  <a:gd name="T7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42">
                    <a:moveTo>
                      <a:pt x="18" y="0"/>
                    </a:moveTo>
                    <a:lnTo>
                      <a:pt x="18" y="0"/>
                    </a:lnTo>
                    <a:lnTo>
                      <a:pt x="13" y="1"/>
                    </a:lnTo>
                    <a:lnTo>
                      <a:pt x="9" y="4"/>
                    </a:lnTo>
                    <a:lnTo>
                      <a:pt x="6" y="6"/>
                    </a:lnTo>
                    <a:lnTo>
                      <a:pt x="4" y="9"/>
                    </a:lnTo>
                    <a:lnTo>
                      <a:pt x="1" y="13"/>
                    </a:lnTo>
                    <a:lnTo>
                      <a:pt x="0" y="16"/>
                    </a:lnTo>
                    <a:lnTo>
                      <a:pt x="0" y="21"/>
                    </a:lnTo>
                    <a:lnTo>
                      <a:pt x="0" y="25"/>
                    </a:lnTo>
                    <a:lnTo>
                      <a:pt x="0" y="25"/>
                    </a:lnTo>
                    <a:lnTo>
                      <a:pt x="1" y="29"/>
                    </a:lnTo>
                    <a:lnTo>
                      <a:pt x="4" y="33"/>
                    </a:lnTo>
                    <a:lnTo>
                      <a:pt x="6" y="36"/>
                    </a:lnTo>
                    <a:lnTo>
                      <a:pt x="9" y="39"/>
                    </a:lnTo>
                    <a:lnTo>
                      <a:pt x="12" y="41"/>
                    </a:lnTo>
                    <a:lnTo>
                      <a:pt x="16" y="42"/>
                    </a:lnTo>
                    <a:lnTo>
                      <a:pt x="21" y="42"/>
                    </a:lnTo>
                    <a:lnTo>
                      <a:pt x="25" y="42"/>
                    </a:lnTo>
                    <a:lnTo>
                      <a:pt x="25" y="42"/>
                    </a:lnTo>
                    <a:lnTo>
                      <a:pt x="28" y="41"/>
                    </a:lnTo>
                    <a:lnTo>
                      <a:pt x="33" y="39"/>
                    </a:lnTo>
                    <a:lnTo>
                      <a:pt x="36" y="37"/>
                    </a:lnTo>
                    <a:lnTo>
                      <a:pt x="38" y="34"/>
                    </a:lnTo>
                    <a:lnTo>
                      <a:pt x="40" y="29"/>
                    </a:lnTo>
                    <a:lnTo>
                      <a:pt x="41" y="26"/>
                    </a:lnTo>
                    <a:lnTo>
                      <a:pt x="42" y="22"/>
                    </a:lnTo>
                    <a:lnTo>
                      <a:pt x="41" y="18"/>
                    </a:lnTo>
                    <a:lnTo>
                      <a:pt x="41" y="18"/>
                    </a:lnTo>
                    <a:lnTo>
                      <a:pt x="40" y="13"/>
                    </a:lnTo>
                    <a:lnTo>
                      <a:pt x="38" y="10"/>
                    </a:lnTo>
                    <a:lnTo>
                      <a:pt x="36" y="7"/>
                    </a:lnTo>
                    <a:lnTo>
                      <a:pt x="33" y="4"/>
                    </a:lnTo>
                    <a:lnTo>
                      <a:pt x="29" y="2"/>
                    </a:lnTo>
                    <a:lnTo>
                      <a:pt x="25" y="0"/>
                    </a:lnTo>
                    <a:lnTo>
                      <a:pt x="21" y="0"/>
                    </a:lnTo>
                    <a:lnTo>
                      <a:pt x="18" y="0"/>
                    </a:lnTo>
                    <a:lnTo>
                      <a:pt x="18" y="0"/>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41" name="Freeform 640"/>
              <p:cNvSpPr>
                <a:spLocks/>
              </p:cNvSpPr>
              <p:nvPr/>
            </p:nvSpPr>
            <p:spPr bwMode="auto">
              <a:xfrm>
                <a:off x="4122274" y="191204"/>
                <a:ext cx="15182" cy="14890"/>
              </a:xfrm>
              <a:custGeom>
                <a:avLst/>
                <a:gdLst>
                  <a:gd name="T0" fmla="*/ 17 w 42"/>
                  <a:gd name="T1" fmla="*/ 0 h 42"/>
                  <a:gd name="T2" fmla="*/ 17 w 42"/>
                  <a:gd name="T3" fmla="*/ 0 h 42"/>
                  <a:gd name="T4" fmla="*/ 13 w 42"/>
                  <a:gd name="T5" fmla="*/ 1 h 42"/>
                  <a:gd name="T6" fmla="*/ 10 w 42"/>
                  <a:gd name="T7" fmla="*/ 4 h 42"/>
                  <a:gd name="T8" fmla="*/ 7 w 42"/>
                  <a:gd name="T9" fmla="*/ 6 h 42"/>
                  <a:gd name="T10" fmla="*/ 4 w 42"/>
                  <a:gd name="T11" fmla="*/ 9 h 42"/>
                  <a:gd name="T12" fmla="*/ 2 w 42"/>
                  <a:gd name="T13" fmla="*/ 13 h 42"/>
                  <a:gd name="T14" fmla="*/ 1 w 42"/>
                  <a:gd name="T15" fmla="*/ 17 h 42"/>
                  <a:gd name="T16" fmla="*/ 0 w 42"/>
                  <a:gd name="T17" fmla="*/ 21 h 42"/>
                  <a:gd name="T18" fmla="*/ 1 w 42"/>
                  <a:gd name="T19" fmla="*/ 25 h 42"/>
                  <a:gd name="T20" fmla="*/ 1 w 42"/>
                  <a:gd name="T21" fmla="*/ 25 h 42"/>
                  <a:gd name="T22" fmla="*/ 2 w 42"/>
                  <a:gd name="T23" fmla="*/ 30 h 42"/>
                  <a:gd name="T24" fmla="*/ 3 w 42"/>
                  <a:gd name="T25" fmla="*/ 33 h 42"/>
                  <a:gd name="T26" fmla="*/ 7 w 42"/>
                  <a:gd name="T27" fmla="*/ 36 h 42"/>
                  <a:gd name="T28" fmla="*/ 10 w 42"/>
                  <a:gd name="T29" fmla="*/ 39 h 42"/>
                  <a:gd name="T30" fmla="*/ 13 w 42"/>
                  <a:gd name="T31" fmla="*/ 41 h 42"/>
                  <a:gd name="T32" fmla="*/ 16 w 42"/>
                  <a:gd name="T33" fmla="*/ 42 h 42"/>
                  <a:gd name="T34" fmla="*/ 21 w 42"/>
                  <a:gd name="T35" fmla="*/ 42 h 42"/>
                  <a:gd name="T36" fmla="*/ 25 w 42"/>
                  <a:gd name="T37" fmla="*/ 42 h 42"/>
                  <a:gd name="T38" fmla="*/ 25 w 42"/>
                  <a:gd name="T39" fmla="*/ 42 h 42"/>
                  <a:gd name="T40" fmla="*/ 29 w 42"/>
                  <a:gd name="T41" fmla="*/ 41 h 42"/>
                  <a:gd name="T42" fmla="*/ 33 w 42"/>
                  <a:gd name="T43" fmla="*/ 39 h 42"/>
                  <a:gd name="T44" fmla="*/ 36 w 42"/>
                  <a:gd name="T45" fmla="*/ 37 h 42"/>
                  <a:gd name="T46" fmla="*/ 39 w 42"/>
                  <a:gd name="T47" fmla="*/ 34 h 42"/>
                  <a:gd name="T48" fmla="*/ 41 w 42"/>
                  <a:gd name="T49" fmla="*/ 31 h 42"/>
                  <a:gd name="T50" fmla="*/ 42 w 42"/>
                  <a:gd name="T51" fmla="*/ 26 h 42"/>
                  <a:gd name="T52" fmla="*/ 42 w 42"/>
                  <a:gd name="T53" fmla="*/ 22 h 42"/>
                  <a:gd name="T54" fmla="*/ 42 w 42"/>
                  <a:gd name="T55" fmla="*/ 18 h 42"/>
                  <a:gd name="T56" fmla="*/ 42 w 42"/>
                  <a:gd name="T57" fmla="*/ 18 h 42"/>
                  <a:gd name="T58" fmla="*/ 41 w 42"/>
                  <a:gd name="T59" fmla="*/ 13 h 42"/>
                  <a:gd name="T60" fmla="*/ 39 w 42"/>
                  <a:gd name="T61" fmla="*/ 10 h 42"/>
                  <a:gd name="T62" fmla="*/ 37 w 42"/>
                  <a:gd name="T63" fmla="*/ 7 h 42"/>
                  <a:gd name="T64" fmla="*/ 34 w 42"/>
                  <a:gd name="T65" fmla="*/ 4 h 42"/>
                  <a:gd name="T66" fmla="*/ 30 w 42"/>
                  <a:gd name="T67" fmla="*/ 3 h 42"/>
                  <a:gd name="T68" fmla="*/ 26 w 42"/>
                  <a:gd name="T69" fmla="*/ 0 h 42"/>
                  <a:gd name="T70" fmla="*/ 22 w 42"/>
                  <a:gd name="T71" fmla="*/ 0 h 42"/>
                  <a:gd name="T72" fmla="*/ 17 w 42"/>
                  <a:gd name="T73" fmla="*/ 0 h 42"/>
                  <a:gd name="T74" fmla="*/ 17 w 42"/>
                  <a:gd name="T7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42">
                    <a:moveTo>
                      <a:pt x="17" y="0"/>
                    </a:moveTo>
                    <a:lnTo>
                      <a:pt x="17" y="0"/>
                    </a:lnTo>
                    <a:lnTo>
                      <a:pt x="13" y="1"/>
                    </a:lnTo>
                    <a:lnTo>
                      <a:pt x="10" y="4"/>
                    </a:lnTo>
                    <a:lnTo>
                      <a:pt x="7" y="6"/>
                    </a:lnTo>
                    <a:lnTo>
                      <a:pt x="4" y="9"/>
                    </a:lnTo>
                    <a:lnTo>
                      <a:pt x="2" y="13"/>
                    </a:lnTo>
                    <a:lnTo>
                      <a:pt x="1" y="17"/>
                    </a:lnTo>
                    <a:lnTo>
                      <a:pt x="0" y="21"/>
                    </a:lnTo>
                    <a:lnTo>
                      <a:pt x="1" y="25"/>
                    </a:lnTo>
                    <a:lnTo>
                      <a:pt x="1" y="25"/>
                    </a:lnTo>
                    <a:lnTo>
                      <a:pt x="2" y="30"/>
                    </a:lnTo>
                    <a:lnTo>
                      <a:pt x="3" y="33"/>
                    </a:lnTo>
                    <a:lnTo>
                      <a:pt x="7" y="36"/>
                    </a:lnTo>
                    <a:lnTo>
                      <a:pt x="10" y="39"/>
                    </a:lnTo>
                    <a:lnTo>
                      <a:pt x="13" y="41"/>
                    </a:lnTo>
                    <a:lnTo>
                      <a:pt x="16" y="42"/>
                    </a:lnTo>
                    <a:lnTo>
                      <a:pt x="21" y="42"/>
                    </a:lnTo>
                    <a:lnTo>
                      <a:pt x="25" y="42"/>
                    </a:lnTo>
                    <a:lnTo>
                      <a:pt x="25" y="42"/>
                    </a:lnTo>
                    <a:lnTo>
                      <a:pt x="29" y="41"/>
                    </a:lnTo>
                    <a:lnTo>
                      <a:pt x="33" y="39"/>
                    </a:lnTo>
                    <a:lnTo>
                      <a:pt x="36" y="37"/>
                    </a:lnTo>
                    <a:lnTo>
                      <a:pt x="39" y="34"/>
                    </a:lnTo>
                    <a:lnTo>
                      <a:pt x="41" y="31"/>
                    </a:lnTo>
                    <a:lnTo>
                      <a:pt x="42" y="26"/>
                    </a:lnTo>
                    <a:lnTo>
                      <a:pt x="42" y="22"/>
                    </a:lnTo>
                    <a:lnTo>
                      <a:pt x="42" y="18"/>
                    </a:lnTo>
                    <a:lnTo>
                      <a:pt x="42" y="18"/>
                    </a:lnTo>
                    <a:lnTo>
                      <a:pt x="41" y="13"/>
                    </a:lnTo>
                    <a:lnTo>
                      <a:pt x="39" y="10"/>
                    </a:lnTo>
                    <a:lnTo>
                      <a:pt x="37" y="7"/>
                    </a:lnTo>
                    <a:lnTo>
                      <a:pt x="34" y="4"/>
                    </a:lnTo>
                    <a:lnTo>
                      <a:pt x="30" y="3"/>
                    </a:lnTo>
                    <a:lnTo>
                      <a:pt x="26" y="0"/>
                    </a:lnTo>
                    <a:lnTo>
                      <a:pt x="22" y="0"/>
                    </a:lnTo>
                    <a:lnTo>
                      <a:pt x="17" y="0"/>
                    </a:lnTo>
                    <a:lnTo>
                      <a:pt x="17" y="0"/>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42" name="Freeform 641"/>
              <p:cNvSpPr>
                <a:spLocks/>
              </p:cNvSpPr>
              <p:nvPr/>
            </p:nvSpPr>
            <p:spPr bwMode="auto">
              <a:xfrm>
                <a:off x="4116202" y="161425"/>
                <a:ext cx="16699" cy="14890"/>
              </a:xfrm>
              <a:custGeom>
                <a:avLst/>
                <a:gdLst>
                  <a:gd name="T0" fmla="*/ 17 w 42"/>
                  <a:gd name="T1" fmla="*/ 0 h 43"/>
                  <a:gd name="T2" fmla="*/ 17 w 42"/>
                  <a:gd name="T3" fmla="*/ 0 h 43"/>
                  <a:gd name="T4" fmla="*/ 13 w 42"/>
                  <a:gd name="T5" fmla="*/ 2 h 43"/>
                  <a:gd name="T6" fmla="*/ 10 w 42"/>
                  <a:gd name="T7" fmla="*/ 4 h 43"/>
                  <a:gd name="T8" fmla="*/ 7 w 42"/>
                  <a:gd name="T9" fmla="*/ 7 h 43"/>
                  <a:gd name="T10" fmla="*/ 3 w 42"/>
                  <a:gd name="T11" fmla="*/ 9 h 43"/>
                  <a:gd name="T12" fmla="*/ 2 w 42"/>
                  <a:gd name="T13" fmla="*/ 13 h 43"/>
                  <a:gd name="T14" fmla="*/ 0 w 42"/>
                  <a:gd name="T15" fmla="*/ 17 h 43"/>
                  <a:gd name="T16" fmla="*/ 0 w 42"/>
                  <a:gd name="T17" fmla="*/ 21 h 43"/>
                  <a:gd name="T18" fmla="*/ 0 w 42"/>
                  <a:gd name="T19" fmla="*/ 25 h 43"/>
                  <a:gd name="T20" fmla="*/ 0 w 42"/>
                  <a:gd name="T21" fmla="*/ 25 h 43"/>
                  <a:gd name="T22" fmla="*/ 1 w 42"/>
                  <a:gd name="T23" fmla="*/ 30 h 43"/>
                  <a:gd name="T24" fmla="*/ 3 w 42"/>
                  <a:gd name="T25" fmla="*/ 33 h 43"/>
                  <a:gd name="T26" fmla="*/ 6 w 42"/>
                  <a:gd name="T27" fmla="*/ 36 h 43"/>
                  <a:gd name="T28" fmla="*/ 9 w 42"/>
                  <a:gd name="T29" fmla="*/ 39 h 43"/>
                  <a:gd name="T30" fmla="*/ 13 w 42"/>
                  <a:gd name="T31" fmla="*/ 41 h 43"/>
                  <a:gd name="T32" fmla="*/ 16 w 42"/>
                  <a:gd name="T33" fmla="*/ 43 h 43"/>
                  <a:gd name="T34" fmla="*/ 21 w 42"/>
                  <a:gd name="T35" fmla="*/ 43 h 43"/>
                  <a:gd name="T36" fmla="*/ 25 w 42"/>
                  <a:gd name="T37" fmla="*/ 43 h 43"/>
                  <a:gd name="T38" fmla="*/ 25 w 42"/>
                  <a:gd name="T39" fmla="*/ 43 h 43"/>
                  <a:gd name="T40" fmla="*/ 29 w 42"/>
                  <a:gd name="T41" fmla="*/ 41 h 43"/>
                  <a:gd name="T42" fmla="*/ 33 w 42"/>
                  <a:gd name="T43" fmla="*/ 39 h 43"/>
                  <a:gd name="T44" fmla="*/ 36 w 42"/>
                  <a:gd name="T45" fmla="*/ 37 h 43"/>
                  <a:gd name="T46" fmla="*/ 38 w 42"/>
                  <a:gd name="T47" fmla="*/ 34 h 43"/>
                  <a:gd name="T48" fmla="*/ 40 w 42"/>
                  <a:gd name="T49" fmla="*/ 31 h 43"/>
                  <a:gd name="T50" fmla="*/ 41 w 42"/>
                  <a:gd name="T51" fmla="*/ 26 h 43"/>
                  <a:gd name="T52" fmla="*/ 42 w 42"/>
                  <a:gd name="T53" fmla="*/ 22 h 43"/>
                  <a:gd name="T54" fmla="*/ 42 w 42"/>
                  <a:gd name="T55" fmla="*/ 18 h 43"/>
                  <a:gd name="T56" fmla="*/ 42 w 42"/>
                  <a:gd name="T57" fmla="*/ 18 h 43"/>
                  <a:gd name="T58" fmla="*/ 41 w 42"/>
                  <a:gd name="T59" fmla="*/ 13 h 43"/>
                  <a:gd name="T60" fmla="*/ 39 w 42"/>
                  <a:gd name="T61" fmla="*/ 10 h 43"/>
                  <a:gd name="T62" fmla="*/ 36 w 42"/>
                  <a:gd name="T63" fmla="*/ 7 h 43"/>
                  <a:gd name="T64" fmla="*/ 34 w 42"/>
                  <a:gd name="T65" fmla="*/ 5 h 43"/>
                  <a:gd name="T66" fmla="*/ 29 w 42"/>
                  <a:gd name="T67" fmla="*/ 3 h 43"/>
                  <a:gd name="T68" fmla="*/ 26 w 42"/>
                  <a:gd name="T69" fmla="*/ 2 h 43"/>
                  <a:gd name="T70" fmla="*/ 22 w 42"/>
                  <a:gd name="T71" fmla="*/ 0 h 43"/>
                  <a:gd name="T72" fmla="*/ 17 w 42"/>
                  <a:gd name="T73" fmla="*/ 0 h 43"/>
                  <a:gd name="T74" fmla="*/ 17 w 42"/>
                  <a:gd name="T7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43">
                    <a:moveTo>
                      <a:pt x="17" y="0"/>
                    </a:moveTo>
                    <a:lnTo>
                      <a:pt x="17" y="0"/>
                    </a:lnTo>
                    <a:lnTo>
                      <a:pt x="13" y="2"/>
                    </a:lnTo>
                    <a:lnTo>
                      <a:pt x="10" y="4"/>
                    </a:lnTo>
                    <a:lnTo>
                      <a:pt x="7" y="7"/>
                    </a:lnTo>
                    <a:lnTo>
                      <a:pt x="3" y="9"/>
                    </a:lnTo>
                    <a:lnTo>
                      <a:pt x="2" y="13"/>
                    </a:lnTo>
                    <a:lnTo>
                      <a:pt x="0" y="17"/>
                    </a:lnTo>
                    <a:lnTo>
                      <a:pt x="0" y="21"/>
                    </a:lnTo>
                    <a:lnTo>
                      <a:pt x="0" y="25"/>
                    </a:lnTo>
                    <a:lnTo>
                      <a:pt x="0" y="25"/>
                    </a:lnTo>
                    <a:lnTo>
                      <a:pt x="1" y="30"/>
                    </a:lnTo>
                    <a:lnTo>
                      <a:pt x="3" y="33"/>
                    </a:lnTo>
                    <a:lnTo>
                      <a:pt x="6" y="36"/>
                    </a:lnTo>
                    <a:lnTo>
                      <a:pt x="9" y="39"/>
                    </a:lnTo>
                    <a:lnTo>
                      <a:pt x="13" y="41"/>
                    </a:lnTo>
                    <a:lnTo>
                      <a:pt x="16" y="43"/>
                    </a:lnTo>
                    <a:lnTo>
                      <a:pt x="21" y="43"/>
                    </a:lnTo>
                    <a:lnTo>
                      <a:pt x="25" y="43"/>
                    </a:lnTo>
                    <a:lnTo>
                      <a:pt x="25" y="43"/>
                    </a:lnTo>
                    <a:lnTo>
                      <a:pt x="29" y="41"/>
                    </a:lnTo>
                    <a:lnTo>
                      <a:pt x="33" y="39"/>
                    </a:lnTo>
                    <a:lnTo>
                      <a:pt x="36" y="37"/>
                    </a:lnTo>
                    <a:lnTo>
                      <a:pt x="38" y="34"/>
                    </a:lnTo>
                    <a:lnTo>
                      <a:pt x="40" y="31"/>
                    </a:lnTo>
                    <a:lnTo>
                      <a:pt x="41" y="26"/>
                    </a:lnTo>
                    <a:lnTo>
                      <a:pt x="42" y="22"/>
                    </a:lnTo>
                    <a:lnTo>
                      <a:pt x="42" y="18"/>
                    </a:lnTo>
                    <a:lnTo>
                      <a:pt x="42" y="18"/>
                    </a:lnTo>
                    <a:lnTo>
                      <a:pt x="41" y="13"/>
                    </a:lnTo>
                    <a:lnTo>
                      <a:pt x="39" y="10"/>
                    </a:lnTo>
                    <a:lnTo>
                      <a:pt x="36" y="7"/>
                    </a:lnTo>
                    <a:lnTo>
                      <a:pt x="34" y="5"/>
                    </a:lnTo>
                    <a:lnTo>
                      <a:pt x="29" y="3"/>
                    </a:lnTo>
                    <a:lnTo>
                      <a:pt x="26" y="2"/>
                    </a:lnTo>
                    <a:lnTo>
                      <a:pt x="22" y="0"/>
                    </a:lnTo>
                    <a:lnTo>
                      <a:pt x="17" y="0"/>
                    </a:lnTo>
                    <a:lnTo>
                      <a:pt x="17" y="0"/>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43" name="Freeform 642"/>
              <p:cNvSpPr>
                <a:spLocks/>
              </p:cNvSpPr>
              <p:nvPr/>
            </p:nvSpPr>
            <p:spPr bwMode="auto">
              <a:xfrm>
                <a:off x="4111647" y="131645"/>
                <a:ext cx="15182" cy="16379"/>
              </a:xfrm>
              <a:custGeom>
                <a:avLst/>
                <a:gdLst>
                  <a:gd name="T0" fmla="*/ 17 w 42"/>
                  <a:gd name="T1" fmla="*/ 0 h 43"/>
                  <a:gd name="T2" fmla="*/ 17 w 42"/>
                  <a:gd name="T3" fmla="*/ 0 h 43"/>
                  <a:gd name="T4" fmla="*/ 13 w 42"/>
                  <a:gd name="T5" fmla="*/ 2 h 43"/>
                  <a:gd name="T6" fmla="*/ 9 w 42"/>
                  <a:gd name="T7" fmla="*/ 3 h 43"/>
                  <a:gd name="T8" fmla="*/ 7 w 42"/>
                  <a:gd name="T9" fmla="*/ 6 h 43"/>
                  <a:gd name="T10" fmla="*/ 3 w 42"/>
                  <a:gd name="T11" fmla="*/ 9 h 43"/>
                  <a:gd name="T12" fmla="*/ 1 w 42"/>
                  <a:gd name="T13" fmla="*/ 12 h 43"/>
                  <a:gd name="T14" fmla="*/ 0 w 42"/>
                  <a:gd name="T15" fmla="*/ 16 h 43"/>
                  <a:gd name="T16" fmla="*/ 0 w 42"/>
                  <a:gd name="T17" fmla="*/ 20 h 43"/>
                  <a:gd name="T18" fmla="*/ 0 w 42"/>
                  <a:gd name="T19" fmla="*/ 24 h 43"/>
                  <a:gd name="T20" fmla="*/ 0 w 42"/>
                  <a:gd name="T21" fmla="*/ 24 h 43"/>
                  <a:gd name="T22" fmla="*/ 1 w 42"/>
                  <a:gd name="T23" fmla="*/ 29 h 43"/>
                  <a:gd name="T24" fmla="*/ 3 w 42"/>
                  <a:gd name="T25" fmla="*/ 33 h 43"/>
                  <a:gd name="T26" fmla="*/ 5 w 42"/>
                  <a:gd name="T27" fmla="*/ 36 h 43"/>
                  <a:gd name="T28" fmla="*/ 9 w 42"/>
                  <a:gd name="T29" fmla="*/ 38 h 43"/>
                  <a:gd name="T30" fmla="*/ 12 w 42"/>
                  <a:gd name="T31" fmla="*/ 41 h 43"/>
                  <a:gd name="T32" fmla="*/ 16 w 42"/>
                  <a:gd name="T33" fmla="*/ 42 h 43"/>
                  <a:gd name="T34" fmla="*/ 21 w 42"/>
                  <a:gd name="T35" fmla="*/ 43 h 43"/>
                  <a:gd name="T36" fmla="*/ 25 w 42"/>
                  <a:gd name="T37" fmla="*/ 42 h 43"/>
                  <a:gd name="T38" fmla="*/ 25 w 42"/>
                  <a:gd name="T39" fmla="*/ 42 h 43"/>
                  <a:gd name="T40" fmla="*/ 28 w 42"/>
                  <a:gd name="T41" fmla="*/ 41 h 43"/>
                  <a:gd name="T42" fmla="*/ 32 w 42"/>
                  <a:gd name="T43" fmla="*/ 38 h 43"/>
                  <a:gd name="T44" fmla="*/ 36 w 42"/>
                  <a:gd name="T45" fmla="*/ 36 h 43"/>
                  <a:gd name="T46" fmla="*/ 38 w 42"/>
                  <a:gd name="T47" fmla="*/ 33 h 43"/>
                  <a:gd name="T48" fmla="*/ 40 w 42"/>
                  <a:gd name="T49" fmla="*/ 30 h 43"/>
                  <a:gd name="T50" fmla="*/ 41 w 42"/>
                  <a:gd name="T51" fmla="*/ 25 h 43"/>
                  <a:gd name="T52" fmla="*/ 42 w 42"/>
                  <a:gd name="T53" fmla="*/ 21 h 43"/>
                  <a:gd name="T54" fmla="*/ 41 w 42"/>
                  <a:gd name="T55" fmla="*/ 17 h 43"/>
                  <a:gd name="T56" fmla="*/ 41 w 42"/>
                  <a:gd name="T57" fmla="*/ 17 h 43"/>
                  <a:gd name="T58" fmla="*/ 40 w 42"/>
                  <a:gd name="T59" fmla="*/ 14 h 43"/>
                  <a:gd name="T60" fmla="*/ 38 w 42"/>
                  <a:gd name="T61" fmla="*/ 9 h 43"/>
                  <a:gd name="T62" fmla="*/ 36 w 42"/>
                  <a:gd name="T63" fmla="*/ 6 h 43"/>
                  <a:gd name="T64" fmla="*/ 32 w 42"/>
                  <a:gd name="T65" fmla="*/ 4 h 43"/>
                  <a:gd name="T66" fmla="*/ 29 w 42"/>
                  <a:gd name="T67" fmla="*/ 2 h 43"/>
                  <a:gd name="T68" fmla="*/ 25 w 42"/>
                  <a:gd name="T69" fmla="*/ 1 h 43"/>
                  <a:gd name="T70" fmla="*/ 22 w 42"/>
                  <a:gd name="T71" fmla="*/ 0 h 43"/>
                  <a:gd name="T72" fmla="*/ 17 w 42"/>
                  <a:gd name="T73" fmla="*/ 0 h 43"/>
                  <a:gd name="T74" fmla="*/ 17 w 42"/>
                  <a:gd name="T7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43">
                    <a:moveTo>
                      <a:pt x="17" y="0"/>
                    </a:moveTo>
                    <a:lnTo>
                      <a:pt x="17" y="0"/>
                    </a:lnTo>
                    <a:lnTo>
                      <a:pt x="13" y="2"/>
                    </a:lnTo>
                    <a:lnTo>
                      <a:pt x="9" y="3"/>
                    </a:lnTo>
                    <a:lnTo>
                      <a:pt x="7" y="6"/>
                    </a:lnTo>
                    <a:lnTo>
                      <a:pt x="3" y="9"/>
                    </a:lnTo>
                    <a:lnTo>
                      <a:pt x="1" y="12"/>
                    </a:lnTo>
                    <a:lnTo>
                      <a:pt x="0" y="16"/>
                    </a:lnTo>
                    <a:lnTo>
                      <a:pt x="0" y="20"/>
                    </a:lnTo>
                    <a:lnTo>
                      <a:pt x="0" y="24"/>
                    </a:lnTo>
                    <a:lnTo>
                      <a:pt x="0" y="24"/>
                    </a:lnTo>
                    <a:lnTo>
                      <a:pt x="1" y="29"/>
                    </a:lnTo>
                    <a:lnTo>
                      <a:pt x="3" y="33"/>
                    </a:lnTo>
                    <a:lnTo>
                      <a:pt x="5" y="36"/>
                    </a:lnTo>
                    <a:lnTo>
                      <a:pt x="9" y="38"/>
                    </a:lnTo>
                    <a:lnTo>
                      <a:pt x="12" y="41"/>
                    </a:lnTo>
                    <a:lnTo>
                      <a:pt x="16" y="42"/>
                    </a:lnTo>
                    <a:lnTo>
                      <a:pt x="21" y="43"/>
                    </a:lnTo>
                    <a:lnTo>
                      <a:pt x="25" y="42"/>
                    </a:lnTo>
                    <a:lnTo>
                      <a:pt x="25" y="42"/>
                    </a:lnTo>
                    <a:lnTo>
                      <a:pt x="28" y="41"/>
                    </a:lnTo>
                    <a:lnTo>
                      <a:pt x="32" y="38"/>
                    </a:lnTo>
                    <a:lnTo>
                      <a:pt x="36" y="36"/>
                    </a:lnTo>
                    <a:lnTo>
                      <a:pt x="38" y="33"/>
                    </a:lnTo>
                    <a:lnTo>
                      <a:pt x="40" y="30"/>
                    </a:lnTo>
                    <a:lnTo>
                      <a:pt x="41" y="25"/>
                    </a:lnTo>
                    <a:lnTo>
                      <a:pt x="42" y="21"/>
                    </a:lnTo>
                    <a:lnTo>
                      <a:pt x="41" y="17"/>
                    </a:lnTo>
                    <a:lnTo>
                      <a:pt x="41" y="17"/>
                    </a:lnTo>
                    <a:lnTo>
                      <a:pt x="40" y="14"/>
                    </a:lnTo>
                    <a:lnTo>
                      <a:pt x="38" y="9"/>
                    </a:lnTo>
                    <a:lnTo>
                      <a:pt x="36" y="6"/>
                    </a:lnTo>
                    <a:lnTo>
                      <a:pt x="32" y="4"/>
                    </a:lnTo>
                    <a:lnTo>
                      <a:pt x="29" y="2"/>
                    </a:lnTo>
                    <a:lnTo>
                      <a:pt x="25" y="1"/>
                    </a:lnTo>
                    <a:lnTo>
                      <a:pt x="22" y="0"/>
                    </a:lnTo>
                    <a:lnTo>
                      <a:pt x="17" y="0"/>
                    </a:lnTo>
                    <a:lnTo>
                      <a:pt x="17" y="0"/>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44" name="Freeform 643"/>
              <p:cNvSpPr>
                <a:spLocks/>
              </p:cNvSpPr>
              <p:nvPr/>
            </p:nvSpPr>
            <p:spPr bwMode="auto">
              <a:xfrm>
                <a:off x="4096465" y="58685"/>
                <a:ext cx="36436" cy="61048"/>
              </a:xfrm>
              <a:custGeom>
                <a:avLst/>
                <a:gdLst>
                  <a:gd name="T0" fmla="*/ 19 w 93"/>
                  <a:gd name="T1" fmla="*/ 0 h 165"/>
                  <a:gd name="T2" fmla="*/ 0 w 93"/>
                  <a:gd name="T3" fmla="*/ 165 h 165"/>
                  <a:gd name="T4" fmla="*/ 24 w 93"/>
                  <a:gd name="T5" fmla="*/ 162 h 165"/>
                  <a:gd name="T6" fmla="*/ 71 w 93"/>
                  <a:gd name="T7" fmla="*/ 153 h 165"/>
                  <a:gd name="T8" fmla="*/ 93 w 93"/>
                  <a:gd name="T9" fmla="*/ 149 h 165"/>
                  <a:gd name="T10" fmla="*/ 19 w 93"/>
                  <a:gd name="T11" fmla="*/ 0 h 165"/>
                </a:gdLst>
                <a:ahLst/>
                <a:cxnLst>
                  <a:cxn ang="0">
                    <a:pos x="T0" y="T1"/>
                  </a:cxn>
                  <a:cxn ang="0">
                    <a:pos x="T2" y="T3"/>
                  </a:cxn>
                  <a:cxn ang="0">
                    <a:pos x="T4" y="T5"/>
                  </a:cxn>
                  <a:cxn ang="0">
                    <a:pos x="T6" y="T7"/>
                  </a:cxn>
                  <a:cxn ang="0">
                    <a:pos x="T8" y="T9"/>
                  </a:cxn>
                  <a:cxn ang="0">
                    <a:pos x="T10" y="T11"/>
                  </a:cxn>
                </a:cxnLst>
                <a:rect l="0" t="0" r="r" b="b"/>
                <a:pathLst>
                  <a:path w="93" h="165">
                    <a:moveTo>
                      <a:pt x="19" y="0"/>
                    </a:moveTo>
                    <a:lnTo>
                      <a:pt x="0" y="165"/>
                    </a:lnTo>
                    <a:lnTo>
                      <a:pt x="24" y="162"/>
                    </a:lnTo>
                    <a:lnTo>
                      <a:pt x="71" y="153"/>
                    </a:lnTo>
                    <a:lnTo>
                      <a:pt x="93" y="149"/>
                    </a:lnTo>
                    <a:lnTo>
                      <a:pt x="19" y="0"/>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45" name="Freeform 644"/>
              <p:cNvSpPr>
                <a:spLocks noEditPoints="1"/>
              </p:cNvSpPr>
              <p:nvPr/>
            </p:nvSpPr>
            <p:spPr bwMode="auto">
              <a:xfrm>
                <a:off x="4110128" y="277565"/>
                <a:ext cx="101716" cy="144432"/>
              </a:xfrm>
              <a:custGeom>
                <a:avLst/>
                <a:gdLst>
                  <a:gd name="T0" fmla="*/ 70 w 268"/>
                  <a:gd name="T1" fmla="*/ 384 h 384"/>
                  <a:gd name="T2" fmla="*/ 199 w 268"/>
                  <a:gd name="T3" fmla="*/ 0 h 384"/>
                  <a:gd name="T4" fmla="*/ 175 w 268"/>
                  <a:gd name="T5" fmla="*/ 286 h 384"/>
                  <a:gd name="T6" fmla="*/ 139 w 268"/>
                  <a:gd name="T7" fmla="*/ 328 h 384"/>
                  <a:gd name="T8" fmla="*/ 134 w 268"/>
                  <a:gd name="T9" fmla="*/ 298 h 384"/>
                  <a:gd name="T10" fmla="*/ 111 w 268"/>
                  <a:gd name="T11" fmla="*/ 297 h 384"/>
                  <a:gd name="T12" fmla="*/ 92 w 268"/>
                  <a:gd name="T13" fmla="*/ 291 h 384"/>
                  <a:gd name="T14" fmla="*/ 90 w 268"/>
                  <a:gd name="T15" fmla="*/ 243 h 384"/>
                  <a:gd name="T16" fmla="*/ 104 w 268"/>
                  <a:gd name="T17" fmla="*/ 248 h 384"/>
                  <a:gd name="T18" fmla="*/ 122 w 268"/>
                  <a:gd name="T19" fmla="*/ 252 h 384"/>
                  <a:gd name="T20" fmla="*/ 141 w 268"/>
                  <a:gd name="T21" fmla="*/ 251 h 384"/>
                  <a:gd name="T22" fmla="*/ 150 w 268"/>
                  <a:gd name="T23" fmla="*/ 249 h 384"/>
                  <a:gd name="T24" fmla="*/ 157 w 268"/>
                  <a:gd name="T25" fmla="*/ 244 h 384"/>
                  <a:gd name="T26" fmla="*/ 161 w 268"/>
                  <a:gd name="T27" fmla="*/ 238 h 384"/>
                  <a:gd name="T28" fmla="*/ 161 w 268"/>
                  <a:gd name="T29" fmla="*/ 230 h 384"/>
                  <a:gd name="T30" fmla="*/ 160 w 268"/>
                  <a:gd name="T31" fmla="*/ 225 h 384"/>
                  <a:gd name="T32" fmla="*/ 156 w 268"/>
                  <a:gd name="T33" fmla="*/ 220 h 384"/>
                  <a:gd name="T34" fmla="*/ 146 w 268"/>
                  <a:gd name="T35" fmla="*/ 216 h 384"/>
                  <a:gd name="T36" fmla="*/ 131 w 268"/>
                  <a:gd name="T37" fmla="*/ 211 h 384"/>
                  <a:gd name="T38" fmla="*/ 120 w 268"/>
                  <a:gd name="T39" fmla="*/ 209 h 384"/>
                  <a:gd name="T40" fmla="*/ 98 w 268"/>
                  <a:gd name="T41" fmla="*/ 203 h 384"/>
                  <a:gd name="T42" fmla="*/ 79 w 268"/>
                  <a:gd name="T43" fmla="*/ 191 h 384"/>
                  <a:gd name="T44" fmla="*/ 69 w 268"/>
                  <a:gd name="T45" fmla="*/ 178 h 384"/>
                  <a:gd name="T46" fmla="*/ 64 w 268"/>
                  <a:gd name="T47" fmla="*/ 167 h 384"/>
                  <a:gd name="T48" fmla="*/ 63 w 268"/>
                  <a:gd name="T49" fmla="*/ 161 h 384"/>
                  <a:gd name="T50" fmla="*/ 62 w 268"/>
                  <a:gd name="T51" fmla="*/ 141 h 384"/>
                  <a:gd name="T52" fmla="*/ 67 w 268"/>
                  <a:gd name="T53" fmla="*/ 123 h 384"/>
                  <a:gd name="T54" fmla="*/ 79 w 268"/>
                  <a:gd name="T55" fmla="*/ 108 h 384"/>
                  <a:gd name="T56" fmla="*/ 95 w 268"/>
                  <a:gd name="T57" fmla="*/ 95 h 384"/>
                  <a:gd name="T58" fmla="*/ 131 w 268"/>
                  <a:gd name="T59" fmla="*/ 55 h 384"/>
                  <a:gd name="T60" fmla="*/ 137 w 268"/>
                  <a:gd name="T61" fmla="*/ 84 h 384"/>
                  <a:gd name="T62" fmla="*/ 154 w 268"/>
                  <a:gd name="T63" fmla="*/ 85 h 384"/>
                  <a:gd name="T64" fmla="*/ 171 w 268"/>
                  <a:gd name="T65" fmla="*/ 89 h 384"/>
                  <a:gd name="T66" fmla="*/ 174 w 268"/>
                  <a:gd name="T67" fmla="*/ 137 h 384"/>
                  <a:gd name="T68" fmla="*/ 160 w 268"/>
                  <a:gd name="T69" fmla="*/ 133 h 384"/>
                  <a:gd name="T70" fmla="*/ 147 w 268"/>
                  <a:gd name="T71" fmla="*/ 129 h 384"/>
                  <a:gd name="T72" fmla="*/ 127 w 268"/>
                  <a:gd name="T73" fmla="*/ 130 h 384"/>
                  <a:gd name="T74" fmla="*/ 121 w 268"/>
                  <a:gd name="T75" fmla="*/ 131 h 384"/>
                  <a:gd name="T76" fmla="*/ 114 w 268"/>
                  <a:gd name="T77" fmla="*/ 136 h 384"/>
                  <a:gd name="T78" fmla="*/ 111 w 268"/>
                  <a:gd name="T79" fmla="*/ 141 h 384"/>
                  <a:gd name="T80" fmla="*/ 111 w 268"/>
                  <a:gd name="T81" fmla="*/ 148 h 384"/>
                  <a:gd name="T82" fmla="*/ 112 w 268"/>
                  <a:gd name="T83" fmla="*/ 152 h 384"/>
                  <a:gd name="T84" fmla="*/ 117 w 268"/>
                  <a:gd name="T85" fmla="*/ 156 h 384"/>
                  <a:gd name="T86" fmla="*/ 145 w 268"/>
                  <a:gd name="T87" fmla="*/ 164 h 384"/>
                  <a:gd name="T88" fmla="*/ 154 w 268"/>
                  <a:gd name="T89" fmla="*/ 166 h 384"/>
                  <a:gd name="T90" fmla="*/ 175 w 268"/>
                  <a:gd name="T91" fmla="*/ 174 h 384"/>
                  <a:gd name="T92" fmla="*/ 192 w 268"/>
                  <a:gd name="T93" fmla="*/ 185 h 384"/>
                  <a:gd name="T94" fmla="*/ 203 w 268"/>
                  <a:gd name="T95" fmla="*/ 200 h 384"/>
                  <a:gd name="T96" fmla="*/ 208 w 268"/>
                  <a:gd name="T97" fmla="*/ 211 h 384"/>
                  <a:gd name="T98" fmla="*/ 210 w 268"/>
                  <a:gd name="T99" fmla="*/ 218 h 384"/>
                  <a:gd name="T100" fmla="*/ 211 w 268"/>
                  <a:gd name="T101" fmla="*/ 238 h 384"/>
                  <a:gd name="T102" fmla="*/ 205 w 268"/>
                  <a:gd name="T103" fmla="*/ 258 h 384"/>
                  <a:gd name="T104" fmla="*/ 192 w 268"/>
                  <a:gd name="T105" fmla="*/ 274 h 384"/>
                  <a:gd name="T106" fmla="*/ 175 w 268"/>
                  <a:gd name="T107" fmla="*/ 28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8" h="384">
                    <a:moveTo>
                      <a:pt x="0" y="39"/>
                    </a:moveTo>
                    <a:lnTo>
                      <a:pt x="70" y="384"/>
                    </a:lnTo>
                    <a:lnTo>
                      <a:pt x="268" y="344"/>
                    </a:lnTo>
                    <a:lnTo>
                      <a:pt x="199" y="0"/>
                    </a:lnTo>
                    <a:lnTo>
                      <a:pt x="0" y="39"/>
                    </a:lnTo>
                    <a:close/>
                    <a:moveTo>
                      <a:pt x="175" y="286"/>
                    </a:moveTo>
                    <a:lnTo>
                      <a:pt x="183" y="319"/>
                    </a:lnTo>
                    <a:lnTo>
                      <a:pt x="139" y="328"/>
                    </a:lnTo>
                    <a:lnTo>
                      <a:pt x="134" y="298"/>
                    </a:lnTo>
                    <a:lnTo>
                      <a:pt x="134" y="298"/>
                    </a:lnTo>
                    <a:lnTo>
                      <a:pt x="122" y="298"/>
                    </a:lnTo>
                    <a:lnTo>
                      <a:pt x="111" y="297"/>
                    </a:lnTo>
                    <a:lnTo>
                      <a:pt x="100" y="295"/>
                    </a:lnTo>
                    <a:lnTo>
                      <a:pt x="92" y="291"/>
                    </a:lnTo>
                    <a:lnTo>
                      <a:pt x="83" y="287"/>
                    </a:lnTo>
                    <a:lnTo>
                      <a:pt x="90" y="243"/>
                    </a:lnTo>
                    <a:lnTo>
                      <a:pt x="104" y="248"/>
                    </a:lnTo>
                    <a:lnTo>
                      <a:pt x="104" y="248"/>
                    </a:lnTo>
                    <a:lnTo>
                      <a:pt x="113" y="251"/>
                    </a:lnTo>
                    <a:lnTo>
                      <a:pt x="122" y="252"/>
                    </a:lnTo>
                    <a:lnTo>
                      <a:pt x="132" y="252"/>
                    </a:lnTo>
                    <a:lnTo>
                      <a:pt x="141" y="251"/>
                    </a:lnTo>
                    <a:lnTo>
                      <a:pt x="141" y="251"/>
                    </a:lnTo>
                    <a:lnTo>
                      <a:pt x="150" y="249"/>
                    </a:lnTo>
                    <a:lnTo>
                      <a:pt x="153" y="247"/>
                    </a:lnTo>
                    <a:lnTo>
                      <a:pt x="157" y="244"/>
                    </a:lnTo>
                    <a:lnTo>
                      <a:pt x="159" y="242"/>
                    </a:lnTo>
                    <a:lnTo>
                      <a:pt x="161" y="238"/>
                    </a:lnTo>
                    <a:lnTo>
                      <a:pt x="161" y="234"/>
                    </a:lnTo>
                    <a:lnTo>
                      <a:pt x="161" y="230"/>
                    </a:lnTo>
                    <a:lnTo>
                      <a:pt x="161" y="230"/>
                    </a:lnTo>
                    <a:lnTo>
                      <a:pt x="160" y="225"/>
                    </a:lnTo>
                    <a:lnTo>
                      <a:pt x="158" y="222"/>
                    </a:lnTo>
                    <a:lnTo>
                      <a:pt x="156" y="220"/>
                    </a:lnTo>
                    <a:lnTo>
                      <a:pt x="151" y="218"/>
                    </a:lnTo>
                    <a:lnTo>
                      <a:pt x="146" y="216"/>
                    </a:lnTo>
                    <a:lnTo>
                      <a:pt x="139" y="214"/>
                    </a:lnTo>
                    <a:lnTo>
                      <a:pt x="131" y="211"/>
                    </a:lnTo>
                    <a:lnTo>
                      <a:pt x="131" y="211"/>
                    </a:lnTo>
                    <a:lnTo>
                      <a:pt x="120" y="209"/>
                    </a:lnTo>
                    <a:lnTo>
                      <a:pt x="108" y="206"/>
                    </a:lnTo>
                    <a:lnTo>
                      <a:pt x="98" y="203"/>
                    </a:lnTo>
                    <a:lnTo>
                      <a:pt x="89" y="197"/>
                    </a:lnTo>
                    <a:lnTo>
                      <a:pt x="79" y="191"/>
                    </a:lnTo>
                    <a:lnTo>
                      <a:pt x="72" y="182"/>
                    </a:lnTo>
                    <a:lnTo>
                      <a:pt x="69" y="178"/>
                    </a:lnTo>
                    <a:lnTo>
                      <a:pt x="66" y="173"/>
                    </a:lnTo>
                    <a:lnTo>
                      <a:pt x="64" y="167"/>
                    </a:lnTo>
                    <a:lnTo>
                      <a:pt x="63" y="161"/>
                    </a:lnTo>
                    <a:lnTo>
                      <a:pt x="63" y="161"/>
                    </a:lnTo>
                    <a:lnTo>
                      <a:pt x="62" y="151"/>
                    </a:lnTo>
                    <a:lnTo>
                      <a:pt x="62" y="141"/>
                    </a:lnTo>
                    <a:lnTo>
                      <a:pt x="64" y="131"/>
                    </a:lnTo>
                    <a:lnTo>
                      <a:pt x="67" y="123"/>
                    </a:lnTo>
                    <a:lnTo>
                      <a:pt x="72" y="115"/>
                    </a:lnTo>
                    <a:lnTo>
                      <a:pt x="79" y="108"/>
                    </a:lnTo>
                    <a:lnTo>
                      <a:pt x="86" y="101"/>
                    </a:lnTo>
                    <a:lnTo>
                      <a:pt x="95" y="95"/>
                    </a:lnTo>
                    <a:lnTo>
                      <a:pt x="89" y="63"/>
                    </a:lnTo>
                    <a:lnTo>
                      <a:pt x="131" y="55"/>
                    </a:lnTo>
                    <a:lnTo>
                      <a:pt x="137" y="84"/>
                    </a:lnTo>
                    <a:lnTo>
                      <a:pt x="137" y="84"/>
                    </a:lnTo>
                    <a:lnTo>
                      <a:pt x="146" y="84"/>
                    </a:lnTo>
                    <a:lnTo>
                      <a:pt x="154" y="85"/>
                    </a:lnTo>
                    <a:lnTo>
                      <a:pt x="163" y="86"/>
                    </a:lnTo>
                    <a:lnTo>
                      <a:pt x="171" y="89"/>
                    </a:lnTo>
                    <a:lnTo>
                      <a:pt x="180" y="93"/>
                    </a:lnTo>
                    <a:lnTo>
                      <a:pt x="174" y="137"/>
                    </a:lnTo>
                    <a:lnTo>
                      <a:pt x="160" y="133"/>
                    </a:lnTo>
                    <a:lnTo>
                      <a:pt x="160" y="133"/>
                    </a:lnTo>
                    <a:lnTo>
                      <a:pt x="154" y="130"/>
                    </a:lnTo>
                    <a:lnTo>
                      <a:pt x="147" y="129"/>
                    </a:lnTo>
                    <a:lnTo>
                      <a:pt x="138" y="129"/>
                    </a:lnTo>
                    <a:lnTo>
                      <a:pt x="127" y="130"/>
                    </a:lnTo>
                    <a:lnTo>
                      <a:pt x="127" y="130"/>
                    </a:lnTo>
                    <a:lnTo>
                      <a:pt x="121" y="131"/>
                    </a:lnTo>
                    <a:lnTo>
                      <a:pt x="118" y="134"/>
                    </a:lnTo>
                    <a:lnTo>
                      <a:pt x="114" y="136"/>
                    </a:lnTo>
                    <a:lnTo>
                      <a:pt x="112" y="139"/>
                    </a:lnTo>
                    <a:lnTo>
                      <a:pt x="111" y="141"/>
                    </a:lnTo>
                    <a:lnTo>
                      <a:pt x="110" y="143"/>
                    </a:lnTo>
                    <a:lnTo>
                      <a:pt x="111" y="148"/>
                    </a:lnTo>
                    <a:lnTo>
                      <a:pt x="111" y="148"/>
                    </a:lnTo>
                    <a:lnTo>
                      <a:pt x="112" y="152"/>
                    </a:lnTo>
                    <a:lnTo>
                      <a:pt x="114" y="154"/>
                    </a:lnTo>
                    <a:lnTo>
                      <a:pt x="117" y="156"/>
                    </a:lnTo>
                    <a:lnTo>
                      <a:pt x="126" y="160"/>
                    </a:lnTo>
                    <a:lnTo>
                      <a:pt x="145" y="164"/>
                    </a:lnTo>
                    <a:lnTo>
                      <a:pt x="145" y="164"/>
                    </a:lnTo>
                    <a:lnTo>
                      <a:pt x="154" y="166"/>
                    </a:lnTo>
                    <a:lnTo>
                      <a:pt x="164" y="169"/>
                    </a:lnTo>
                    <a:lnTo>
                      <a:pt x="175" y="174"/>
                    </a:lnTo>
                    <a:lnTo>
                      <a:pt x="185" y="179"/>
                    </a:lnTo>
                    <a:lnTo>
                      <a:pt x="192" y="185"/>
                    </a:lnTo>
                    <a:lnTo>
                      <a:pt x="200" y="194"/>
                    </a:lnTo>
                    <a:lnTo>
                      <a:pt x="203" y="200"/>
                    </a:lnTo>
                    <a:lnTo>
                      <a:pt x="206" y="205"/>
                    </a:lnTo>
                    <a:lnTo>
                      <a:pt x="208" y="211"/>
                    </a:lnTo>
                    <a:lnTo>
                      <a:pt x="210" y="218"/>
                    </a:lnTo>
                    <a:lnTo>
                      <a:pt x="210" y="218"/>
                    </a:lnTo>
                    <a:lnTo>
                      <a:pt x="211" y="229"/>
                    </a:lnTo>
                    <a:lnTo>
                      <a:pt x="211" y="238"/>
                    </a:lnTo>
                    <a:lnTo>
                      <a:pt x="208" y="248"/>
                    </a:lnTo>
                    <a:lnTo>
                      <a:pt x="205" y="258"/>
                    </a:lnTo>
                    <a:lnTo>
                      <a:pt x="200" y="266"/>
                    </a:lnTo>
                    <a:lnTo>
                      <a:pt x="192" y="274"/>
                    </a:lnTo>
                    <a:lnTo>
                      <a:pt x="185" y="281"/>
                    </a:lnTo>
                    <a:lnTo>
                      <a:pt x="175" y="286"/>
                    </a:lnTo>
                    <a:lnTo>
                      <a:pt x="175" y="286"/>
                    </a:lnTo>
                    <a:close/>
                  </a:path>
                </a:pathLst>
              </a:custGeom>
              <a:solidFill>
                <a:srgbClr val="E5E8E8">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46" name="Freeform 645"/>
              <p:cNvSpPr>
                <a:spLocks noEditPoints="1"/>
              </p:cNvSpPr>
              <p:nvPr/>
            </p:nvSpPr>
            <p:spPr bwMode="auto">
              <a:xfrm>
                <a:off x="4019039" y="295433"/>
                <a:ext cx="101716" cy="144432"/>
              </a:xfrm>
              <a:custGeom>
                <a:avLst/>
                <a:gdLst>
                  <a:gd name="T0" fmla="*/ 268 w 268"/>
                  <a:gd name="T1" fmla="*/ 346 h 386"/>
                  <a:gd name="T2" fmla="*/ 0 w 268"/>
                  <a:gd name="T3" fmla="*/ 40 h 386"/>
                  <a:gd name="T4" fmla="*/ 131 w 268"/>
                  <a:gd name="T5" fmla="*/ 213 h 386"/>
                  <a:gd name="T6" fmla="*/ 119 w 268"/>
                  <a:gd name="T7" fmla="*/ 211 h 386"/>
                  <a:gd name="T8" fmla="*/ 97 w 268"/>
                  <a:gd name="T9" fmla="*/ 203 h 386"/>
                  <a:gd name="T10" fmla="*/ 79 w 268"/>
                  <a:gd name="T11" fmla="*/ 192 h 386"/>
                  <a:gd name="T12" fmla="*/ 68 w 268"/>
                  <a:gd name="T13" fmla="*/ 180 h 386"/>
                  <a:gd name="T14" fmla="*/ 64 w 268"/>
                  <a:gd name="T15" fmla="*/ 169 h 386"/>
                  <a:gd name="T16" fmla="*/ 62 w 268"/>
                  <a:gd name="T17" fmla="*/ 162 h 386"/>
                  <a:gd name="T18" fmla="*/ 62 w 268"/>
                  <a:gd name="T19" fmla="*/ 143 h 386"/>
                  <a:gd name="T20" fmla="*/ 67 w 268"/>
                  <a:gd name="T21" fmla="*/ 124 h 386"/>
                  <a:gd name="T22" fmla="*/ 78 w 268"/>
                  <a:gd name="T23" fmla="*/ 109 h 386"/>
                  <a:gd name="T24" fmla="*/ 95 w 268"/>
                  <a:gd name="T25" fmla="*/ 96 h 386"/>
                  <a:gd name="T26" fmla="*/ 131 w 268"/>
                  <a:gd name="T27" fmla="*/ 56 h 386"/>
                  <a:gd name="T28" fmla="*/ 136 w 268"/>
                  <a:gd name="T29" fmla="*/ 86 h 386"/>
                  <a:gd name="T30" fmla="*/ 154 w 268"/>
                  <a:gd name="T31" fmla="*/ 87 h 386"/>
                  <a:gd name="T32" fmla="*/ 171 w 268"/>
                  <a:gd name="T33" fmla="*/ 90 h 386"/>
                  <a:gd name="T34" fmla="*/ 173 w 268"/>
                  <a:gd name="T35" fmla="*/ 138 h 386"/>
                  <a:gd name="T36" fmla="*/ 160 w 268"/>
                  <a:gd name="T37" fmla="*/ 134 h 386"/>
                  <a:gd name="T38" fmla="*/ 147 w 268"/>
                  <a:gd name="T39" fmla="*/ 131 h 386"/>
                  <a:gd name="T40" fmla="*/ 127 w 268"/>
                  <a:gd name="T41" fmla="*/ 132 h 386"/>
                  <a:gd name="T42" fmla="*/ 121 w 268"/>
                  <a:gd name="T43" fmla="*/ 133 h 386"/>
                  <a:gd name="T44" fmla="*/ 114 w 268"/>
                  <a:gd name="T45" fmla="*/ 137 h 386"/>
                  <a:gd name="T46" fmla="*/ 110 w 268"/>
                  <a:gd name="T47" fmla="*/ 143 h 386"/>
                  <a:gd name="T48" fmla="*/ 110 w 268"/>
                  <a:gd name="T49" fmla="*/ 149 h 386"/>
                  <a:gd name="T50" fmla="*/ 112 w 268"/>
                  <a:gd name="T51" fmla="*/ 154 h 386"/>
                  <a:gd name="T52" fmla="*/ 117 w 268"/>
                  <a:gd name="T53" fmla="*/ 157 h 386"/>
                  <a:gd name="T54" fmla="*/ 144 w 268"/>
                  <a:gd name="T55" fmla="*/ 165 h 386"/>
                  <a:gd name="T56" fmla="*/ 155 w 268"/>
                  <a:gd name="T57" fmla="*/ 168 h 386"/>
                  <a:gd name="T58" fmla="*/ 174 w 268"/>
                  <a:gd name="T59" fmla="*/ 175 h 386"/>
                  <a:gd name="T60" fmla="*/ 192 w 268"/>
                  <a:gd name="T61" fmla="*/ 187 h 386"/>
                  <a:gd name="T62" fmla="*/ 203 w 268"/>
                  <a:gd name="T63" fmla="*/ 201 h 386"/>
                  <a:gd name="T64" fmla="*/ 208 w 268"/>
                  <a:gd name="T65" fmla="*/ 213 h 386"/>
                  <a:gd name="T66" fmla="*/ 210 w 268"/>
                  <a:gd name="T67" fmla="*/ 219 h 386"/>
                  <a:gd name="T68" fmla="*/ 211 w 268"/>
                  <a:gd name="T69" fmla="*/ 240 h 386"/>
                  <a:gd name="T70" fmla="*/ 204 w 268"/>
                  <a:gd name="T71" fmla="*/ 259 h 386"/>
                  <a:gd name="T72" fmla="*/ 192 w 268"/>
                  <a:gd name="T73" fmla="*/ 276 h 386"/>
                  <a:gd name="T74" fmla="*/ 175 w 268"/>
                  <a:gd name="T75" fmla="*/ 288 h 386"/>
                  <a:gd name="T76" fmla="*/ 139 w 268"/>
                  <a:gd name="T77" fmla="*/ 329 h 386"/>
                  <a:gd name="T78" fmla="*/ 133 w 268"/>
                  <a:gd name="T79" fmla="*/ 299 h 386"/>
                  <a:gd name="T80" fmla="*/ 110 w 268"/>
                  <a:gd name="T81" fmla="*/ 298 h 386"/>
                  <a:gd name="T82" fmla="*/ 91 w 268"/>
                  <a:gd name="T83" fmla="*/ 293 h 386"/>
                  <a:gd name="T84" fmla="*/ 90 w 268"/>
                  <a:gd name="T85" fmla="*/ 243 h 386"/>
                  <a:gd name="T86" fmla="*/ 104 w 268"/>
                  <a:gd name="T87" fmla="*/ 250 h 386"/>
                  <a:gd name="T88" fmla="*/ 122 w 268"/>
                  <a:gd name="T89" fmla="*/ 254 h 386"/>
                  <a:gd name="T90" fmla="*/ 142 w 268"/>
                  <a:gd name="T91" fmla="*/ 253 h 386"/>
                  <a:gd name="T92" fmla="*/ 149 w 268"/>
                  <a:gd name="T93" fmla="*/ 250 h 386"/>
                  <a:gd name="T94" fmla="*/ 156 w 268"/>
                  <a:gd name="T95" fmla="*/ 245 h 386"/>
                  <a:gd name="T96" fmla="*/ 160 w 268"/>
                  <a:gd name="T97" fmla="*/ 239 h 386"/>
                  <a:gd name="T98" fmla="*/ 161 w 268"/>
                  <a:gd name="T99" fmla="*/ 231 h 386"/>
                  <a:gd name="T100" fmla="*/ 159 w 268"/>
                  <a:gd name="T101" fmla="*/ 226 h 386"/>
                  <a:gd name="T102" fmla="*/ 155 w 268"/>
                  <a:gd name="T103" fmla="*/ 222 h 386"/>
                  <a:gd name="T104" fmla="*/ 146 w 268"/>
                  <a:gd name="T105" fmla="*/ 217 h 386"/>
                  <a:gd name="T106" fmla="*/ 131 w 268"/>
                  <a:gd name="T107" fmla="*/ 213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8" h="386">
                    <a:moveTo>
                      <a:pt x="69" y="386"/>
                    </a:moveTo>
                    <a:lnTo>
                      <a:pt x="268" y="346"/>
                    </a:lnTo>
                    <a:lnTo>
                      <a:pt x="199" y="0"/>
                    </a:lnTo>
                    <a:lnTo>
                      <a:pt x="0" y="40"/>
                    </a:lnTo>
                    <a:lnTo>
                      <a:pt x="69" y="386"/>
                    </a:lnTo>
                    <a:close/>
                    <a:moveTo>
                      <a:pt x="131" y="213"/>
                    </a:moveTo>
                    <a:lnTo>
                      <a:pt x="131" y="213"/>
                    </a:lnTo>
                    <a:lnTo>
                      <a:pt x="119" y="211"/>
                    </a:lnTo>
                    <a:lnTo>
                      <a:pt x="108" y="208"/>
                    </a:lnTo>
                    <a:lnTo>
                      <a:pt x="97" y="203"/>
                    </a:lnTo>
                    <a:lnTo>
                      <a:pt x="88" y="199"/>
                    </a:lnTo>
                    <a:lnTo>
                      <a:pt x="79" y="192"/>
                    </a:lnTo>
                    <a:lnTo>
                      <a:pt x="71" y="184"/>
                    </a:lnTo>
                    <a:lnTo>
                      <a:pt x="68" y="180"/>
                    </a:lnTo>
                    <a:lnTo>
                      <a:pt x="66" y="174"/>
                    </a:lnTo>
                    <a:lnTo>
                      <a:pt x="64" y="169"/>
                    </a:lnTo>
                    <a:lnTo>
                      <a:pt x="62" y="162"/>
                    </a:lnTo>
                    <a:lnTo>
                      <a:pt x="62" y="162"/>
                    </a:lnTo>
                    <a:lnTo>
                      <a:pt x="61" y="153"/>
                    </a:lnTo>
                    <a:lnTo>
                      <a:pt x="62" y="143"/>
                    </a:lnTo>
                    <a:lnTo>
                      <a:pt x="64" y="133"/>
                    </a:lnTo>
                    <a:lnTo>
                      <a:pt x="67" y="124"/>
                    </a:lnTo>
                    <a:lnTo>
                      <a:pt x="73" y="116"/>
                    </a:lnTo>
                    <a:lnTo>
                      <a:pt x="78" y="109"/>
                    </a:lnTo>
                    <a:lnTo>
                      <a:pt x="85" y="102"/>
                    </a:lnTo>
                    <a:lnTo>
                      <a:pt x="95" y="96"/>
                    </a:lnTo>
                    <a:lnTo>
                      <a:pt x="89" y="65"/>
                    </a:lnTo>
                    <a:lnTo>
                      <a:pt x="131" y="56"/>
                    </a:lnTo>
                    <a:lnTo>
                      <a:pt x="136" y="86"/>
                    </a:lnTo>
                    <a:lnTo>
                      <a:pt x="136" y="86"/>
                    </a:lnTo>
                    <a:lnTo>
                      <a:pt x="145" y="86"/>
                    </a:lnTo>
                    <a:lnTo>
                      <a:pt x="154" y="87"/>
                    </a:lnTo>
                    <a:lnTo>
                      <a:pt x="162" y="88"/>
                    </a:lnTo>
                    <a:lnTo>
                      <a:pt x="171" y="90"/>
                    </a:lnTo>
                    <a:lnTo>
                      <a:pt x="181" y="93"/>
                    </a:lnTo>
                    <a:lnTo>
                      <a:pt x="173" y="138"/>
                    </a:lnTo>
                    <a:lnTo>
                      <a:pt x="160" y="134"/>
                    </a:lnTo>
                    <a:lnTo>
                      <a:pt x="160" y="134"/>
                    </a:lnTo>
                    <a:lnTo>
                      <a:pt x="155" y="132"/>
                    </a:lnTo>
                    <a:lnTo>
                      <a:pt x="147" y="131"/>
                    </a:lnTo>
                    <a:lnTo>
                      <a:pt x="137" y="130"/>
                    </a:lnTo>
                    <a:lnTo>
                      <a:pt x="127" y="132"/>
                    </a:lnTo>
                    <a:lnTo>
                      <a:pt x="127" y="132"/>
                    </a:lnTo>
                    <a:lnTo>
                      <a:pt x="121" y="133"/>
                    </a:lnTo>
                    <a:lnTo>
                      <a:pt x="117" y="135"/>
                    </a:lnTo>
                    <a:lnTo>
                      <a:pt x="114" y="137"/>
                    </a:lnTo>
                    <a:lnTo>
                      <a:pt x="111" y="140"/>
                    </a:lnTo>
                    <a:lnTo>
                      <a:pt x="110" y="143"/>
                    </a:lnTo>
                    <a:lnTo>
                      <a:pt x="110" y="145"/>
                    </a:lnTo>
                    <a:lnTo>
                      <a:pt x="110" y="149"/>
                    </a:lnTo>
                    <a:lnTo>
                      <a:pt x="110" y="149"/>
                    </a:lnTo>
                    <a:lnTo>
                      <a:pt x="112" y="154"/>
                    </a:lnTo>
                    <a:lnTo>
                      <a:pt x="114" y="156"/>
                    </a:lnTo>
                    <a:lnTo>
                      <a:pt x="117" y="157"/>
                    </a:lnTo>
                    <a:lnTo>
                      <a:pt x="127" y="161"/>
                    </a:lnTo>
                    <a:lnTo>
                      <a:pt x="144" y="165"/>
                    </a:lnTo>
                    <a:lnTo>
                      <a:pt x="144" y="165"/>
                    </a:lnTo>
                    <a:lnTo>
                      <a:pt x="155" y="168"/>
                    </a:lnTo>
                    <a:lnTo>
                      <a:pt x="164" y="171"/>
                    </a:lnTo>
                    <a:lnTo>
                      <a:pt x="174" y="175"/>
                    </a:lnTo>
                    <a:lnTo>
                      <a:pt x="184" y="181"/>
                    </a:lnTo>
                    <a:lnTo>
                      <a:pt x="192" y="187"/>
                    </a:lnTo>
                    <a:lnTo>
                      <a:pt x="200" y="196"/>
                    </a:lnTo>
                    <a:lnTo>
                      <a:pt x="203" y="201"/>
                    </a:lnTo>
                    <a:lnTo>
                      <a:pt x="205" y="207"/>
                    </a:lnTo>
                    <a:lnTo>
                      <a:pt x="208" y="213"/>
                    </a:lnTo>
                    <a:lnTo>
                      <a:pt x="210" y="219"/>
                    </a:lnTo>
                    <a:lnTo>
                      <a:pt x="210" y="219"/>
                    </a:lnTo>
                    <a:lnTo>
                      <a:pt x="211" y="230"/>
                    </a:lnTo>
                    <a:lnTo>
                      <a:pt x="211" y="240"/>
                    </a:lnTo>
                    <a:lnTo>
                      <a:pt x="209" y="250"/>
                    </a:lnTo>
                    <a:lnTo>
                      <a:pt x="204" y="259"/>
                    </a:lnTo>
                    <a:lnTo>
                      <a:pt x="199" y="267"/>
                    </a:lnTo>
                    <a:lnTo>
                      <a:pt x="192" y="276"/>
                    </a:lnTo>
                    <a:lnTo>
                      <a:pt x="185" y="282"/>
                    </a:lnTo>
                    <a:lnTo>
                      <a:pt x="175" y="288"/>
                    </a:lnTo>
                    <a:lnTo>
                      <a:pt x="182" y="321"/>
                    </a:lnTo>
                    <a:lnTo>
                      <a:pt x="139" y="329"/>
                    </a:lnTo>
                    <a:lnTo>
                      <a:pt x="133" y="299"/>
                    </a:lnTo>
                    <a:lnTo>
                      <a:pt x="133" y="299"/>
                    </a:lnTo>
                    <a:lnTo>
                      <a:pt x="122" y="299"/>
                    </a:lnTo>
                    <a:lnTo>
                      <a:pt x="110" y="298"/>
                    </a:lnTo>
                    <a:lnTo>
                      <a:pt x="101" y="296"/>
                    </a:lnTo>
                    <a:lnTo>
                      <a:pt x="91" y="293"/>
                    </a:lnTo>
                    <a:lnTo>
                      <a:pt x="82" y="289"/>
                    </a:lnTo>
                    <a:lnTo>
                      <a:pt x="90" y="243"/>
                    </a:lnTo>
                    <a:lnTo>
                      <a:pt x="104" y="250"/>
                    </a:lnTo>
                    <a:lnTo>
                      <a:pt x="104" y="250"/>
                    </a:lnTo>
                    <a:lnTo>
                      <a:pt x="112" y="252"/>
                    </a:lnTo>
                    <a:lnTo>
                      <a:pt x="122" y="254"/>
                    </a:lnTo>
                    <a:lnTo>
                      <a:pt x="132" y="254"/>
                    </a:lnTo>
                    <a:lnTo>
                      <a:pt x="142" y="253"/>
                    </a:lnTo>
                    <a:lnTo>
                      <a:pt x="142" y="253"/>
                    </a:lnTo>
                    <a:lnTo>
                      <a:pt x="149" y="250"/>
                    </a:lnTo>
                    <a:lnTo>
                      <a:pt x="154" y="249"/>
                    </a:lnTo>
                    <a:lnTo>
                      <a:pt x="156" y="245"/>
                    </a:lnTo>
                    <a:lnTo>
                      <a:pt x="159" y="243"/>
                    </a:lnTo>
                    <a:lnTo>
                      <a:pt x="160" y="239"/>
                    </a:lnTo>
                    <a:lnTo>
                      <a:pt x="161" y="236"/>
                    </a:lnTo>
                    <a:lnTo>
                      <a:pt x="161" y="231"/>
                    </a:lnTo>
                    <a:lnTo>
                      <a:pt x="161" y="231"/>
                    </a:lnTo>
                    <a:lnTo>
                      <a:pt x="159" y="226"/>
                    </a:lnTo>
                    <a:lnTo>
                      <a:pt x="158" y="224"/>
                    </a:lnTo>
                    <a:lnTo>
                      <a:pt x="155" y="222"/>
                    </a:lnTo>
                    <a:lnTo>
                      <a:pt x="151" y="219"/>
                    </a:lnTo>
                    <a:lnTo>
                      <a:pt x="146" y="217"/>
                    </a:lnTo>
                    <a:lnTo>
                      <a:pt x="139" y="215"/>
                    </a:lnTo>
                    <a:lnTo>
                      <a:pt x="131" y="213"/>
                    </a:lnTo>
                    <a:lnTo>
                      <a:pt x="131" y="213"/>
                    </a:lnTo>
                    <a:close/>
                  </a:path>
                </a:pathLst>
              </a:custGeom>
              <a:solidFill>
                <a:srgbClr val="E5E8E8">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sp>
          <p:nvSpPr>
            <p:cNvPr id="593" name="Freeform 592"/>
            <p:cNvSpPr>
              <a:spLocks noEditPoints="1"/>
            </p:cNvSpPr>
            <p:nvPr/>
          </p:nvSpPr>
          <p:spPr bwMode="auto">
            <a:xfrm>
              <a:off x="6273923" y="3495441"/>
              <a:ext cx="307012" cy="301118"/>
            </a:xfrm>
            <a:custGeom>
              <a:avLst/>
              <a:gdLst>
                <a:gd name="T0" fmla="*/ 256 w 569"/>
                <a:gd name="T1" fmla="*/ 1 h 570"/>
                <a:gd name="T2" fmla="*/ 188 w 569"/>
                <a:gd name="T3" fmla="*/ 15 h 570"/>
                <a:gd name="T4" fmla="*/ 126 w 569"/>
                <a:gd name="T5" fmla="*/ 44 h 570"/>
                <a:gd name="T6" fmla="*/ 74 w 569"/>
                <a:gd name="T7" fmla="*/ 88 h 570"/>
                <a:gd name="T8" fmla="*/ 34 w 569"/>
                <a:gd name="T9" fmla="*/ 143 h 570"/>
                <a:gd name="T10" fmla="*/ 9 w 569"/>
                <a:gd name="T11" fmla="*/ 207 h 570"/>
                <a:gd name="T12" fmla="*/ 0 w 569"/>
                <a:gd name="T13" fmla="*/ 264 h 570"/>
                <a:gd name="T14" fmla="*/ 5 w 569"/>
                <a:gd name="T15" fmla="*/ 336 h 570"/>
                <a:gd name="T16" fmla="*/ 27 w 569"/>
                <a:gd name="T17" fmla="*/ 402 h 570"/>
                <a:gd name="T18" fmla="*/ 72 w 569"/>
                <a:gd name="T19" fmla="*/ 472 h 570"/>
                <a:gd name="T20" fmla="*/ 135 w 569"/>
                <a:gd name="T21" fmla="*/ 525 h 570"/>
                <a:gd name="T22" fmla="*/ 198 w 569"/>
                <a:gd name="T23" fmla="*/ 555 h 570"/>
                <a:gd name="T24" fmla="*/ 269 w 569"/>
                <a:gd name="T25" fmla="*/ 569 h 570"/>
                <a:gd name="T26" fmla="*/ 326 w 569"/>
                <a:gd name="T27" fmla="*/ 568 h 570"/>
                <a:gd name="T28" fmla="*/ 393 w 569"/>
                <a:gd name="T29" fmla="*/ 550 h 570"/>
                <a:gd name="T30" fmla="*/ 452 w 569"/>
                <a:gd name="T31" fmla="*/ 517 h 570"/>
                <a:gd name="T32" fmla="*/ 502 w 569"/>
                <a:gd name="T33" fmla="*/ 472 h 570"/>
                <a:gd name="T34" fmla="*/ 540 w 569"/>
                <a:gd name="T35" fmla="*/ 414 h 570"/>
                <a:gd name="T36" fmla="*/ 563 w 569"/>
                <a:gd name="T37" fmla="*/ 348 h 570"/>
                <a:gd name="T38" fmla="*/ 569 w 569"/>
                <a:gd name="T39" fmla="*/ 290 h 570"/>
                <a:gd name="T40" fmla="*/ 560 w 569"/>
                <a:gd name="T41" fmla="*/ 220 h 570"/>
                <a:gd name="T42" fmla="*/ 535 w 569"/>
                <a:gd name="T43" fmla="*/ 155 h 570"/>
                <a:gd name="T44" fmla="*/ 476 w 569"/>
                <a:gd name="T45" fmla="*/ 78 h 570"/>
                <a:gd name="T46" fmla="*/ 421 w 569"/>
                <a:gd name="T47" fmla="*/ 37 h 570"/>
                <a:gd name="T48" fmla="*/ 356 w 569"/>
                <a:gd name="T49" fmla="*/ 10 h 570"/>
                <a:gd name="T50" fmla="*/ 299 w 569"/>
                <a:gd name="T51" fmla="*/ 0 h 570"/>
                <a:gd name="T52" fmla="*/ 356 w 569"/>
                <a:gd name="T53" fmla="*/ 60 h 570"/>
                <a:gd name="T54" fmla="*/ 441 w 569"/>
                <a:gd name="T55" fmla="*/ 110 h 570"/>
                <a:gd name="T56" fmla="*/ 353 w 569"/>
                <a:gd name="T57" fmla="*/ 229 h 570"/>
                <a:gd name="T58" fmla="*/ 315 w 569"/>
                <a:gd name="T59" fmla="*/ 202 h 570"/>
                <a:gd name="T60" fmla="*/ 52 w 569"/>
                <a:gd name="T61" fmla="*/ 237 h 570"/>
                <a:gd name="T62" fmla="*/ 77 w 569"/>
                <a:gd name="T63" fmla="*/ 168 h 570"/>
                <a:gd name="T64" fmla="*/ 200 w 569"/>
                <a:gd name="T65" fmla="*/ 255 h 570"/>
                <a:gd name="T66" fmla="*/ 195 w 569"/>
                <a:gd name="T67" fmla="*/ 290 h 570"/>
                <a:gd name="T68" fmla="*/ 55 w 569"/>
                <a:gd name="T69" fmla="*/ 341 h 570"/>
                <a:gd name="T70" fmla="*/ 47 w 569"/>
                <a:gd name="T71" fmla="*/ 267 h 570"/>
                <a:gd name="T72" fmla="*/ 212 w 569"/>
                <a:gd name="T73" fmla="*/ 509 h 570"/>
                <a:gd name="T74" fmla="*/ 127 w 569"/>
                <a:gd name="T75" fmla="*/ 460 h 570"/>
                <a:gd name="T76" fmla="*/ 215 w 569"/>
                <a:gd name="T77" fmla="*/ 340 h 570"/>
                <a:gd name="T78" fmla="*/ 253 w 569"/>
                <a:gd name="T79" fmla="*/ 368 h 570"/>
                <a:gd name="T80" fmla="*/ 109 w 569"/>
                <a:gd name="T81" fmla="*/ 122 h 570"/>
                <a:gd name="T82" fmla="*/ 157 w 569"/>
                <a:gd name="T83" fmla="*/ 83 h 570"/>
                <a:gd name="T84" fmla="*/ 214 w 569"/>
                <a:gd name="T85" fmla="*/ 57 h 570"/>
                <a:gd name="T86" fmla="*/ 277 w 569"/>
                <a:gd name="T87" fmla="*/ 47 h 570"/>
                <a:gd name="T88" fmla="*/ 260 w 569"/>
                <a:gd name="T89" fmla="*/ 198 h 570"/>
                <a:gd name="T90" fmla="*/ 277 w 569"/>
                <a:gd name="T91" fmla="*/ 521 h 570"/>
                <a:gd name="T92" fmla="*/ 320 w 569"/>
                <a:gd name="T93" fmla="*/ 368 h 570"/>
                <a:gd name="T94" fmla="*/ 459 w 569"/>
                <a:gd name="T95" fmla="*/ 448 h 570"/>
                <a:gd name="T96" fmla="*/ 411 w 569"/>
                <a:gd name="T97" fmla="*/ 487 h 570"/>
                <a:gd name="T98" fmla="*/ 354 w 569"/>
                <a:gd name="T99" fmla="*/ 513 h 570"/>
                <a:gd name="T100" fmla="*/ 290 w 569"/>
                <a:gd name="T101" fmla="*/ 521 h 570"/>
                <a:gd name="T102" fmla="*/ 518 w 569"/>
                <a:gd name="T103" fmla="*/ 317 h 570"/>
                <a:gd name="T104" fmla="*/ 499 w 569"/>
                <a:gd name="T105" fmla="*/ 388 h 570"/>
                <a:gd name="T106" fmla="*/ 366 w 569"/>
                <a:gd name="T107" fmla="*/ 321 h 570"/>
                <a:gd name="T108" fmla="*/ 374 w 569"/>
                <a:gd name="T109" fmla="*/ 291 h 570"/>
                <a:gd name="T110" fmla="*/ 505 w 569"/>
                <a:gd name="T111" fmla="*/ 205 h 570"/>
                <a:gd name="T112" fmla="*/ 520 w 569"/>
                <a:gd name="T113" fmla="*/ 302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69" h="570">
                  <a:moveTo>
                    <a:pt x="299" y="0"/>
                  </a:moveTo>
                  <a:lnTo>
                    <a:pt x="299" y="0"/>
                  </a:lnTo>
                  <a:lnTo>
                    <a:pt x="285" y="0"/>
                  </a:lnTo>
                  <a:lnTo>
                    <a:pt x="270" y="0"/>
                  </a:lnTo>
                  <a:lnTo>
                    <a:pt x="256" y="1"/>
                  </a:lnTo>
                  <a:lnTo>
                    <a:pt x="242" y="2"/>
                  </a:lnTo>
                  <a:lnTo>
                    <a:pt x="228" y="4"/>
                  </a:lnTo>
                  <a:lnTo>
                    <a:pt x="215" y="7"/>
                  </a:lnTo>
                  <a:lnTo>
                    <a:pt x="201" y="10"/>
                  </a:lnTo>
                  <a:lnTo>
                    <a:pt x="188" y="15"/>
                  </a:lnTo>
                  <a:lnTo>
                    <a:pt x="175" y="19"/>
                  </a:lnTo>
                  <a:lnTo>
                    <a:pt x="162" y="24"/>
                  </a:lnTo>
                  <a:lnTo>
                    <a:pt x="150" y="31"/>
                  </a:lnTo>
                  <a:lnTo>
                    <a:pt x="138" y="37"/>
                  </a:lnTo>
                  <a:lnTo>
                    <a:pt x="126" y="44"/>
                  </a:lnTo>
                  <a:lnTo>
                    <a:pt x="115" y="53"/>
                  </a:lnTo>
                  <a:lnTo>
                    <a:pt x="105" y="60"/>
                  </a:lnTo>
                  <a:lnTo>
                    <a:pt x="94" y="69"/>
                  </a:lnTo>
                  <a:lnTo>
                    <a:pt x="84" y="78"/>
                  </a:lnTo>
                  <a:lnTo>
                    <a:pt x="74" y="88"/>
                  </a:lnTo>
                  <a:lnTo>
                    <a:pt x="66" y="98"/>
                  </a:lnTo>
                  <a:lnTo>
                    <a:pt x="57" y="109"/>
                  </a:lnTo>
                  <a:lnTo>
                    <a:pt x="50" y="120"/>
                  </a:lnTo>
                  <a:lnTo>
                    <a:pt x="42" y="131"/>
                  </a:lnTo>
                  <a:lnTo>
                    <a:pt x="34" y="143"/>
                  </a:lnTo>
                  <a:lnTo>
                    <a:pt x="28" y="155"/>
                  </a:lnTo>
                  <a:lnTo>
                    <a:pt x="23" y="167"/>
                  </a:lnTo>
                  <a:lnTo>
                    <a:pt x="17" y="180"/>
                  </a:lnTo>
                  <a:lnTo>
                    <a:pt x="13" y="194"/>
                  </a:lnTo>
                  <a:lnTo>
                    <a:pt x="9" y="207"/>
                  </a:lnTo>
                  <a:lnTo>
                    <a:pt x="5" y="221"/>
                  </a:lnTo>
                  <a:lnTo>
                    <a:pt x="3" y="235"/>
                  </a:lnTo>
                  <a:lnTo>
                    <a:pt x="1" y="249"/>
                  </a:lnTo>
                  <a:lnTo>
                    <a:pt x="0" y="264"/>
                  </a:lnTo>
                  <a:lnTo>
                    <a:pt x="0" y="264"/>
                  </a:lnTo>
                  <a:lnTo>
                    <a:pt x="0" y="278"/>
                  </a:lnTo>
                  <a:lnTo>
                    <a:pt x="0" y="293"/>
                  </a:lnTo>
                  <a:lnTo>
                    <a:pt x="1" y="307"/>
                  </a:lnTo>
                  <a:lnTo>
                    <a:pt x="2" y="321"/>
                  </a:lnTo>
                  <a:lnTo>
                    <a:pt x="5" y="336"/>
                  </a:lnTo>
                  <a:lnTo>
                    <a:pt x="9" y="350"/>
                  </a:lnTo>
                  <a:lnTo>
                    <a:pt x="12" y="364"/>
                  </a:lnTo>
                  <a:lnTo>
                    <a:pt x="16" y="377"/>
                  </a:lnTo>
                  <a:lnTo>
                    <a:pt x="22" y="390"/>
                  </a:lnTo>
                  <a:lnTo>
                    <a:pt x="27" y="402"/>
                  </a:lnTo>
                  <a:lnTo>
                    <a:pt x="33" y="414"/>
                  </a:lnTo>
                  <a:lnTo>
                    <a:pt x="40" y="426"/>
                  </a:lnTo>
                  <a:lnTo>
                    <a:pt x="47" y="438"/>
                  </a:lnTo>
                  <a:lnTo>
                    <a:pt x="55" y="450"/>
                  </a:lnTo>
                  <a:lnTo>
                    <a:pt x="72" y="472"/>
                  </a:lnTo>
                  <a:lnTo>
                    <a:pt x="92" y="491"/>
                  </a:lnTo>
                  <a:lnTo>
                    <a:pt x="101" y="501"/>
                  </a:lnTo>
                  <a:lnTo>
                    <a:pt x="112" y="509"/>
                  </a:lnTo>
                  <a:lnTo>
                    <a:pt x="123" y="517"/>
                  </a:lnTo>
                  <a:lnTo>
                    <a:pt x="135" y="525"/>
                  </a:lnTo>
                  <a:lnTo>
                    <a:pt x="147" y="532"/>
                  </a:lnTo>
                  <a:lnTo>
                    <a:pt x="159" y="539"/>
                  </a:lnTo>
                  <a:lnTo>
                    <a:pt x="172" y="545"/>
                  </a:lnTo>
                  <a:lnTo>
                    <a:pt x="185" y="550"/>
                  </a:lnTo>
                  <a:lnTo>
                    <a:pt x="198" y="555"/>
                  </a:lnTo>
                  <a:lnTo>
                    <a:pt x="212" y="559"/>
                  </a:lnTo>
                  <a:lnTo>
                    <a:pt x="226" y="562"/>
                  </a:lnTo>
                  <a:lnTo>
                    <a:pt x="240" y="566"/>
                  </a:lnTo>
                  <a:lnTo>
                    <a:pt x="254" y="568"/>
                  </a:lnTo>
                  <a:lnTo>
                    <a:pt x="269" y="569"/>
                  </a:lnTo>
                  <a:lnTo>
                    <a:pt x="269" y="569"/>
                  </a:lnTo>
                  <a:lnTo>
                    <a:pt x="283" y="570"/>
                  </a:lnTo>
                  <a:lnTo>
                    <a:pt x="298" y="570"/>
                  </a:lnTo>
                  <a:lnTo>
                    <a:pt x="312" y="569"/>
                  </a:lnTo>
                  <a:lnTo>
                    <a:pt x="326" y="568"/>
                  </a:lnTo>
                  <a:lnTo>
                    <a:pt x="340" y="566"/>
                  </a:lnTo>
                  <a:lnTo>
                    <a:pt x="354" y="562"/>
                  </a:lnTo>
                  <a:lnTo>
                    <a:pt x="367" y="559"/>
                  </a:lnTo>
                  <a:lnTo>
                    <a:pt x="380" y="555"/>
                  </a:lnTo>
                  <a:lnTo>
                    <a:pt x="393" y="550"/>
                  </a:lnTo>
                  <a:lnTo>
                    <a:pt x="406" y="545"/>
                  </a:lnTo>
                  <a:lnTo>
                    <a:pt x="418" y="539"/>
                  </a:lnTo>
                  <a:lnTo>
                    <a:pt x="430" y="532"/>
                  </a:lnTo>
                  <a:lnTo>
                    <a:pt x="442" y="525"/>
                  </a:lnTo>
                  <a:lnTo>
                    <a:pt x="452" y="517"/>
                  </a:lnTo>
                  <a:lnTo>
                    <a:pt x="463" y="509"/>
                  </a:lnTo>
                  <a:lnTo>
                    <a:pt x="474" y="501"/>
                  </a:lnTo>
                  <a:lnTo>
                    <a:pt x="484" y="491"/>
                  </a:lnTo>
                  <a:lnTo>
                    <a:pt x="493" y="481"/>
                  </a:lnTo>
                  <a:lnTo>
                    <a:pt x="502" y="472"/>
                  </a:lnTo>
                  <a:lnTo>
                    <a:pt x="511" y="461"/>
                  </a:lnTo>
                  <a:lnTo>
                    <a:pt x="519" y="450"/>
                  </a:lnTo>
                  <a:lnTo>
                    <a:pt x="527" y="438"/>
                  </a:lnTo>
                  <a:lnTo>
                    <a:pt x="533" y="426"/>
                  </a:lnTo>
                  <a:lnTo>
                    <a:pt x="540" y="414"/>
                  </a:lnTo>
                  <a:lnTo>
                    <a:pt x="545" y="401"/>
                  </a:lnTo>
                  <a:lnTo>
                    <a:pt x="551" y="388"/>
                  </a:lnTo>
                  <a:lnTo>
                    <a:pt x="555" y="375"/>
                  </a:lnTo>
                  <a:lnTo>
                    <a:pt x="559" y="363"/>
                  </a:lnTo>
                  <a:lnTo>
                    <a:pt x="563" y="348"/>
                  </a:lnTo>
                  <a:lnTo>
                    <a:pt x="565" y="334"/>
                  </a:lnTo>
                  <a:lnTo>
                    <a:pt x="567" y="319"/>
                  </a:lnTo>
                  <a:lnTo>
                    <a:pt x="568" y="305"/>
                  </a:lnTo>
                  <a:lnTo>
                    <a:pt x="568" y="305"/>
                  </a:lnTo>
                  <a:lnTo>
                    <a:pt x="569" y="290"/>
                  </a:lnTo>
                  <a:lnTo>
                    <a:pt x="568" y="276"/>
                  </a:lnTo>
                  <a:lnTo>
                    <a:pt x="567" y="262"/>
                  </a:lnTo>
                  <a:lnTo>
                    <a:pt x="566" y="247"/>
                  </a:lnTo>
                  <a:lnTo>
                    <a:pt x="563" y="233"/>
                  </a:lnTo>
                  <a:lnTo>
                    <a:pt x="560" y="220"/>
                  </a:lnTo>
                  <a:lnTo>
                    <a:pt x="556" y="206"/>
                  </a:lnTo>
                  <a:lnTo>
                    <a:pt x="552" y="193"/>
                  </a:lnTo>
                  <a:lnTo>
                    <a:pt x="546" y="180"/>
                  </a:lnTo>
                  <a:lnTo>
                    <a:pt x="541" y="167"/>
                  </a:lnTo>
                  <a:lnTo>
                    <a:pt x="535" y="155"/>
                  </a:lnTo>
                  <a:lnTo>
                    <a:pt x="528" y="142"/>
                  </a:lnTo>
                  <a:lnTo>
                    <a:pt x="520" y="131"/>
                  </a:lnTo>
                  <a:lnTo>
                    <a:pt x="513" y="120"/>
                  </a:lnTo>
                  <a:lnTo>
                    <a:pt x="496" y="98"/>
                  </a:lnTo>
                  <a:lnTo>
                    <a:pt x="476" y="78"/>
                  </a:lnTo>
                  <a:lnTo>
                    <a:pt x="466" y="69"/>
                  </a:lnTo>
                  <a:lnTo>
                    <a:pt x="456" y="60"/>
                  </a:lnTo>
                  <a:lnTo>
                    <a:pt x="445" y="51"/>
                  </a:lnTo>
                  <a:lnTo>
                    <a:pt x="433" y="44"/>
                  </a:lnTo>
                  <a:lnTo>
                    <a:pt x="421" y="37"/>
                  </a:lnTo>
                  <a:lnTo>
                    <a:pt x="409" y="31"/>
                  </a:lnTo>
                  <a:lnTo>
                    <a:pt x="396" y="24"/>
                  </a:lnTo>
                  <a:lnTo>
                    <a:pt x="383" y="19"/>
                  </a:lnTo>
                  <a:lnTo>
                    <a:pt x="370" y="15"/>
                  </a:lnTo>
                  <a:lnTo>
                    <a:pt x="356" y="10"/>
                  </a:lnTo>
                  <a:lnTo>
                    <a:pt x="342" y="6"/>
                  </a:lnTo>
                  <a:lnTo>
                    <a:pt x="328" y="4"/>
                  </a:lnTo>
                  <a:lnTo>
                    <a:pt x="314" y="2"/>
                  </a:lnTo>
                  <a:lnTo>
                    <a:pt x="299" y="0"/>
                  </a:lnTo>
                  <a:lnTo>
                    <a:pt x="299" y="0"/>
                  </a:lnTo>
                  <a:close/>
                  <a:moveTo>
                    <a:pt x="327" y="103"/>
                  </a:moveTo>
                  <a:lnTo>
                    <a:pt x="333" y="54"/>
                  </a:lnTo>
                  <a:lnTo>
                    <a:pt x="333" y="54"/>
                  </a:lnTo>
                  <a:lnTo>
                    <a:pt x="344" y="57"/>
                  </a:lnTo>
                  <a:lnTo>
                    <a:pt x="356" y="60"/>
                  </a:lnTo>
                  <a:lnTo>
                    <a:pt x="368" y="64"/>
                  </a:lnTo>
                  <a:lnTo>
                    <a:pt x="380" y="70"/>
                  </a:lnTo>
                  <a:lnTo>
                    <a:pt x="402" y="81"/>
                  </a:lnTo>
                  <a:lnTo>
                    <a:pt x="422" y="95"/>
                  </a:lnTo>
                  <a:lnTo>
                    <a:pt x="441" y="110"/>
                  </a:lnTo>
                  <a:lnTo>
                    <a:pt x="458" y="127"/>
                  </a:lnTo>
                  <a:lnTo>
                    <a:pt x="474" y="147"/>
                  </a:lnTo>
                  <a:lnTo>
                    <a:pt x="487" y="167"/>
                  </a:lnTo>
                  <a:lnTo>
                    <a:pt x="442" y="188"/>
                  </a:lnTo>
                  <a:lnTo>
                    <a:pt x="353" y="229"/>
                  </a:lnTo>
                  <a:lnTo>
                    <a:pt x="353" y="229"/>
                  </a:lnTo>
                  <a:lnTo>
                    <a:pt x="344" y="220"/>
                  </a:lnTo>
                  <a:lnTo>
                    <a:pt x="336" y="212"/>
                  </a:lnTo>
                  <a:lnTo>
                    <a:pt x="326" y="207"/>
                  </a:lnTo>
                  <a:lnTo>
                    <a:pt x="315" y="202"/>
                  </a:lnTo>
                  <a:lnTo>
                    <a:pt x="327" y="103"/>
                  </a:lnTo>
                  <a:close/>
                  <a:moveTo>
                    <a:pt x="47" y="267"/>
                  </a:moveTo>
                  <a:lnTo>
                    <a:pt x="47" y="267"/>
                  </a:lnTo>
                  <a:lnTo>
                    <a:pt x="50" y="252"/>
                  </a:lnTo>
                  <a:lnTo>
                    <a:pt x="52" y="237"/>
                  </a:lnTo>
                  <a:lnTo>
                    <a:pt x="55" y="222"/>
                  </a:lnTo>
                  <a:lnTo>
                    <a:pt x="59" y="208"/>
                  </a:lnTo>
                  <a:lnTo>
                    <a:pt x="64" y="194"/>
                  </a:lnTo>
                  <a:lnTo>
                    <a:pt x="70" y="181"/>
                  </a:lnTo>
                  <a:lnTo>
                    <a:pt x="77" y="168"/>
                  </a:lnTo>
                  <a:lnTo>
                    <a:pt x="83" y="155"/>
                  </a:lnTo>
                  <a:lnTo>
                    <a:pt x="124" y="186"/>
                  </a:lnTo>
                  <a:lnTo>
                    <a:pt x="202" y="248"/>
                  </a:lnTo>
                  <a:lnTo>
                    <a:pt x="202" y="248"/>
                  </a:lnTo>
                  <a:lnTo>
                    <a:pt x="200" y="255"/>
                  </a:lnTo>
                  <a:lnTo>
                    <a:pt x="198" y="262"/>
                  </a:lnTo>
                  <a:lnTo>
                    <a:pt x="195" y="270"/>
                  </a:lnTo>
                  <a:lnTo>
                    <a:pt x="195" y="278"/>
                  </a:lnTo>
                  <a:lnTo>
                    <a:pt x="195" y="278"/>
                  </a:lnTo>
                  <a:lnTo>
                    <a:pt x="195" y="290"/>
                  </a:lnTo>
                  <a:lnTo>
                    <a:pt x="196" y="302"/>
                  </a:lnTo>
                  <a:lnTo>
                    <a:pt x="108" y="343"/>
                  </a:lnTo>
                  <a:lnTo>
                    <a:pt x="63" y="364"/>
                  </a:lnTo>
                  <a:lnTo>
                    <a:pt x="63" y="364"/>
                  </a:lnTo>
                  <a:lnTo>
                    <a:pt x="55" y="341"/>
                  </a:lnTo>
                  <a:lnTo>
                    <a:pt x="51" y="317"/>
                  </a:lnTo>
                  <a:lnTo>
                    <a:pt x="47" y="292"/>
                  </a:lnTo>
                  <a:lnTo>
                    <a:pt x="47" y="280"/>
                  </a:lnTo>
                  <a:lnTo>
                    <a:pt x="47" y="267"/>
                  </a:lnTo>
                  <a:lnTo>
                    <a:pt x="47" y="267"/>
                  </a:lnTo>
                  <a:close/>
                  <a:moveTo>
                    <a:pt x="242" y="465"/>
                  </a:moveTo>
                  <a:lnTo>
                    <a:pt x="235" y="516"/>
                  </a:lnTo>
                  <a:lnTo>
                    <a:pt x="235" y="516"/>
                  </a:lnTo>
                  <a:lnTo>
                    <a:pt x="223" y="513"/>
                  </a:lnTo>
                  <a:lnTo>
                    <a:pt x="212" y="509"/>
                  </a:lnTo>
                  <a:lnTo>
                    <a:pt x="200" y="505"/>
                  </a:lnTo>
                  <a:lnTo>
                    <a:pt x="188" y="500"/>
                  </a:lnTo>
                  <a:lnTo>
                    <a:pt x="166" y="488"/>
                  </a:lnTo>
                  <a:lnTo>
                    <a:pt x="146" y="475"/>
                  </a:lnTo>
                  <a:lnTo>
                    <a:pt x="127" y="460"/>
                  </a:lnTo>
                  <a:lnTo>
                    <a:pt x="110" y="442"/>
                  </a:lnTo>
                  <a:lnTo>
                    <a:pt x="95" y="423"/>
                  </a:lnTo>
                  <a:lnTo>
                    <a:pt x="81" y="402"/>
                  </a:lnTo>
                  <a:lnTo>
                    <a:pt x="126" y="382"/>
                  </a:lnTo>
                  <a:lnTo>
                    <a:pt x="215" y="340"/>
                  </a:lnTo>
                  <a:lnTo>
                    <a:pt x="215" y="340"/>
                  </a:lnTo>
                  <a:lnTo>
                    <a:pt x="223" y="348"/>
                  </a:lnTo>
                  <a:lnTo>
                    <a:pt x="232" y="356"/>
                  </a:lnTo>
                  <a:lnTo>
                    <a:pt x="242" y="363"/>
                  </a:lnTo>
                  <a:lnTo>
                    <a:pt x="253" y="368"/>
                  </a:lnTo>
                  <a:lnTo>
                    <a:pt x="242" y="465"/>
                  </a:lnTo>
                  <a:close/>
                  <a:moveTo>
                    <a:pt x="228" y="215"/>
                  </a:moveTo>
                  <a:lnTo>
                    <a:pt x="150" y="153"/>
                  </a:lnTo>
                  <a:lnTo>
                    <a:pt x="109" y="122"/>
                  </a:lnTo>
                  <a:lnTo>
                    <a:pt x="109" y="122"/>
                  </a:lnTo>
                  <a:lnTo>
                    <a:pt x="118" y="113"/>
                  </a:lnTo>
                  <a:lnTo>
                    <a:pt x="127" y="104"/>
                  </a:lnTo>
                  <a:lnTo>
                    <a:pt x="136" y="97"/>
                  </a:lnTo>
                  <a:lnTo>
                    <a:pt x="147" y="89"/>
                  </a:lnTo>
                  <a:lnTo>
                    <a:pt x="157" y="83"/>
                  </a:lnTo>
                  <a:lnTo>
                    <a:pt x="167" y="76"/>
                  </a:lnTo>
                  <a:lnTo>
                    <a:pt x="178" y="71"/>
                  </a:lnTo>
                  <a:lnTo>
                    <a:pt x="190" y="66"/>
                  </a:lnTo>
                  <a:lnTo>
                    <a:pt x="202" y="61"/>
                  </a:lnTo>
                  <a:lnTo>
                    <a:pt x="214" y="57"/>
                  </a:lnTo>
                  <a:lnTo>
                    <a:pt x="226" y="54"/>
                  </a:lnTo>
                  <a:lnTo>
                    <a:pt x="239" y="51"/>
                  </a:lnTo>
                  <a:lnTo>
                    <a:pt x="252" y="49"/>
                  </a:lnTo>
                  <a:lnTo>
                    <a:pt x="265" y="48"/>
                  </a:lnTo>
                  <a:lnTo>
                    <a:pt x="277" y="47"/>
                  </a:lnTo>
                  <a:lnTo>
                    <a:pt x="290" y="48"/>
                  </a:lnTo>
                  <a:lnTo>
                    <a:pt x="285" y="98"/>
                  </a:lnTo>
                  <a:lnTo>
                    <a:pt x="273" y="196"/>
                  </a:lnTo>
                  <a:lnTo>
                    <a:pt x="273" y="196"/>
                  </a:lnTo>
                  <a:lnTo>
                    <a:pt x="260" y="198"/>
                  </a:lnTo>
                  <a:lnTo>
                    <a:pt x="249" y="202"/>
                  </a:lnTo>
                  <a:lnTo>
                    <a:pt x="238" y="207"/>
                  </a:lnTo>
                  <a:lnTo>
                    <a:pt x="228" y="215"/>
                  </a:lnTo>
                  <a:lnTo>
                    <a:pt x="228" y="215"/>
                  </a:lnTo>
                  <a:close/>
                  <a:moveTo>
                    <a:pt x="277" y="521"/>
                  </a:moveTo>
                  <a:lnTo>
                    <a:pt x="284" y="472"/>
                  </a:lnTo>
                  <a:lnTo>
                    <a:pt x="295" y="373"/>
                  </a:lnTo>
                  <a:lnTo>
                    <a:pt x="295" y="373"/>
                  </a:lnTo>
                  <a:lnTo>
                    <a:pt x="308" y="371"/>
                  </a:lnTo>
                  <a:lnTo>
                    <a:pt x="320" y="368"/>
                  </a:lnTo>
                  <a:lnTo>
                    <a:pt x="330" y="361"/>
                  </a:lnTo>
                  <a:lnTo>
                    <a:pt x="340" y="355"/>
                  </a:lnTo>
                  <a:lnTo>
                    <a:pt x="419" y="417"/>
                  </a:lnTo>
                  <a:lnTo>
                    <a:pt x="459" y="448"/>
                  </a:lnTo>
                  <a:lnTo>
                    <a:pt x="459" y="448"/>
                  </a:lnTo>
                  <a:lnTo>
                    <a:pt x="450" y="456"/>
                  </a:lnTo>
                  <a:lnTo>
                    <a:pt x="441" y="465"/>
                  </a:lnTo>
                  <a:lnTo>
                    <a:pt x="432" y="473"/>
                  </a:lnTo>
                  <a:lnTo>
                    <a:pt x="421" y="480"/>
                  </a:lnTo>
                  <a:lnTo>
                    <a:pt x="411" y="487"/>
                  </a:lnTo>
                  <a:lnTo>
                    <a:pt x="401" y="493"/>
                  </a:lnTo>
                  <a:lnTo>
                    <a:pt x="390" y="499"/>
                  </a:lnTo>
                  <a:lnTo>
                    <a:pt x="378" y="504"/>
                  </a:lnTo>
                  <a:lnTo>
                    <a:pt x="366" y="508"/>
                  </a:lnTo>
                  <a:lnTo>
                    <a:pt x="354" y="513"/>
                  </a:lnTo>
                  <a:lnTo>
                    <a:pt x="342" y="516"/>
                  </a:lnTo>
                  <a:lnTo>
                    <a:pt x="329" y="518"/>
                  </a:lnTo>
                  <a:lnTo>
                    <a:pt x="317" y="520"/>
                  </a:lnTo>
                  <a:lnTo>
                    <a:pt x="304" y="521"/>
                  </a:lnTo>
                  <a:lnTo>
                    <a:pt x="290" y="521"/>
                  </a:lnTo>
                  <a:lnTo>
                    <a:pt x="277" y="521"/>
                  </a:lnTo>
                  <a:lnTo>
                    <a:pt x="277" y="521"/>
                  </a:lnTo>
                  <a:close/>
                  <a:moveTo>
                    <a:pt x="520" y="302"/>
                  </a:moveTo>
                  <a:lnTo>
                    <a:pt x="520" y="302"/>
                  </a:lnTo>
                  <a:lnTo>
                    <a:pt x="518" y="317"/>
                  </a:lnTo>
                  <a:lnTo>
                    <a:pt x="516" y="332"/>
                  </a:lnTo>
                  <a:lnTo>
                    <a:pt x="513" y="347"/>
                  </a:lnTo>
                  <a:lnTo>
                    <a:pt x="510" y="361"/>
                  </a:lnTo>
                  <a:lnTo>
                    <a:pt x="504" y="375"/>
                  </a:lnTo>
                  <a:lnTo>
                    <a:pt x="499" y="388"/>
                  </a:lnTo>
                  <a:lnTo>
                    <a:pt x="491" y="401"/>
                  </a:lnTo>
                  <a:lnTo>
                    <a:pt x="485" y="414"/>
                  </a:lnTo>
                  <a:lnTo>
                    <a:pt x="444" y="383"/>
                  </a:lnTo>
                  <a:lnTo>
                    <a:pt x="366" y="321"/>
                  </a:lnTo>
                  <a:lnTo>
                    <a:pt x="366" y="321"/>
                  </a:lnTo>
                  <a:lnTo>
                    <a:pt x="368" y="314"/>
                  </a:lnTo>
                  <a:lnTo>
                    <a:pt x="370" y="307"/>
                  </a:lnTo>
                  <a:lnTo>
                    <a:pt x="373" y="299"/>
                  </a:lnTo>
                  <a:lnTo>
                    <a:pt x="374" y="291"/>
                  </a:lnTo>
                  <a:lnTo>
                    <a:pt x="374" y="291"/>
                  </a:lnTo>
                  <a:lnTo>
                    <a:pt x="373" y="279"/>
                  </a:lnTo>
                  <a:lnTo>
                    <a:pt x="371" y="267"/>
                  </a:lnTo>
                  <a:lnTo>
                    <a:pt x="460" y="226"/>
                  </a:lnTo>
                  <a:lnTo>
                    <a:pt x="505" y="205"/>
                  </a:lnTo>
                  <a:lnTo>
                    <a:pt x="505" y="205"/>
                  </a:lnTo>
                  <a:lnTo>
                    <a:pt x="513" y="229"/>
                  </a:lnTo>
                  <a:lnTo>
                    <a:pt x="517" y="252"/>
                  </a:lnTo>
                  <a:lnTo>
                    <a:pt x="520" y="276"/>
                  </a:lnTo>
                  <a:lnTo>
                    <a:pt x="520" y="289"/>
                  </a:lnTo>
                  <a:lnTo>
                    <a:pt x="520" y="302"/>
                  </a:lnTo>
                  <a:lnTo>
                    <a:pt x="520" y="302"/>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94" name="Freeform 593"/>
            <p:cNvSpPr>
              <a:spLocks/>
            </p:cNvSpPr>
            <p:nvPr/>
          </p:nvSpPr>
          <p:spPr bwMode="auto">
            <a:xfrm>
              <a:off x="6465296" y="1678671"/>
              <a:ext cx="92894" cy="101233"/>
            </a:xfrm>
            <a:custGeom>
              <a:avLst/>
              <a:gdLst>
                <a:gd name="T0" fmla="*/ 203 w 216"/>
                <a:gd name="T1" fmla="*/ 0 h 239"/>
                <a:gd name="T2" fmla="*/ 123 w 216"/>
                <a:gd name="T3" fmla="*/ 195 h 239"/>
                <a:gd name="T4" fmla="*/ 123 w 216"/>
                <a:gd name="T5" fmla="*/ 195 h 239"/>
                <a:gd name="T6" fmla="*/ 118 w 216"/>
                <a:gd name="T7" fmla="*/ 181 h 239"/>
                <a:gd name="T8" fmla="*/ 114 w 216"/>
                <a:gd name="T9" fmla="*/ 175 h 239"/>
                <a:gd name="T10" fmla="*/ 109 w 216"/>
                <a:gd name="T11" fmla="*/ 167 h 239"/>
                <a:gd name="T12" fmla="*/ 104 w 216"/>
                <a:gd name="T13" fmla="*/ 162 h 239"/>
                <a:gd name="T14" fmla="*/ 98 w 216"/>
                <a:gd name="T15" fmla="*/ 155 h 239"/>
                <a:gd name="T16" fmla="*/ 91 w 216"/>
                <a:gd name="T17" fmla="*/ 151 h 239"/>
                <a:gd name="T18" fmla="*/ 84 w 216"/>
                <a:gd name="T19" fmla="*/ 147 h 239"/>
                <a:gd name="T20" fmla="*/ 84 w 216"/>
                <a:gd name="T21" fmla="*/ 147 h 239"/>
                <a:gd name="T22" fmla="*/ 77 w 216"/>
                <a:gd name="T23" fmla="*/ 144 h 239"/>
                <a:gd name="T24" fmla="*/ 69 w 216"/>
                <a:gd name="T25" fmla="*/ 143 h 239"/>
                <a:gd name="T26" fmla="*/ 63 w 216"/>
                <a:gd name="T27" fmla="*/ 143 h 239"/>
                <a:gd name="T28" fmla="*/ 55 w 216"/>
                <a:gd name="T29" fmla="*/ 143 h 239"/>
                <a:gd name="T30" fmla="*/ 41 w 216"/>
                <a:gd name="T31" fmla="*/ 147 h 239"/>
                <a:gd name="T32" fmla="*/ 28 w 216"/>
                <a:gd name="T33" fmla="*/ 150 h 239"/>
                <a:gd name="T34" fmla="*/ 18 w 216"/>
                <a:gd name="T35" fmla="*/ 155 h 239"/>
                <a:gd name="T36" fmla="*/ 8 w 216"/>
                <a:gd name="T37" fmla="*/ 160 h 239"/>
                <a:gd name="T38" fmla="*/ 0 w 216"/>
                <a:gd name="T39" fmla="*/ 165 h 239"/>
                <a:gd name="T40" fmla="*/ 0 w 216"/>
                <a:gd name="T41" fmla="*/ 165 h 239"/>
                <a:gd name="T42" fmla="*/ 3 w 216"/>
                <a:gd name="T43" fmla="*/ 174 h 239"/>
                <a:gd name="T44" fmla="*/ 6 w 216"/>
                <a:gd name="T45" fmla="*/ 183 h 239"/>
                <a:gd name="T46" fmla="*/ 10 w 216"/>
                <a:gd name="T47" fmla="*/ 195 h 239"/>
                <a:gd name="T48" fmla="*/ 17 w 216"/>
                <a:gd name="T49" fmla="*/ 207 h 239"/>
                <a:gd name="T50" fmla="*/ 25 w 216"/>
                <a:gd name="T51" fmla="*/ 219 h 239"/>
                <a:gd name="T52" fmla="*/ 30 w 216"/>
                <a:gd name="T53" fmla="*/ 223 h 239"/>
                <a:gd name="T54" fmla="*/ 35 w 216"/>
                <a:gd name="T55" fmla="*/ 229 h 239"/>
                <a:gd name="T56" fmla="*/ 41 w 216"/>
                <a:gd name="T57" fmla="*/ 233 h 239"/>
                <a:gd name="T58" fmla="*/ 48 w 216"/>
                <a:gd name="T59" fmla="*/ 236 h 239"/>
                <a:gd name="T60" fmla="*/ 48 w 216"/>
                <a:gd name="T61" fmla="*/ 236 h 239"/>
                <a:gd name="T62" fmla="*/ 54 w 216"/>
                <a:gd name="T63" fmla="*/ 237 h 239"/>
                <a:gd name="T64" fmla="*/ 61 w 216"/>
                <a:gd name="T65" fmla="*/ 239 h 239"/>
                <a:gd name="T66" fmla="*/ 67 w 216"/>
                <a:gd name="T67" fmla="*/ 239 h 239"/>
                <a:gd name="T68" fmla="*/ 74 w 216"/>
                <a:gd name="T69" fmla="*/ 239 h 239"/>
                <a:gd name="T70" fmla="*/ 87 w 216"/>
                <a:gd name="T71" fmla="*/ 237 h 239"/>
                <a:gd name="T72" fmla="*/ 100 w 216"/>
                <a:gd name="T73" fmla="*/ 233 h 239"/>
                <a:gd name="T74" fmla="*/ 111 w 216"/>
                <a:gd name="T75" fmla="*/ 229 h 239"/>
                <a:gd name="T76" fmla="*/ 120 w 216"/>
                <a:gd name="T77" fmla="*/ 224 h 239"/>
                <a:gd name="T78" fmla="*/ 130 w 216"/>
                <a:gd name="T79" fmla="*/ 218 h 239"/>
                <a:gd name="T80" fmla="*/ 130 w 216"/>
                <a:gd name="T81" fmla="*/ 218 h 239"/>
                <a:gd name="T82" fmla="*/ 216 w 216"/>
                <a:gd name="T83" fmla="*/ 5 h 239"/>
                <a:gd name="T84" fmla="*/ 203 w 216"/>
                <a:gd name="T85"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6" h="239">
                  <a:moveTo>
                    <a:pt x="203" y="0"/>
                  </a:moveTo>
                  <a:lnTo>
                    <a:pt x="123" y="195"/>
                  </a:lnTo>
                  <a:lnTo>
                    <a:pt x="123" y="195"/>
                  </a:lnTo>
                  <a:lnTo>
                    <a:pt x="118" y="181"/>
                  </a:lnTo>
                  <a:lnTo>
                    <a:pt x="114" y="175"/>
                  </a:lnTo>
                  <a:lnTo>
                    <a:pt x="109" y="167"/>
                  </a:lnTo>
                  <a:lnTo>
                    <a:pt x="104" y="162"/>
                  </a:lnTo>
                  <a:lnTo>
                    <a:pt x="98" y="155"/>
                  </a:lnTo>
                  <a:lnTo>
                    <a:pt x="91" y="151"/>
                  </a:lnTo>
                  <a:lnTo>
                    <a:pt x="84" y="147"/>
                  </a:lnTo>
                  <a:lnTo>
                    <a:pt x="84" y="147"/>
                  </a:lnTo>
                  <a:lnTo>
                    <a:pt x="77" y="144"/>
                  </a:lnTo>
                  <a:lnTo>
                    <a:pt x="69" y="143"/>
                  </a:lnTo>
                  <a:lnTo>
                    <a:pt x="63" y="143"/>
                  </a:lnTo>
                  <a:lnTo>
                    <a:pt x="55" y="143"/>
                  </a:lnTo>
                  <a:lnTo>
                    <a:pt x="41" y="147"/>
                  </a:lnTo>
                  <a:lnTo>
                    <a:pt x="28" y="150"/>
                  </a:lnTo>
                  <a:lnTo>
                    <a:pt x="18" y="155"/>
                  </a:lnTo>
                  <a:lnTo>
                    <a:pt x="8" y="160"/>
                  </a:lnTo>
                  <a:lnTo>
                    <a:pt x="0" y="165"/>
                  </a:lnTo>
                  <a:lnTo>
                    <a:pt x="0" y="165"/>
                  </a:lnTo>
                  <a:lnTo>
                    <a:pt x="3" y="174"/>
                  </a:lnTo>
                  <a:lnTo>
                    <a:pt x="6" y="183"/>
                  </a:lnTo>
                  <a:lnTo>
                    <a:pt x="10" y="195"/>
                  </a:lnTo>
                  <a:lnTo>
                    <a:pt x="17" y="207"/>
                  </a:lnTo>
                  <a:lnTo>
                    <a:pt x="25" y="219"/>
                  </a:lnTo>
                  <a:lnTo>
                    <a:pt x="30" y="223"/>
                  </a:lnTo>
                  <a:lnTo>
                    <a:pt x="35" y="229"/>
                  </a:lnTo>
                  <a:lnTo>
                    <a:pt x="41" y="233"/>
                  </a:lnTo>
                  <a:lnTo>
                    <a:pt x="48" y="236"/>
                  </a:lnTo>
                  <a:lnTo>
                    <a:pt x="48" y="236"/>
                  </a:lnTo>
                  <a:lnTo>
                    <a:pt x="54" y="237"/>
                  </a:lnTo>
                  <a:lnTo>
                    <a:pt x="61" y="239"/>
                  </a:lnTo>
                  <a:lnTo>
                    <a:pt x="67" y="239"/>
                  </a:lnTo>
                  <a:lnTo>
                    <a:pt x="74" y="239"/>
                  </a:lnTo>
                  <a:lnTo>
                    <a:pt x="87" y="237"/>
                  </a:lnTo>
                  <a:lnTo>
                    <a:pt x="100" y="233"/>
                  </a:lnTo>
                  <a:lnTo>
                    <a:pt x="111" y="229"/>
                  </a:lnTo>
                  <a:lnTo>
                    <a:pt x="120" y="224"/>
                  </a:lnTo>
                  <a:lnTo>
                    <a:pt x="130" y="218"/>
                  </a:lnTo>
                  <a:lnTo>
                    <a:pt x="130" y="218"/>
                  </a:lnTo>
                  <a:lnTo>
                    <a:pt x="216" y="5"/>
                  </a:lnTo>
                  <a:lnTo>
                    <a:pt x="203" y="0"/>
                  </a:lnTo>
                  <a:close/>
                </a:path>
              </a:pathLst>
            </a:custGeom>
            <a:solidFill>
              <a:srgbClr val="E5E8E8">
                <a:lumMod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595" name="Freeform 594"/>
            <p:cNvSpPr>
              <a:spLocks/>
            </p:cNvSpPr>
            <p:nvPr/>
          </p:nvSpPr>
          <p:spPr bwMode="auto">
            <a:xfrm>
              <a:off x="6554750" y="1688794"/>
              <a:ext cx="67091" cy="70864"/>
            </a:xfrm>
            <a:custGeom>
              <a:avLst/>
              <a:gdLst>
                <a:gd name="T0" fmla="*/ 144 w 153"/>
                <a:gd name="T1" fmla="*/ 0 h 170"/>
                <a:gd name="T2" fmla="*/ 87 w 153"/>
                <a:gd name="T3" fmla="*/ 139 h 170"/>
                <a:gd name="T4" fmla="*/ 87 w 153"/>
                <a:gd name="T5" fmla="*/ 139 h 170"/>
                <a:gd name="T6" fmla="*/ 83 w 153"/>
                <a:gd name="T7" fmla="*/ 129 h 170"/>
                <a:gd name="T8" fmla="*/ 77 w 153"/>
                <a:gd name="T9" fmla="*/ 119 h 170"/>
                <a:gd name="T10" fmla="*/ 73 w 153"/>
                <a:gd name="T11" fmla="*/ 115 h 170"/>
                <a:gd name="T12" fmla="*/ 69 w 153"/>
                <a:gd name="T13" fmla="*/ 111 h 170"/>
                <a:gd name="T14" fmla="*/ 64 w 153"/>
                <a:gd name="T15" fmla="*/ 107 h 170"/>
                <a:gd name="T16" fmla="*/ 59 w 153"/>
                <a:gd name="T17" fmla="*/ 105 h 170"/>
                <a:gd name="T18" fmla="*/ 59 w 153"/>
                <a:gd name="T19" fmla="*/ 105 h 170"/>
                <a:gd name="T20" fmla="*/ 54 w 153"/>
                <a:gd name="T21" fmla="*/ 103 h 170"/>
                <a:gd name="T22" fmla="*/ 50 w 153"/>
                <a:gd name="T23" fmla="*/ 102 h 170"/>
                <a:gd name="T24" fmla="*/ 39 w 153"/>
                <a:gd name="T25" fmla="*/ 103 h 170"/>
                <a:gd name="T26" fmla="*/ 29 w 153"/>
                <a:gd name="T27" fmla="*/ 104 h 170"/>
                <a:gd name="T28" fmla="*/ 20 w 153"/>
                <a:gd name="T29" fmla="*/ 107 h 170"/>
                <a:gd name="T30" fmla="*/ 12 w 153"/>
                <a:gd name="T31" fmla="*/ 111 h 170"/>
                <a:gd name="T32" fmla="*/ 5 w 153"/>
                <a:gd name="T33" fmla="*/ 114 h 170"/>
                <a:gd name="T34" fmla="*/ 0 w 153"/>
                <a:gd name="T35" fmla="*/ 118 h 170"/>
                <a:gd name="T36" fmla="*/ 0 w 153"/>
                <a:gd name="T37" fmla="*/ 118 h 170"/>
                <a:gd name="T38" fmla="*/ 2 w 153"/>
                <a:gd name="T39" fmla="*/ 124 h 170"/>
                <a:gd name="T40" fmla="*/ 4 w 153"/>
                <a:gd name="T41" fmla="*/ 131 h 170"/>
                <a:gd name="T42" fmla="*/ 7 w 153"/>
                <a:gd name="T43" fmla="*/ 139 h 170"/>
                <a:gd name="T44" fmla="*/ 12 w 153"/>
                <a:gd name="T45" fmla="*/ 147 h 170"/>
                <a:gd name="T46" fmla="*/ 17 w 153"/>
                <a:gd name="T47" fmla="*/ 156 h 170"/>
                <a:gd name="T48" fmla="*/ 25 w 153"/>
                <a:gd name="T49" fmla="*/ 162 h 170"/>
                <a:gd name="T50" fmla="*/ 29 w 153"/>
                <a:gd name="T51" fmla="*/ 166 h 170"/>
                <a:gd name="T52" fmla="*/ 33 w 153"/>
                <a:gd name="T53" fmla="*/ 168 h 170"/>
                <a:gd name="T54" fmla="*/ 33 w 153"/>
                <a:gd name="T55" fmla="*/ 168 h 170"/>
                <a:gd name="T56" fmla="*/ 38 w 153"/>
                <a:gd name="T57" fmla="*/ 169 h 170"/>
                <a:gd name="T58" fmla="*/ 43 w 153"/>
                <a:gd name="T59" fmla="*/ 170 h 170"/>
                <a:gd name="T60" fmla="*/ 52 w 153"/>
                <a:gd name="T61" fmla="*/ 170 h 170"/>
                <a:gd name="T62" fmla="*/ 61 w 153"/>
                <a:gd name="T63" fmla="*/ 169 h 170"/>
                <a:gd name="T64" fmla="*/ 70 w 153"/>
                <a:gd name="T65" fmla="*/ 166 h 170"/>
                <a:gd name="T66" fmla="*/ 78 w 153"/>
                <a:gd name="T67" fmla="*/ 162 h 170"/>
                <a:gd name="T68" fmla="*/ 84 w 153"/>
                <a:gd name="T69" fmla="*/ 159 h 170"/>
                <a:gd name="T70" fmla="*/ 92 w 153"/>
                <a:gd name="T71" fmla="*/ 155 h 170"/>
                <a:gd name="T72" fmla="*/ 92 w 153"/>
                <a:gd name="T73" fmla="*/ 155 h 170"/>
                <a:gd name="T74" fmla="*/ 153 w 153"/>
                <a:gd name="T75" fmla="*/ 5 h 170"/>
                <a:gd name="T76" fmla="*/ 144 w 153"/>
                <a:gd name="T77"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3" h="170">
                  <a:moveTo>
                    <a:pt x="144" y="0"/>
                  </a:moveTo>
                  <a:lnTo>
                    <a:pt x="87" y="139"/>
                  </a:lnTo>
                  <a:lnTo>
                    <a:pt x="87" y="139"/>
                  </a:lnTo>
                  <a:lnTo>
                    <a:pt x="83" y="129"/>
                  </a:lnTo>
                  <a:lnTo>
                    <a:pt x="77" y="119"/>
                  </a:lnTo>
                  <a:lnTo>
                    <a:pt x="73" y="115"/>
                  </a:lnTo>
                  <a:lnTo>
                    <a:pt x="69" y="111"/>
                  </a:lnTo>
                  <a:lnTo>
                    <a:pt x="64" y="107"/>
                  </a:lnTo>
                  <a:lnTo>
                    <a:pt x="59" y="105"/>
                  </a:lnTo>
                  <a:lnTo>
                    <a:pt x="59" y="105"/>
                  </a:lnTo>
                  <a:lnTo>
                    <a:pt x="54" y="103"/>
                  </a:lnTo>
                  <a:lnTo>
                    <a:pt x="50" y="102"/>
                  </a:lnTo>
                  <a:lnTo>
                    <a:pt x="39" y="103"/>
                  </a:lnTo>
                  <a:lnTo>
                    <a:pt x="29" y="104"/>
                  </a:lnTo>
                  <a:lnTo>
                    <a:pt x="20" y="107"/>
                  </a:lnTo>
                  <a:lnTo>
                    <a:pt x="12" y="111"/>
                  </a:lnTo>
                  <a:lnTo>
                    <a:pt x="5" y="114"/>
                  </a:lnTo>
                  <a:lnTo>
                    <a:pt x="0" y="118"/>
                  </a:lnTo>
                  <a:lnTo>
                    <a:pt x="0" y="118"/>
                  </a:lnTo>
                  <a:lnTo>
                    <a:pt x="2" y="124"/>
                  </a:lnTo>
                  <a:lnTo>
                    <a:pt x="4" y="131"/>
                  </a:lnTo>
                  <a:lnTo>
                    <a:pt x="7" y="139"/>
                  </a:lnTo>
                  <a:lnTo>
                    <a:pt x="12" y="147"/>
                  </a:lnTo>
                  <a:lnTo>
                    <a:pt x="17" y="156"/>
                  </a:lnTo>
                  <a:lnTo>
                    <a:pt x="25" y="162"/>
                  </a:lnTo>
                  <a:lnTo>
                    <a:pt x="29" y="166"/>
                  </a:lnTo>
                  <a:lnTo>
                    <a:pt x="33" y="168"/>
                  </a:lnTo>
                  <a:lnTo>
                    <a:pt x="33" y="168"/>
                  </a:lnTo>
                  <a:lnTo>
                    <a:pt x="38" y="169"/>
                  </a:lnTo>
                  <a:lnTo>
                    <a:pt x="43" y="170"/>
                  </a:lnTo>
                  <a:lnTo>
                    <a:pt x="52" y="170"/>
                  </a:lnTo>
                  <a:lnTo>
                    <a:pt x="61" y="169"/>
                  </a:lnTo>
                  <a:lnTo>
                    <a:pt x="70" y="166"/>
                  </a:lnTo>
                  <a:lnTo>
                    <a:pt x="78" y="162"/>
                  </a:lnTo>
                  <a:lnTo>
                    <a:pt x="84" y="159"/>
                  </a:lnTo>
                  <a:lnTo>
                    <a:pt x="92" y="155"/>
                  </a:lnTo>
                  <a:lnTo>
                    <a:pt x="92" y="155"/>
                  </a:lnTo>
                  <a:lnTo>
                    <a:pt x="153" y="5"/>
                  </a:lnTo>
                  <a:lnTo>
                    <a:pt x="144" y="0"/>
                  </a:lnTo>
                  <a:close/>
                </a:path>
              </a:pathLst>
            </a:custGeom>
            <a:solidFill>
              <a:srgbClr val="E5E8E8">
                <a:lumMod val="2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nvGrpSpPr>
            <p:cNvPr id="596" name="Group 595"/>
            <p:cNvGrpSpPr/>
            <p:nvPr/>
          </p:nvGrpSpPr>
          <p:grpSpPr>
            <a:xfrm>
              <a:off x="2521299" y="1113961"/>
              <a:ext cx="137619" cy="134978"/>
              <a:chOff x="2780043" y="1674419"/>
              <a:chExt cx="121450" cy="119119"/>
            </a:xfrm>
          </p:grpSpPr>
          <p:sp>
            <p:nvSpPr>
              <p:cNvPr id="637" name="Freeform 636"/>
              <p:cNvSpPr>
                <a:spLocks noEditPoints="1"/>
              </p:cNvSpPr>
              <p:nvPr/>
            </p:nvSpPr>
            <p:spPr bwMode="auto">
              <a:xfrm>
                <a:off x="2780043" y="1674419"/>
                <a:ext cx="121450" cy="119119"/>
              </a:xfrm>
              <a:custGeom>
                <a:avLst/>
                <a:gdLst>
                  <a:gd name="T0" fmla="*/ 1 w 318"/>
                  <a:gd name="T1" fmla="*/ 180 h 319"/>
                  <a:gd name="T2" fmla="*/ 14 w 318"/>
                  <a:gd name="T3" fmla="*/ 226 h 319"/>
                  <a:gd name="T4" fmla="*/ 40 w 318"/>
                  <a:gd name="T5" fmla="*/ 265 h 319"/>
                  <a:gd name="T6" fmla="*/ 74 w 318"/>
                  <a:gd name="T7" fmla="*/ 295 h 319"/>
                  <a:gd name="T8" fmla="*/ 116 w 318"/>
                  <a:gd name="T9" fmla="*/ 313 h 319"/>
                  <a:gd name="T10" fmla="*/ 165 w 318"/>
                  <a:gd name="T11" fmla="*/ 319 h 319"/>
                  <a:gd name="T12" fmla="*/ 196 w 318"/>
                  <a:gd name="T13" fmla="*/ 314 h 319"/>
                  <a:gd name="T14" fmla="*/ 240 w 318"/>
                  <a:gd name="T15" fmla="*/ 297 h 319"/>
                  <a:gd name="T16" fmla="*/ 276 w 318"/>
                  <a:gd name="T17" fmla="*/ 268 h 319"/>
                  <a:gd name="T18" fmla="*/ 302 w 318"/>
                  <a:gd name="T19" fmla="*/ 230 h 319"/>
                  <a:gd name="T20" fmla="*/ 316 w 318"/>
                  <a:gd name="T21" fmla="*/ 186 h 319"/>
                  <a:gd name="T22" fmla="*/ 318 w 318"/>
                  <a:gd name="T23" fmla="*/ 153 h 319"/>
                  <a:gd name="T24" fmla="*/ 310 w 318"/>
                  <a:gd name="T25" fmla="*/ 107 h 319"/>
                  <a:gd name="T26" fmla="*/ 288 w 318"/>
                  <a:gd name="T27" fmla="*/ 66 h 319"/>
                  <a:gd name="T28" fmla="*/ 257 w 318"/>
                  <a:gd name="T29" fmla="*/ 32 h 319"/>
                  <a:gd name="T30" fmla="*/ 217 w 318"/>
                  <a:gd name="T31" fmla="*/ 10 h 319"/>
                  <a:gd name="T32" fmla="*/ 170 w 318"/>
                  <a:gd name="T33" fmla="*/ 0 h 319"/>
                  <a:gd name="T34" fmla="*/ 138 w 318"/>
                  <a:gd name="T35" fmla="*/ 1 h 319"/>
                  <a:gd name="T36" fmla="*/ 93 w 318"/>
                  <a:gd name="T37" fmla="*/ 14 h 319"/>
                  <a:gd name="T38" fmla="*/ 54 w 318"/>
                  <a:gd name="T39" fmla="*/ 39 h 319"/>
                  <a:gd name="T40" fmla="*/ 24 w 318"/>
                  <a:gd name="T41" fmla="*/ 75 h 319"/>
                  <a:gd name="T42" fmla="*/ 5 w 318"/>
                  <a:gd name="T43" fmla="*/ 117 h 319"/>
                  <a:gd name="T44" fmla="*/ 0 w 318"/>
                  <a:gd name="T45" fmla="*/ 164 h 319"/>
                  <a:gd name="T46" fmla="*/ 260 w 318"/>
                  <a:gd name="T47" fmla="*/ 156 h 319"/>
                  <a:gd name="T48" fmla="*/ 257 w 318"/>
                  <a:gd name="T49" fmla="*/ 186 h 319"/>
                  <a:gd name="T50" fmla="*/ 245 w 318"/>
                  <a:gd name="T51" fmla="*/ 213 h 319"/>
                  <a:gd name="T52" fmla="*/ 227 w 318"/>
                  <a:gd name="T53" fmla="*/ 235 h 319"/>
                  <a:gd name="T54" fmla="*/ 202 w 318"/>
                  <a:gd name="T55" fmla="*/ 251 h 319"/>
                  <a:gd name="T56" fmla="*/ 173 w 318"/>
                  <a:gd name="T57" fmla="*/ 259 h 319"/>
                  <a:gd name="T58" fmla="*/ 152 w 318"/>
                  <a:gd name="T59" fmla="*/ 260 h 319"/>
                  <a:gd name="T60" fmla="*/ 123 w 318"/>
                  <a:gd name="T61" fmla="*/ 254 h 319"/>
                  <a:gd name="T62" fmla="*/ 97 w 318"/>
                  <a:gd name="T63" fmla="*/ 240 h 319"/>
                  <a:gd name="T64" fmla="*/ 78 w 318"/>
                  <a:gd name="T65" fmla="*/ 218 h 319"/>
                  <a:gd name="T66" fmla="*/ 64 w 318"/>
                  <a:gd name="T67" fmla="*/ 192 h 319"/>
                  <a:gd name="T68" fmla="*/ 58 w 318"/>
                  <a:gd name="T69" fmla="*/ 162 h 319"/>
                  <a:gd name="T70" fmla="*/ 59 w 318"/>
                  <a:gd name="T71" fmla="*/ 143 h 319"/>
                  <a:gd name="T72" fmla="*/ 69 w 318"/>
                  <a:gd name="T73" fmla="*/ 113 h 319"/>
                  <a:gd name="T74" fmla="*/ 85 w 318"/>
                  <a:gd name="T75" fmla="*/ 90 h 319"/>
                  <a:gd name="T76" fmla="*/ 108 w 318"/>
                  <a:gd name="T77" fmla="*/ 71 h 319"/>
                  <a:gd name="T78" fmla="*/ 136 w 318"/>
                  <a:gd name="T79" fmla="*/ 60 h 319"/>
                  <a:gd name="T80" fmla="*/ 155 w 318"/>
                  <a:gd name="T81" fmla="*/ 58 h 319"/>
                  <a:gd name="T82" fmla="*/ 186 w 318"/>
                  <a:gd name="T83" fmla="*/ 62 h 319"/>
                  <a:gd name="T84" fmla="*/ 213 w 318"/>
                  <a:gd name="T85" fmla="*/ 73 h 319"/>
                  <a:gd name="T86" fmla="*/ 235 w 318"/>
                  <a:gd name="T87" fmla="*/ 92 h 319"/>
                  <a:gd name="T88" fmla="*/ 251 w 318"/>
                  <a:gd name="T89" fmla="*/ 117 h 319"/>
                  <a:gd name="T90" fmla="*/ 259 w 318"/>
                  <a:gd name="T91" fmla="*/ 14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8" h="319">
                    <a:moveTo>
                      <a:pt x="0" y="164"/>
                    </a:moveTo>
                    <a:lnTo>
                      <a:pt x="0" y="164"/>
                    </a:lnTo>
                    <a:lnTo>
                      <a:pt x="1" y="180"/>
                    </a:lnTo>
                    <a:lnTo>
                      <a:pt x="4" y="197"/>
                    </a:lnTo>
                    <a:lnTo>
                      <a:pt x="8" y="212"/>
                    </a:lnTo>
                    <a:lnTo>
                      <a:pt x="14" y="226"/>
                    </a:lnTo>
                    <a:lnTo>
                      <a:pt x="21" y="240"/>
                    </a:lnTo>
                    <a:lnTo>
                      <a:pt x="30" y="253"/>
                    </a:lnTo>
                    <a:lnTo>
                      <a:pt x="40" y="265"/>
                    </a:lnTo>
                    <a:lnTo>
                      <a:pt x="51" y="275"/>
                    </a:lnTo>
                    <a:lnTo>
                      <a:pt x="61" y="286"/>
                    </a:lnTo>
                    <a:lnTo>
                      <a:pt x="74" y="295"/>
                    </a:lnTo>
                    <a:lnTo>
                      <a:pt x="88" y="302"/>
                    </a:lnTo>
                    <a:lnTo>
                      <a:pt x="102" y="308"/>
                    </a:lnTo>
                    <a:lnTo>
                      <a:pt x="116" y="313"/>
                    </a:lnTo>
                    <a:lnTo>
                      <a:pt x="133" y="316"/>
                    </a:lnTo>
                    <a:lnTo>
                      <a:pt x="148" y="319"/>
                    </a:lnTo>
                    <a:lnTo>
                      <a:pt x="165" y="319"/>
                    </a:lnTo>
                    <a:lnTo>
                      <a:pt x="165" y="319"/>
                    </a:lnTo>
                    <a:lnTo>
                      <a:pt x="181" y="318"/>
                    </a:lnTo>
                    <a:lnTo>
                      <a:pt x="196" y="314"/>
                    </a:lnTo>
                    <a:lnTo>
                      <a:pt x="211" y="310"/>
                    </a:lnTo>
                    <a:lnTo>
                      <a:pt x="227" y="305"/>
                    </a:lnTo>
                    <a:lnTo>
                      <a:pt x="240" y="297"/>
                    </a:lnTo>
                    <a:lnTo>
                      <a:pt x="253" y="288"/>
                    </a:lnTo>
                    <a:lnTo>
                      <a:pt x="264" y="279"/>
                    </a:lnTo>
                    <a:lnTo>
                      <a:pt x="276" y="268"/>
                    </a:lnTo>
                    <a:lnTo>
                      <a:pt x="286" y="256"/>
                    </a:lnTo>
                    <a:lnTo>
                      <a:pt x="295" y="244"/>
                    </a:lnTo>
                    <a:lnTo>
                      <a:pt x="302" y="230"/>
                    </a:lnTo>
                    <a:lnTo>
                      <a:pt x="309" y="216"/>
                    </a:lnTo>
                    <a:lnTo>
                      <a:pt x="313" y="202"/>
                    </a:lnTo>
                    <a:lnTo>
                      <a:pt x="316" y="186"/>
                    </a:lnTo>
                    <a:lnTo>
                      <a:pt x="318" y="170"/>
                    </a:lnTo>
                    <a:lnTo>
                      <a:pt x="318" y="153"/>
                    </a:lnTo>
                    <a:lnTo>
                      <a:pt x="318" y="153"/>
                    </a:lnTo>
                    <a:lnTo>
                      <a:pt x="317" y="137"/>
                    </a:lnTo>
                    <a:lnTo>
                      <a:pt x="314" y="122"/>
                    </a:lnTo>
                    <a:lnTo>
                      <a:pt x="310" y="107"/>
                    </a:lnTo>
                    <a:lnTo>
                      <a:pt x="304" y="92"/>
                    </a:lnTo>
                    <a:lnTo>
                      <a:pt x="297" y="79"/>
                    </a:lnTo>
                    <a:lnTo>
                      <a:pt x="288" y="66"/>
                    </a:lnTo>
                    <a:lnTo>
                      <a:pt x="278" y="53"/>
                    </a:lnTo>
                    <a:lnTo>
                      <a:pt x="269" y="42"/>
                    </a:lnTo>
                    <a:lnTo>
                      <a:pt x="257" y="32"/>
                    </a:lnTo>
                    <a:lnTo>
                      <a:pt x="244" y="24"/>
                    </a:lnTo>
                    <a:lnTo>
                      <a:pt x="231" y="16"/>
                    </a:lnTo>
                    <a:lnTo>
                      <a:pt x="217" y="10"/>
                    </a:lnTo>
                    <a:lnTo>
                      <a:pt x="202" y="5"/>
                    </a:lnTo>
                    <a:lnTo>
                      <a:pt x="187" y="2"/>
                    </a:lnTo>
                    <a:lnTo>
                      <a:pt x="170" y="0"/>
                    </a:lnTo>
                    <a:lnTo>
                      <a:pt x="154" y="0"/>
                    </a:lnTo>
                    <a:lnTo>
                      <a:pt x="154" y="0"/>
                    </a:lnTo>
                    <a:lnTo>
                      <a:pt x="138" y="1"/>
                    </a:lnTo>
                    <a:lnTo>
                      <a:pt x="122" y="4"/>
                    </a:lnTo>
                    <a:lnTo>
                      <a:pt x="107" y="9"/>
                    </a:lnTo>
                    <a:lnTo>
                      <a:pt x="93" y="14"/>
                    </a:lnTo>
                    <a:lnTo>
                      <a:pt x="79" y="22"/>
                    </a:lnTo>
                    <a:lnTo>
                      <a:pt x="66" y="30"/>
                    </a:lnTo>
                    <a:lnTo>
                      <a:pt x="54" y="39"/>
                    </a:lnTo>
                    <a:lnTo>
                      <a:pt x="43" y="50"/>
                    </a:lnTo>
                    <a:lnTo>
                      <a:pt x="32" y="62"/>
                    </a:lnTo>
                    <a:lnTo>
                      <a:pt x="24" y="75"/>
                    </a:lnTo>
                    <a:lnTo>
                      <a:pt x="16" y="87"/>
                    </a:lnTo>
                    <a:lnTo>
                      <a:pt x="11" y="102"/>
                    </a:lnTo>
                    <a:lnTo>
                      <a:pt x="5" y="117"/>
                    </a:lnTo>
                    <a:lnTo>
                      <a:pt x="2" y="132"/>
                    </a:lnTo>
                    <a:lnTo>
                      <a:pt x="0" y="148"/>
                    </a:lnTo>
                    <a:lnTo>
                      <a:pt x="0" y="164"/>
                    </a:lnTo>
                    <a:lnTo>
                      <a:pt x="0" y="164"/>
                    </a:lnTo>
                    <a:close/>
                    <a:moveTo>
                      <a:pt x="260" y="156"/>
                    </a:moveTo>
                    <a:lnTo>
                      <a:pt x="260" y="156"/>
                    </a:lnTo>
                    <a:lnTo>
                      <a:pt x="260" y="166"/>
                    </a:lnTo>
                    <a:lnTo>
                      <a:pt x="259" y="176"/>
                    </a:lnTo>
                    <a:lnTo>
                      <a:pt x="257" y="186"/>
                    </a:lnTo>
                    <a:lnTo>
                      <a:pt x="254" y="195"/>
                    </a:lnTo>
                    <a:lnTo>
                      <a:pt x="249" y="204"/>
                    </a:lnTo>
                    <a:lnTo>
                      <a:pt x="245" y="213"/>
                    </a:lnTo>
                    <a:lnTo>
                      <a:pt x="240" y="220"/>
                    </a:lnTo>
                    <a:lnTo>
                      <a:pt x="233" y="228"/>
                    </a:lnTo>
                    <a:lnTo>
                      <a:pt x="227" y="235"/>
                    </a:lnTo>
                    <a:lnTo>
                      <a:pt x="219" y="241"/>
                    </a:lnTo>
                    <a:lnTo>
                      <a:pt x="210" y="246"/>
                    </a:lnTo>
                    <a:lnTo>
                      <a:pt x="202" y="251"/>
                    </a:lnTo>
                    <a:lnTo>
                      <a:pt x="192" y="255"/>
                    </a:lnTo>
                    <a:lnTo>
                      <a:pt x="183" y="257"/>
                    </a:lnTo>
                    <a:lnTo>
                      <a:pt x="173" y="259"/>
                    </a:lnTo>
                    <a:lnTo>
                      <a:pt x="163" y="260"/>
                    </a:lnTo>
                    <a:lnTo>
                      <a:pt x="163" y="260"/>
                    </a:lnTo>
                    <a:lnTo>
                      <a:pt x="152" y="260"/>
                    </a:lnTo>
                    <a:lnTo>
                      <a:pt x="142" y="259"/>
                    </a:lnTo>
                    <a:lnTo>
                      <a:pt x="133" y="257"/>
                    </a:lnTo>
                    <a:lnTo>
                      <a:pt x="123" y="254"/>
                    </a:lnTo>
                    <a:lnTo>
                      <a:pt x="114" y="249"/>
                    </a:lnTo>
                    <a:lnTo>
                      <a:pt x="106" y="245"/>
                    </a:lnTo>
                    <a:lnTo>
                      <a:pt x="97" y="240"/>
                    </a:lnTo>
                    <a:lnTo>
                      <a:pt x="91" y="233"/>
                    </a:lnTo>
                    <a:lnTo>
                      <a:pt x="83" y="226"/>
                    </a:lnTo>
                    <a:lnTo>
                      <a:pt x="78" y="218"/>
                    </a:lnTo>
                    <a:lnTo>
                      <a:pt x="72" y="211"/>
                    </a:lnTo>
                    <a:lnTo>
                      <a:pt x="68" y="202"/>
                    </a:lnTo>
                    <a:lnTo>
                      <a:pt x="64" y="192"/>
                    </a:lnTo>
                    <a:lnTo>
                      <a:pt x="60" y="183"/>
                    </a:lnTo>
                    <a:lnTo>
                      <a:pt x="59" y="173"/>
                    </a:lnTo>
                    <a:lnTo>
                      <a:pt x="58" y="162"/>
                    </a:lnTo>
                    <a:lnTo>
                      <a:pt x="58" y="162"/>
                    </a:lnTo>
                    <a:lnTo>
                      <a:pt x="58" y="152"/>
                    </a:lnTo>
                    <a:lnTo>
                      <a:pt x="59" y="143"/>
                    </a:lnTo>
                    <a:lnTo>
                      <a:pt x="61" y="132"/>
                    </a:lnTo>
                    <a:lnTo>
                      <a:pt x="65" y="123"/>
                    </a:lnTo>
                    <a:lnTo>
                      <a:pt x="69" y="113"/>
                    </a:lnTo>
                    <a:lnTo>
                      <a:pt x="73" y="106"/>
                    </a:lnTo>
                    <a:lnTo>
                      <a:pt x="79" y="97"/>
                    </a:lnTo>
                    <a:lnTo>
                      <a:pt x="85" y="90"/>
                    </a:lnTo>
                    <a:lnTo>
                      <a:pt x="93" y="83"/>
                    </a:lnTo>
                    <a:lnTo>
                      <a:pt x="100" y="77"/>
                    </a:lnTo>
                    <a:lnTo>
                      <a:pt x="108" y="71"/>
                    </a:lnTo>
                    <a:lnTo>
                      <a:pt x="116" y="67"/>
                    </a:lnTo>
                    <a:lnTo>
                      <a:pt x="126" y="64"/>
                    </a:lnTo>
                    <a:lnTo>
                      <a:pt x="136" y="60"/>
                    </a:lnTo>
                    <a:lnTo>
                      <a:pt x="146" y="58"/>
                    </a:lnTo>
                    <a:lnTo>
                      <a:pt x="155" y="58"/>
                    </a:lnTo>
                    <a:lnTo>
                      <a:pt x="155" y="58"/>
                    </a:lnTo>
                    <a:lnTo>
                      <a:pt x="166" y="58"/>
                    </a:lnTo>
                    <a:lnTo>
                      <a:pt x="176" y="59"/>
                    </a:lnTo>
                    <a:lnTo>
                      <a:pt x="186" y="62"/>
                    </a:lnTo>
                    <a:lnTo>
                      <a:pt x="195" y="65"/>
                    </a:lnTo>
                    <a:lnTo>
                      <a:pt x="205" y="68"/>
                    </a:lnTo>
                    <a:lnTo>
                      <a:pt x="213" y="73"/>
                    </a:lnTo>
                    <a:lnTo>
                      <a:pt x="221" y="79"/>
                    </a:lnTo>
                    <a:lnTo>
                      <a:pt x="229" y="85"/>
                    </a:lnTo>
                    <a:lnTo>
                      <a:pt x="235" y="92"/>
                    </a:lnTo>
                    <a:lnTo>
                      <a:pt x="242" y="99"/>
                    </a:lnTo>
                    <a:lnTo>
                      <a:pt x="246" y="108"/>
                    </a:lnTo>
                    <a:lnTo>
                      <a:pt x="251" y="117"/>
                    </a:lnTo>
                    <a:lnTo>
                      <a:pt x="255" y="125"/>
                    </a:lnTo>
                    <a:lnTo>
                      <a:pt x="258" y="135"/>
                    </a:lnTo>
                    <a:lnTo>
                      <a:pt x="259" y="146"/>
                    </a:lnTo>
                    <a:lnTo>
                      <a:pt x="260" y="156"/>
                    </a:lnTo>
                    <a:lnTo>
                      <a:pt x="260" y="156"/>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38" name="Freeform 637"/>
              <p:cNvSpPr>
                <a:spLocks/>
              </p:cNvSpPr>
              <p:nvPr/>
            </p:nvSpPr>
            <p:spPr bwMode="auto">
              <a:xfrm>
                <a:off x="2824069" y="1714622"/>
                <a:ext cx="33399" cy="29780"/>
              </a:xfrm>
              <a:custGeom>
                <a:avLst/>
                <a:gdLst>
                  <a:gd name="T0" fmla="*/ 42 w 90"/>
                  <a:gd name="T1" fmla="*/ 0 h 79"/>
                  <a:gd name="T2" fmla="*/ 90 w 90"/>
                  <a:gd name="T3" fmla="*/ 76 h 79"/>
                  <a:gd name="T4" fmla="*/ 0 w 90"/>
                  <a:gd name="T5" fmla="*/ 79 h 79"/>
                  <a:gd name="T6" fmla="*/ 42 w 90"/>
                  <a:gd name="T7" fmla="*/ 0 h 79"/>
                </a:gdLst>
                <a:ahLst/>
                <a:cxnLst>
                  <a:cxn ang="0">
                    <a:pos x="T0" y="T1"/>
                  </a:cxn>
                  <a:cxn ang="0">
                    <a:pos x="T2" y="T3"/>
                  </a:cxn>
                  <a:cxn ang="0">
                    <a:pos x="T4" y="T5"/>
                  </a:cxn>
                  <a:cxn ang="0">
                    <a:pos x="T6" y="T7"/>
                  </a:cxn>
                </a:cxnLst>
                <a:rect l="0" t="0" r="r" b="b"/>
                <a:pathLst>
                  <a:path w="90" h="79">
                    <a:moveTo>
                      <a:pt x="42" y="0"/>
                    </a:moveTo>
                    <a:lnTo>
                      <a:pt x="90" y="76"/>
                    </a:lnTo>
                    <a:lnTo>
                      <a:pt x="0" y="79"/>
                    </a:lnTo>
                    <a:lnTo>
                      <a:pt x="42" y="0"/>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grpSp>
          <p:nvGrpSpPr>
            <p:cNvPr id="597" name="Group 596"/>
            <p:cNvGrpSpPr/>
            <p:nvPr/>
          </p:nvGrpSpPr>
          <p:grpSpPr>
            <a:xfrm>
              <a:off x="3771084" y="4714827"/>
              <a:ext cx="283844" cy="280079"/>
              <a:chOff x="4078656" y="4246460"/>
              <a:chExt cx="250494" cy="247172"/>
            </a:xfrm>
          </p:grpSpPr>
          <p:sp>
            <p:nvSpPr>
              <p:cNvPr id="634" name="Freeform 633"/>
              <p:cNvSpPr>
                <a:spLocks/>
              </p:cNvSpPr>
              <p:nvPr/>
            </p:nvSpPr>
            <p:spPr bwMode="auto">
              <a:xfrm>
                <a:off x="4236543" y="4371534"/>
                <a:ext cx="25809" cy="43181"/>
              </a:xfrm>
              <a:custGeom>
                <a:avLst/>
                <a:gdLst>
                  <a:gd name="T0" fmla="*/ 32 w 65"/>
                  <a:gd name="T1" fmla="*/ 0 h 116"/>
                  <a:gd name="T2" fmla="*/ 32 w 65"/>
                  <a:gd name="T3" fmla="*/ 0 h 116"/>
                  <a:gd name="T4" fmla="*/ 23 w 65"/>
                  <a:gd name="T5" fmla="*/ 1 h 116"/>
                  <a:gd name="T6" fmla="*/ 16 w 65"/>
                  <a:gd name="T7" fmla="*/ 5 h 116"/>
                  <a:gd name="T8" fmla="*/ 11 w 65"/>
                  <a:gd name="T9" fmla="*/ 11 h 116"/>
                  <a:gd name="T10" fmla="*/ 7 w 65"/>
                  <a:gd name="T11" fmla="*/ 18 h 116"/>
                  <a:gd name="T12" fmla="*/ 3 w 65"/>
                  <a:gd name="T13" fmla="*/ 27 h 116"/>
                  <a:gd name="T14" fmla="*/ 1 w 65"/>
                  <a:gd name="T15" fmla="*/ 36 h 116"/>
                  <a:gd name="T16" fmla="*/ 0 w 65"/>
                  <a:gd name="T17" fmla="*/ 47 h 116"/>
                  <a:gd name="T18" fmla="*/ 0 w 65"/>
                  <a:gd name="T19" fmla="*/ 59 h 116"/>
                  <a:gd name="T20" fmla="*/ 0 w 65"/>
                  <a:gd name="T21" fmla="*/ 59 h 116"/>
                  <a:gd name="T22" fmla="*/ 1 w 65"/>
                  <a:gd name="T23" fmla="*/ 71 h 116"/>
                  <a:gd name="T24" fmla="*/ 2 w 65"/>
                  <a:gd name="T25" fmla="*/ 83 h 116"/>
                  <a:gd name="T26" fmla="*/ 6 w 65"/>
                  <a:gd name="T27" fmla="*/ 93 h 116"/>
                  <a:gd name="T28" fmla="*/ 10 w 65"/>
                  <a:gd name="T29" fmla="*/ 100 h 116"/>
                  <a:gd name="T30" fmla="*/ 14 w 65"/>
                  <a:gd name="T31" fmla="*/ 108 h 116"/>
                  <a:gd name="T32" fmla="*/ 21 w 65"/>
                  <a:gd name="T33" fmla="*/ 112 h 116"/>
                  <a:gd name="T34" fmla="*/ 27 w 65"/>
                  <a:gd name="T35" fmla="*/ 115 h 116"/>
                  <a:gd name="T36" fmla="*/ 35 w 65"/>
                  <a:gd name="T37" fmla="*/ 116 h 116"/>
                  <a:gd name="T38" fmla="*/ 35 w 65"/>
                  <a:gd name="T39" fmla="*/ 116 h 116"/>
                  <a:gd name="T40" fmla="*/ 42 w 65"/>
                  <a:gd name="T41" fmla="*/ 115 h 116"/>
                  <a:gd name="T42" fmla="*/ 49 w 65"/>
                  <a:gd name="T43" fmla="*/ 112 h 116"/>
                  <a:gd name="T44" fmla="*/ 54 w 65"/>
                  <a:gd name="T45" fmla="*/ 107 h 116"/>
                  <a:gd name="T46" fmla="*/ 59 w 65"/>
                  <a:gd name="T47" fmla="*/ 100 h 116"/>
                  <a:gd name="T48" fmla="*/ 62 w 65"/>
                  <a:gd name="T49" fmla="*/ 92 h 116"/>
                  <a:gd name="T50" fmla="*/ 64 w 65"/>
                  <a:gd name="T51" fmla="*/ 82 h 116"/>
                  <a:gd name="T52" fmla="*/ 65 w 65"/>
                  <a:gd name="T53" fmla="*/ 70 h 116"/>
                  <a:gd name="T54" fmla="*/ 65 w 65"/>
                  <a:gd name="T55" fmla="*/ 57 h 116"/>
                  <a:gd name="T56" fmla="*/ 65 w 65"/>
                  <a:gd name="T57" fmla="*/ 57 h 116"/>
                  <a:gd name="T58" fmla="*/ 64 w 65"/>
                  <a:gd name="T59" fmla="*/ 45 h 116"/>
                  <a:gd name="T60" fmla="*/ 63 w 65"/>
                  <a:gd name="T61" fmla="*/ 34 h 116"/>
                  <a:gd name="T62" fmla="*/ 60 w 65"/>
                  <a:gd name="T63" fmla="*/ 25 h 116"/>
                  <a:gd name="T64" fmla="*/ 56 w 65"/>
                  <a:gd name="T65" fmla="*/ 16 h 116"/>
                  <a:gd name="T66" fmla="*/ 52 w 65"/>
                  <a:gd name="T67" fmla="*/ 9 h 116"/>
                  <a:gd name="T68" fmla="*/ 46 w 65"/>
                  <a:gd name="T69" fmla="*/ 4 h 116"/>
                  <a:gd name="T70" fmla="*/ 39 w 65"/>
                  <a:gd name="T71" fmla="*/ 1 h 116"/>
                  <a:gd name="T72" fmla="*/ 32 w 65"/>
                  <a:gd name="T73" fmla="*/ 0 h 116"/>
                  <a:gd name="T74" fmla="*/ 32 w 65"/>
                  <a:gd name="T7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5" h="116">
                    <a:moveTo>
                      <a:pt x="32" y="0"/>
                    </a:moveTo>
                    <a:lnTo>
                      <a:pt x="32" y="0"/>
                    </a:lnTo>
                    <a:lnTo>
                      <a:pt x="23" y="1"/>
                    </a:lnTo>
                    <a:lnTo>
                      <a:pt x="16" y="5"/>
                    </a:lnTo>
                    <a:lnTo>
                      <a:pt x="11" y="11"/>
                    </a:lnTo>
                    <a:lnTo>
                      <a:pt x="7" y="18"/>
                    </a:lnTo>
                    <a:lnTo>
                      <a:pt x="3" y="27"/>
                    </a:lnTo>
                    <a:lnTo>
                      <a:pt x="1" y="36"/>
                    </a:lnTo>
                    <a:lnTo>
                      <a:pt x="0" y="47"/>
                    </a:lnTo>
                    <a:lnTo>
                      <a:pt x="0" y="59"/>
                    </a:lnTo>
                    <a:lnTo>
                      <a:pt x="0" y="59"/>
                    </a:lnTo>
                    <a:lnTo>
                      <a:pt x="1" y="71"/>
                    </a:lnTo>
                    <a:lnTo>
                      <a:pt x="2" y="83"/>
                    </a:lnTo>
                    <a:lnTo>
                      <a:pt x="6" y="93"/>
                    </a:lnTo>
                    <a:lnTo>
                      <a:pt x="10" y="100"/>
                    </a:lnTo>
                    <a:lnTo>
                      <a:pt x="14" y="108"/>
                    </a:lnTo>
                    <a:lnTo>
                      <a:pt x="21" y="112"/>
                    </a:lnTo>
                    <a:lnTo>
                      <a:pt x="27" y="115"/>
                    </a:lnTo>
                    <a:lnTo>
                      <a:pt x="35" y="116"/>
                    </a:lnTo>
                    <a:lnTo>
                      <a:pt x="35" y="116"/>
                    </a:lnTo>
                    <a:lnTo>
                      <a:pt x="42" y="115"/>
                    </a:lnTo>
                    <a:lnTo>
                      <a:pt x="49" y="112"/>
                    </a:lnTo>
                    <a:lnTo>
                      <a:pt x="54" y="107"/>
                    </a:lnTo>
                    <a:lnTo>
                      <a:pt x="59" y="100"/>
                    </a:lnTo>
                    <a:lnTo>
                      <a:pt x="62" y="92"/>
                    </a:lnTo>
                    <a:lnTo>
                      <a:pt x="64" y="82"/>
                    </a:lnTo>
                    <a:lnTo>
                      <a:pt x="65" y="70"/>
                    </a:lnTo>
                    <a:lnTo>
                      <a:pt x="65" y="57"/>
                    </a:lnTo>
                    <a:lnTo>
                      <a:pt x="65" y="57"/>
                    </a:lnTo>
                    <a:lnTo>
                      <a:pt x="64" y="45"/>
                    </a:lnTo>
                    <a:lnTo>
                      <a:pt x="63" y="34"/>
                    </a:lnTo>
                    <a:lnTo>
                      <a:pt x="60" y="25"/>
                    </a:lnTo>
                    <a:lnTo>
                      <a:pt x="56" y="16"/>
                    </a:lnTo>
                    <a:lnTo>
                      <a:pt x="52" y="9"/>
                    </a:lnTo>
                    <a:lnTo>
                      <a:pt x="46" y="4"/>
                    </a:lnTo>
                    <a:lnTo>
                      <a:pt x="39" y="1"/>
                    </a:lnTo>
                    <a:lnTo>
                      <a:pt x="32" y="0"/>
                    </a:lnTo>
                    <a:lnTo>
                      <a:pt x="32" y="0"/>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35" name="Freeform 634"/>
              <p:cNvSpPr>
                <a:spLocks/>
              </p:cNvSpPr>
              <p:nvPr/>
            </p:nvSpPr>
            <p:spPr bwMode="auto">
              <a:xfrm>
                <a:off x="4146973" y="4325377"/>
                <a:ext cx="24290" cy="43181"/>
              </a:xfrm>
              <a:custGeom>
                <a:avLst/>
                <a:gdLst>
                  <a:gd name="T0" fmla="*/ 30 w 64"/>
                  <a:gd name="T1" fmla="*/ 0 h 117"/>
                  <a:gd name="T2" fmla="*/ 30 w 64"/>
                  <a:gd name="T3" fmla="*/ 0 h 117"/>
                  <a:gd name="T4" fmla="*/ 22 w 64"/>
                  <a:gd name="T5" fmla="*/ 1 h 117"/>
                  <a:gd name="T6" fmla="*/ 16 w 64"/>
                  <a:gd name="T7" fmla="*/ 6 h 117"/>
                  <a:gd name="T8" fmla="*/ 10 w 64"/>
                  <a:gd name="T9" fmla="*/ 11 h 117"/>
                  <a:gd name="T10" fmla="*/ 6 w 64"/>
                  <a:gd name="T11" fmla="*/ 19 h 117"/>
                  <a:gd name="T12" fmla="*/ 3 w 64"/>
                  <a:gd name="T13" fmla="*/ 27 h 117"/>
                  <a:gd name="T14" fmla="*/ 1 w 64"/>
                  <a:gd name="T15" fmla="*/ 37 h 117"/>
                  <a:gd name="T16" fmla="*/ 0 w 64"/>
                  <a:gd name="T17" fmla="*/ 48 h 117"/>
                  <a:gd name="T18" fmla="*/ 0 w 64"/>
                  <a:gd name="T19" fmla="*/ 60 h 117"/>
                  <a:gd name="T20" fmla="*/ 0 w 64"/>
                  <a:gd name="T21" fmla="*/ 60 h 117"/>
                  <a:gd name="T22" fmla="*/ 1 w 64"/>
                  <a:gd name="T23" fmla="*/ 72 h 117"/>
                  <a:gd name="T24" fmla="*/ 3 w 64"/>
                  <a:gd name="T25" fmla="*/ 84 h 117"/>
                  <a:gd name="T26" fmla="*/ 5 w 64"/>
                  <a:gd name="T27" fmla="*/ 93 h 117"/>
                  <a:gd name="T28" fmla="*/ 9 w 64"/>
                  <a:gd name="T29" fmla="*/ 101 h 117"/>
                  <a:gd name="T30" fmla="*/ 15 w 64"/>
                  <a:gd name="T31" fmla="*/ 108 h 117"/>
                  <a:gd name="T32" fmla="*/ 20 w 64"/>
                  <a:gd name="T33" fmla="*/ 113 h 117"/>
                  <a:gd name="T34" fmla="*/ 27 w 64"/>
                  <a:gd name="T35" fmla="*/ 116 h 117"/>
                  <a:gd name="T36" fmla="*/ 34 w 64"/>
                  <a:gd name="T37" fmla="*/ 117 h 117"/>
                  <a:gd name="T38" fmla="*/ 34 w 64"/>
                  <a:gd name="T39" fmla="*/ 117 h 117"/>
                  <a:gd name="T40" fmla="*/ 42 w 64"/>
                  <a:gd name="T41" fmla="*/ 116 h 117"/>
                  <a:gd name="T42" fmla="*/ 48 w 64"/>
                  <a:gd name="T43" fmla="*/ 113 h 117"/>
                  <a:gd name="T44" fmla="*/ 54 w 64"/>
                  <a:gd name="T45" fmla="*/ 107 h 117"/>
                  <a:gd name="T46" fmla="*/ 58 w 64"/>
                  <a:gd name="T47" fmla="*/ 101 h 117"/>
                  <a:gd name="T48" fmla="*/ 61 w 64"/>
                  <a:gd name="T49" fmla="*/ 92 h 117"/>
                  <a:gd name="T50" fmla="*/ 63 w 64"/>
                  <a:gd name="T51" fmla="*/ 82 h 117"/>
                  <a:gd name="T52" fmla="*/ 64 w 64"/>
                  <a:gd name="T53" fmla="*/ 71 h 117"/>
                  <a:gd name="T54" fmla="*/ 64 w 64"/>
                  <a:gd name="T55" fmla="*/ 58 h 117"/>
                  <a:gd name="T56" fmla="*/ 64 w 64"/>
                  <a:gd name="T57" fmla="*/ 58 h 117"/>
                  <a:gd name="T58" fmla="*/ 63 w 64"/>
                  <a:gd name="T59" fmla="*/ 46 h 117"/>
                  <a:gd name="T60" fmla="*/ 62 w 64"/>
                  <a:gd name="T61" fmla="*/ 35 h 117"/>
                  <a:gd name="T62" fmla="*/ 59 w 64"/>
                  <a:gd name="T63" fmla="*/ 25 h 117"/>
                  <a:gd name="T64" fmla="*/ 56 w 64"/>
                  <a:gd name="T65" fmla="*/ 17 h 117"/>
                  <a:gd name="T66" fmla="*/ 51 w 64"/>
                  <a:gd name="T67" fmla="*/ 9 h 117"/>
                  <a:gd name="T68" fmla="*/ 45 w 64"/>
                  <a:gd name="T69" fmla="*/ 5 h 117"/>
                  <a:gd name="T70" fmla="*/ 38 w 64"/>
                  <a:gd name="T71" fmla="*/ 1 h 117"/>
                  <a:gd name="T72" fmla="*/ 30 w 64"/>
                  <a:gd name="T73" fmla="*/ 0 h 117"/>
                  <a:gd name="T74" fmla="*/ 30 w 64"/>
                  <a:gd name="T7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117">
                    <a:moveTo>
                      <a:pt x="30" y="0"/>
                    </a:moveTo>
                    <a:lnTo>
                      <a:pt x="30" y="0"/>
                    </a:lnTo>
                    <a:lnTo>
                      <a:pt x="22" y="1"/>
                    </a:lnTo>
                    <a:lnTo>
                      <a:pt x="16" y="6"/>
                    </a:lnTo>
                    <a:lnTo>
                      <a:pt x="10" y="11"/>
                    </a:lnTo>
                    <a:lnTo>
                      <a:pt x="6" y="19"/>
                    </a:lnTo>
                    <a:lnTo>
                      <a:pt x="3" y="27"/>
                    </a:lnTo>
                    <a:lnTo>
                      <a:pt x="1" y="37"/>
                    </a:lnTo>
                    <a:lnTo>
                      <a:pt x="0" y="48"/>
                    </a:lnTo>
                    <a:lnTo>
                      <a:pt x="0" y="60"/>
                    </a:lnTo>
                    <a:lnTo>
                      <a:pt x="0" y="60"/>
                    </a:lnTo>
                    <a:lnTo>
                      <a:pt x="1" y="72"/>
                    </a:lnTo>
                    <a:lnTo>
                      <a:pt x="3" y="84"/>
                    </a:lnTo>
                    <a:lnTo>
                      <a:pt x="5" y="93"/>
                    </a:lnTo>
                    <a:lnTo>
                      <a:pt x="9" y="101"/>
                    </a:lnTo>
                    <a:lnTo>
                      <a:pt x="15" y="108"/>
                    </a:lnTo>
                    <a:lnTo>
                      <a:pt x="20" y="113"/>
                    </a:lnTo>
                    <a:lnTo>
                      <a:pt x="27" y="116"/>
                    </a:lnTo>
                    <a:lnTo>
                      <a:pt x="34" y="117"/>
                    </a:lnTo>
                    <a:lnTo>
                      <a:pt x="34" y="117"/>
                    </a:lnTo>
                    <a:lnTo>
                      <a:pt x="42" y="116"/>
                    </a:lnTo>
                    <a:lnTo>
                      <a:pt x="48" y="113"/>
                    </a:lnTo>
                    <a:lnTo>
                      <a:pt x="54" y="107"/>
                    </a:lnTo>
                    <a:lnTo>
                      <a:pt x="58" y="101"/>
                    </a:lnTo>
                    <a:lnTo>
                      <a:pt x="61" y="92"/>
                    </a:lnTo>
                    <a:lnTo>
                      <a:pt x="63" y="82"/>
                    </a:lnTo>
                    <a:lnTo>
                      <a:pt x="64" y="71"/>
                    </a:lnTo>
                    <a:lnTo>
                      <a:pt x="64" y="58"/>
                    </a:lnTo>
                    <a:lnTo>
                      <a:pt x="64" y="58"/>
                    </a:lnTo>
                    <a:lnTo>
                      <a:pt x="63" y="46"/>
                    </a:lnTo>
                    <a:lnTo>
                      <a:pt x="62" y="35"/>
                    </a:lnTo>
                    <a:lnTo>
                      <a:pt x="59" y="25"/>
                    </a:lnTo>
                    <a:lnTo>
                      <a:pt x="56" y="17"/>
                    </a:lnTo>
                    <a:lnTo>
                      <a:pt x="51" y="9"/>
                    </a:lnTo>
                    <a:lnTo>
                      <a:pt x="45" y="5"/>
                    </a:lnTo>
                    <a:lnTo>
                      <a:pt x="38" y="1"/>
                    </a:lnTo>
                    <a:lnTo>
                      <a:pt x="30" y="0"/>
                    </a:lnTo>
                    <a:lnTo>
                      <a:pt x="30" y="0"/>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36" name="Freeform 635"/>
              <p:cNvSpPr>
                <a:spLocks noEditPoints="1"/>
              </p:cNvSpPr>
              <p:nvPr/>
            </p:nvSpPr>
            <p:spPr bwMode="auto">
              <a:xfrm>
                <a:off x="4078656" y="4246460"/>
                <a:ext cx="250494" cy="247172"/>
              </a:xfrm>
              <a:custGeom>
                <a:avLst/>
                <a:gdLst>
                  <a:gd name="T0" fmla="*/ 635 w 662"/>
                  <a:gd name="T1" fmla="*/ 204 h 663"/>
                  <a:gd name="T2" fmla="*/ 609 w 662"/>
                  <a:gd name="T3" fmla="*/ 167 h 663"/>
                  <a:gd name="T4" fmla="*/ 552 w 662"/>
                  <a:gd name="T5" fmla="*/ 84 h 663"/>
                  <a:gd name="T6" fmla="*/ 474 w 662"/>
                  <a:gd name="T7" fmla="*/ 67 h 663"/>
                  <a:gd name="T8" fmla="*/ 433 w 662"/>
                  <a:gd name="T9" fmla="*/ 15 h 663"/>
                  <a:gd name="T10" fmla="*/ 403 w 662"/>
                  <a:gd name="T11" fmla="*/ 11 h 663"/>
                  <a:gd name="T12" fmla="*/ 306 w 662"/>
                  <a:gd name="T13" fmla="*/ 1 h 663"/>
                  <a:gd name="T14" fmla="*/ 267 w 662"/>
                  <a:gd name="T15" fmla="*/ 9 h 663"/>
                  <a:gd name="T16" fmla="*/ 178 w 662"/>
                  <a:gd name="T17" fmla="*/ 39 h 663"/>
                  <a:gd name="T18" fmla="*/ 144 w 662"/>
                  <a:gd name="T19" fmla="*/ 57 h 663"/>
                  <a:gd name="T20" fmla="*/ 74 w 662"/>
                  <a:gd name="T21" fmla="*/ 125 h 663"/>
                  <a:gd name="T22" fmla="*/ 48 w 662"/>
                  <a:gd name="T23" fmla="*/ 162 h 663"/>
                  <a:gd name="T24" fmla="*/ 7 w 662"/>
                  <a:gd name="T25" fmla="*/ 254 h 663"/>
                  <a:gd name="T26" fmla="*/ 7 w 662"/>
                  <a:gd name="T27" fmla="*/ 299 h 663"/>
                  <a:gd name="T28" fmla="*/ 3 w 662"/>
                  <a:gd name="T29" fmla="*/ 398 h 663"/>
                  <a:gd name="T30" fmla="*/ 55 w 662"/>
                  <a:gd name="T31" fmla="*/ 459 h 663"/>
                  <a:gd name="T32" fmla="*/ 63 w 662"/>
                  <a:gd name="T33" fmla="*/ 532 h 663"/>
                  <a:gd name="T34" fmla="*/ 147 w 662"/>
                  <a:gd name="T35" fmla="*/ 599 h 663"/>
                  <a:gd name="T36" fmla="*/ 171 w 662"/>
                  <a:gd name="T37" fmla="*/ 624 h 663"/>
                  <a:gd name="T38" fmla="*/ 241 w 662"/>
                  <a:gd name="T39" fmla="*/ 620 h 663"/>
                  <a:gd name="T40" fmla="*/ 306 w 662"/>
                  <a:gd name="T41" fmla="*/ 663 h 663"/>
                  <a:gd name="T42" fmla="*/ 366 w 662"/>
                  <a:gd name="T43" fmla="*/ 631 h 663"/>
                  <a:gd name="T44" fmla="*/ 430 w 662"/>
                  <a:gd name="T45" fmla="*/ 648 h 663"/>
                  <a:gd name="T46" fmla="*/ 459 w 662"/>
                  <a:gd name="T47" fmla="*/ 631 h 663"/>
                  <a:gd name="T48" fmla="*/ 543 w 662"/>
                  <a:gd name="T49" fmla="*/ 583 h 663"/>
                  <a:gd name="T50" fmla="*/ 572 w 662"/>
                  <a:gd name="T51" fmla="*/ 546 h 663"/>
                  <a:gd name="T52" fmla="*/ 632 w 662"/>
                  <a:gd name="T53" fmla="*/ 468 h 663"/>
                  <a:gd name="T54" fmla="*/ 626 w 662"/>
                  <a:gd name="T55" fmla="*/ 388 h 663"/>
                  <a:gd name="T56" fmla="*/ 662 w 662"/>
                  <a:gd name="T57" fmla="*/ 324 h 663"/>
                  <a:gd name="T58" fmla="*/ 124 w 662"/>
                  <a:gd name="T59" fmla="*/ 272 h 663"/>
                  <a:gd name="T60" fmla="*/ 132 w 662"/>
                  <a:gd name="T61" fmla="*/ 222 h 663"/>
                  <a:gd name="T62" fmla="*/ 167 w 662"/>
                  <a:gd name="T63" fmla="*/ 180 h 663"/>
                  <a:gd name="T64" fmla="*/ 212 w 662"/>
                  <a:gd name="T65" fmla="*/ 167 h 663"/>
                  <a:gd name="T66" fmla="*/ 264 w 662"/>
                  <a:gd name="T67" fmla="*/ 181 h 663"/>
                  <a:gd name="T68" fmla="*/ 295 w 662"/>
                  <a:gd name="T69" fmla="*/ 222 h 663"/>
                  <a:gd name="T70" fmla="*/ 302 w 662"/>
                  <a:gd name="T71" fmla="*/ 272 h 663"/>
                  <a:gd name="T72" fmla="*/ 283 w 662"/>
                  <a:gd name="T73" fmla="*/ 330 h 663"/>
                  <a:gd name="T74" fmla="*/ 241 w 662"/>
                  <a:gd name="T75" fmla="*/ 362 h 663"/>
                  <a:gd name="T76" fmla="*/ 198 w 662"/>
                  <a:gd name="T77" fmla="*/ 365 h 663"/>
                  <a:gd name="T78" fmla="*/ 153 w 662"/>
                  <a:gd name="T79" fmla="*/ 342 h 663"/>
                  <a:gd name="T80" fmla="*/ 127 w 662"/>
                  <a:gd name="T81" fmla="*/ 294 h 663"/>
                  <a:gd name="T82" fmla="*/ 399 w 662"/>
                  <a:gd name="T83" fmla="*/ 161 h 663"/>
                  <a:gd name="T84" fmla="*/ 435 w 662"/>
                  <a:gd name="T85" fmla="*/ 491 h 663"/>
                  <a:gd name="T86" fmla="*/ 390 w 662"/>
                  <a:gd name="T87" fmla="*/ 469 h 663"/>
                  <a:gd name="T88" fmla="*/ 364 w 662"/>
                  <a:gd name="T89" fmla="*/ 420 h 663"/>
                  <a:gd name="T90" fmla="*/ 364 w 662"/>
                  <a:gd name="T91" fmla="*/ 367 h 663"/>
                  <a:gd name="T92" fmla="*/ 390 w 662"/>
                  <a:gd name="T93" fmla="*/ 319 h 663"/>
                  <a:gd name="T94" fmla="*/ 439 w 662"/>
                  <a:gd name="T95" fmla="*/ 295 h 663"/>
                  <a:gd name="T96" fmla="*/ 486 w 662"/>
                  <a:gd name="T97" fmla="*/ 299 h 663"/>
                  <a:gd name="T98" fmla="*/ 524 w 662"/>
                  <a:gd name="T99" fmla="*/ 333 h 663"/>
                  <a:gd name="T100" fmla="*/ 539 w 662"/>
                  <a:gd name="T101" fmla="*/ 387 h 663"/>
                  <a:gd name="T102" fmla="*/ 529 w 662"/>
                  <a:gd name="T103" fmla="*/ 441 h 663"/>
                  <a:gd name="T104" fmla="*/ 494 w 662"/>
                  <a:gd name="T105" fmla="*/ 481 h 663"/>
                  <a:gd name="T106" fmla="*/ 453 w 662"/>
                  <a:gd name="T107" fmla="*/ 492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2" h="663">
                    <a:moveTo>
                      <a:pt x="651" y="295"/>
                    </a:moveTo>
                    <a:lnTo>
                      <a:pt x="622" y="262"/>
                    </a:lnTo>
                    <a:lnTo>
                      <a:pt x="634" y="220"/>
                    </a:lnTo>
                    <a:lnTo>
                      <a:pt x="634" y="220"/>
                    </a:lnTo>
                    <a:lnTo>
                      <a:pt x="635" y="213"/>
                    </a:lnTo>
                    <a:lnTo>
                      <a:pt x="635" y="204"/>
                    </a:lnTo>
                    <a:lnTo>
                      <a:pt x="633" y="196"/>
                    </a:lnTo>
                    <a:lnTo>
                      <a:pt x="631" y="189"/>
                    </a:lnTo>
                    <a:lnTo>
                      <a:pt x="627" y="182"/>
                    </a:lnTo>
                    <a:lnTo>
                      <a:pt x="622" y="176"/>
                    </a:lnTo>
                    <a:lnTo>
                      <a:pt x="616" y="172"/>
                    </a:lnTo>
                    <a:lnTo>
                      <a:pt x="609" y="167"/>
                    </a:lnTo>
                    <a:lnTo>
                      <a:pt x="569" y="149"/>
                    </a:lnTo>
                    <a:lnTo>
                      <a:pt x="563" y="106"/>
                    </a:lnTo>
                    <a:lnTo>
                      <a:pt x="563" y="106"/>
                    </a:lnTo>
                    <a:lnTo>
                      <a:pt x="561" y="98"/>
                    </a:lnTo>
                    <a:lnTo>
                      <a:pt x="558" y="91"/>
                    </a:lnTo>
                    <a:lnTo>
                      <a:pt x="552" y="84"/>
                    </a:lnTo>
                    <a:lnTo>
                      <a:pt x="547" y="79"/>
                    </a:lnTo>
                    <a:lnTo>
                      <a:pt x="541" y="74"/>
                    </a:lnTo>
                    <a:lnTo>
                      <a:pt x="534" y="70"/>
                    </a:lnTo>
                    <a:lnTo>
                      <a:pt x="526" y="68"/>
                    </a:lnTo>
                    <a:lnTo>
                      <a:pt x="519" y="68"/>
                    </a:lnTo>
                    <a:lnTo>
                      <a:pt x="474" y="67"/>
                    </a:lnTo>
                    <a:lnTo>
                      <a:pt x="451" y="30"/>
                    </a:lnTo>
                    <a:lnTo>
                      <a:pt x="451" y="30"/>
                    </a:lnTo>
                    <a:lnTo>
                      <a:pt x="447" y="26"/>
                    </a:lnTo>
                    <a:lnTo>
                      <a:pt x="443" y="22"/>
                    </a:lnTo>
                    <a:lnTo>
                      <a:pt x="439" y="18"/>
                    </a:lnTo>
                    <a:lnTo>
                      <a:pt x="433" y="15"/>
                    </a:lnTo>
                    <a:lnTo>
                      <a:pt x="428" y="13"/>
                    </a:lnTo>
                    <a:lnTo>
                      <a:pt x="423" y="11"/>
                    </a:lnTo>
                    <a:lnTo>
                      <a:pt x="417" y="10"/>
                    </a:lnTo>
                    <a:lnTo>
                      <a:pt x="411" y="10"/>
                    </a:lnTo>
                    <a:lnTo>
                      <a:pt x="411" y="10"/>
                    </a:lnTo>
                    <a:lnTo>
                      <a:pt x="403" y="11"/>
                    </a:lnTo>
                    <a:lnTo>
                      <a:pt x="394" y="13"/>
                    </a:lnTo>
                    <a:lnTo>
                      <a:pt x="354" y="30"/>
                    </a:lnTo>
                    <a:lnTo>
                      <a:pt x="318" y="6"/>
                    </a:lnTo>
                    <a:lnTo>
                      <a:pt x="318" y="6"/>
                    </a:lnTo>
                    <a:lnTo>
                      <a:pt x="312" y="3"/>
                    </a:lnTo>
                    <a:lnTo>
                      <a:pt x="306" y="1"/>
                    </a:lnTo>
                    <a:lnTo>
                      <a:pt x="298" y="0"/>
                    </a:lnTo>
                    <a:lnTo>
                      <a:pt x="292" y="0"/>
                    </a:lnTo>
                    <a:lnTo>
                      <a:pt x="292" y="0"/>
                    </a:lnTo>
                    <a:lnTo>
                      <a:pt x="283" y="1"/>
                    </a:lnTo>
                    <a:lnTo>
                      <a:pt x="275" y="3"/>
                    </a:lnTo>
                    <a:lnTo>
                      <a:pt x="267" y="9"/>
                    </a:lnTo>
                    <a:lnTo>
                      <a:pt x="259" y="14"/>
                    </a:lnTo>
                    <a:lnTo>
                      <a:pt x="230" y="45"/>
                    </a:lnTo>
                    <a:lnTo>
                      <a:pt x="187" y="39"/>
                    </a:lnTo>
                    <a:lnTo>
                      <a:pt x="187" y="39"/>
                    </a:lnTo>
                    <a:lnTo>
                      <a:pt x="178" y="39"/>
                    </a:lnTo>
                    <a:lnTo>
                      <a:pt x="178" y="39"/>
                    </a:lnTo>
                    <a:lnTo>
                      <a:pt x="172" y="40"/>
                    </a:lnTo>
                    <a:lnTo>
                      <a:pt x="165" y="41"/>
                    </a:lnTo>
                    <a:lnTo>
                      <a:pt x="159" y="44"/>
                    </a:lnTo>
                    <a:lnTo>
                      <a:pt x="153" y="47"/>
                    </a:lnTo>
                    <a:lnTo>
                      <a:pt x="148" y="52"/>
                    </a:lnTo>
                    <a:lnTo>
                      <a:pt x="144" y="57"/>
                    </a:lnTo>
                    <a:lnTo>
                      <a:pt x="140" y="64"/>
                    </a:lnTo>
                    <a:lnTo>
                      <a:pt x="137" y="70"/>
                    </a:lnTo>
                    <a:lnTo>
                      <a:pt x="122" y="111"/>
                    </a:lnTo>
                    <a:lnTo>
                      <a:pt x="81" y="122"/>
                    </a:lnTo>
                    <a:lnTo>
                      <a:pt x="81" y="122"/>
                    </a:lnTo>
                    <a:lnTo>
                      <a:pt x="74" y="125"/>
                    </a:lnTo>
                    <a:lnTo>
                      <a:pt x="66" y="130"/>
                    </a:lnTo>
                    <a:lnTo>
                      <a:pt x="61" y="134"/>
                    </a:lnTo>
                    <a:lnTo>
                      <a:pt x="55" y="140"/>
                    </a:lnTo>
                    <a:lnTo>
                      <a:pt x="51" y="147"/>
                    </a:lnTo>
                    <a:lnTo>
                      <a:pt x="49" y="154"/>
                    </a:lnTo>
                    <a:lnTo>
                      <a:pt x="48" y="162"/>
                    </a:lnTo>
                    <a:lnTo>
                      <a:pt x="48" y="171"/>
                    </a:lnTo>
                    <a:lnTo>
                      <a:pt x="51" y="214"/>
                    </a:lnTo>
                    <a:lnTo>
                      <a:pt x="18" y="241"/>
                    </a:lnTo>
                    <a:lnTo>
                      <a:pt x="18" y="241"/>
                    </a:lnTo>
                    <a:lnTo>
                      <a:pt x="11" y="247"/>
                    </a:lnTo>
                    <a:lnTo>
                      <a:pt x="7" y="254"/>
                    </a:lnTo>
                    <a:lnTo>
                      <a:pt x="3" y="260"/>
                    </a:lnTo>
                    <a:lnTo>
                      <a:pt x="1" y="268"/>
                    </a:lnTo>
                    <a:lnTo>
                      <a:pt x="0" y="275"/>
                    </a:lnTo>
                    <a:lnTo>
                      <a:pt x="1" y="284"/>
                    </a:lnTo>
                    <a:lnTo>
                      <a:pt x="3" y="292"/>
                    </a:lnTo>
                    <a:lnTo>
                      <a:pt x="7" y="299"/>
                    </a:lnTo>
                    <a:lnTo>
                      <a:pt x="27" y="337"/>
                    </a:lnTo>
                    <a:lnTo>
                      <a:pt x="8" y="376"/>
                    </a:lnTo>
                    <a:lnTo>
                      <a:pt x="8" y="376"/>
                    </a:lnTo>
                    <a:lnTo>
                      <a:pt x="5" y="383"/>
                    </a:lnTo>
                    <a:lnTo>
                      <a:pt x="3" y="391"/>
                    </a:lnTo>
                    <a:lnTo>
                      <a:pt x="3" y="398"/>
                    </a:lnTo>
                    <a:lnTo>
                      <a:pt x="5" y="407"/>
                    </a:lnTo>
                    <a:lnTo>
                      <a:pt x="7" y="414"/>
                    </a:lnTo>
                    <a:lnTo>
                      <a:pt x="10" y="421"/>
                    </a:lnTo>
                    <a:lnTo>
                      <a:pt x="15" y="428"/>
                    </a:lnTo>
                    <a:lnTo>
                      <a:pt x="21" y="433"/>
                    </a:lnTo>
                    <a:lnTo>
                      <a:pt x="55" y="459"/>
                    </a:lnTo>
                    <a:lnTo>
                      <a:pt x="54" y="502"/>
                    </a:lnTo>
                    <a:lnTo>
                      <a:pt x="54" y="502"/>
                    </a:lnTo>
                    <a:lnTo>
                      <a:pt x="54" y="511"/>
                    </a:lnTo>
                    <a:lnTo>
                      <a:pt x="55" y="518"/>
                    </a:lnTo>
                    <a:lnTo>
                      <a:pt x="59" y="526"/>
                    </a:lnTo>
                    <a:lnTo>
                      <a:pt x="63" y="532"/>
                    </a:lnTo>
                    <a:lnTo>
                      <a:pt x="68" y="538"/>
                    </a:lnTo>
                    <a:lnTo>
                      <a:pt x="75" y="543"/>
                    </a:lnTo>
                    <a:lnTo>
                      <a:pt x="81" y="546"/>
                    </a:lnTo>
                    <a:lnTo>
                      <a:pt x="89" y="550"/>
                    </a:lnTo>
                    <a:lnTo>
                      <a:pt x="131" y="559"/>
                    </a:lnTo>
                    <a:lnTo>
                      <a:pt x="147" y="599"/>
                    </a:lnTo>
                    <a:lnTo>
                      <a:pt x="147" y="599"/>
                    </a:lnTo>
                    <a:lnTo>
                      <a:pt x="150" y="606"/>
                    </a:lnTo>
                    <a:lnTo>
                      <a:pt x="155" y="612"/>
                    </a:lnTo>
                    <a:lnTo>
                      <a:pt x="159" y="617"/>
                    </a:lnTo>
                    <a:lnTo>
                      <a:pt x="164" y="621"/>
                    </a:lnTo>
                    <a:lnTo>
                      <a:pt x="171" y="624"/>
                    </a:lnTo>
                    <a:lnTo>
                      <a:pt x="177" y="627"/>
                    </a:lnTo>
                    <a:lnTo>
                      <a:pt x="185" y="628"/>
                    </a:lnTo>
                    <a:lnTo>
                      <a:pt x="191" y="628"/>
                    </a:lnTo>
                    <a:lnTo>
                      <a:pt x="191" y="628"/>
                    </a:lnTo>
                    <a:lnTo>
                      <a:pt x="199" y="627"/>
                    </a:lnTo>
                    <a:lnTo>
                      <a:pt x="241" y="620"/>
                    </a:lnTo>
                    <a:lnTo>
                      <a:pt x="272" y="650"/>
                    </a:lnTo>
                    <a:lnTo>
                      <a:pt x="272" y="650"/>
                    </a:lnTo>
                    <a:lnTo>
                      <a:pt x="280" y="655"/>
                    </a:lnTo>
                    <a:lnTo>
                      <a:pt x="288" y="660"/>
                    </a:lnTo>
                    <a:lnTo>
                      <a:pt x="297" y="663"/>
                    </a:lnTo>
                    <a:lnTo>
                      <a:pt x="306" y="663"/>
                    </a:lnTo>
                    <a:lnTo>
                      <a:pt x="306" y="663"/>
                    </a:lnTo>
                    <a:lnTo>
                      <a:pt x="312" y="663"/>
                    </a:lnTo>
                    <a:lnTo>
                      <a:pt x="319" y="661"/>
                    </a:lnTo>
                    <a:lnTo>
                      <a:pt x="325" y="659"/>
                    </a:lnTo>
                    <a:lnTo>
                      <a:pt x="331" y="655"/>
                    </a:lnTo>
                    <a:lnTo>
                      <a:pt x="366" y="631"/>
                    </a:lnTo>
                    <a:lnTo>
                      <a:pt x="407" y="646"/>
                    </a:lnTo>
                    <a:lnTo>
                      <a:pt x="407" y="646"/>
                    </a:lnTo>
                    <a:lnTo>
                      <a:pt x="416" y="648"/>
                    </a:lnTo>
                    <a:lnTo>
                      <a:pt x="425" y="649"/>
                    </a:lnTo>
                    <a:lnTo>
                      <a:pt x="425" y="649"/>
                    </a:lnTo>
                    <a:lnTo>
                      <a:pt x="430" y="648"/>
                    </a:lnTo>
                    <a:lnTo>
                      <a:pt x="437" y="647"/>
                    </a:lnTo>
                    <a:lnTo>
                      <a:pt x="441" y="645"/>
                    </a:lnTo>
                    <a:lnTo>
                      <a:pt x="446" y="643"/>
                    </a:lnTo>
                    <a:lnTo>
                      <a:pt x="451" y="639"/>
                    </a:lnTo>
                    <a:lnTo>
                      <a:pt x="455" y="635"/>
                    </a:lnTo>
                    <a:lnTo>
                      <a:pt x="459" y="631"/>
                    </a:lnTo>
                    <a:lnTo>
                      <a:pt x="462" y="626"/>
                    </a:lnTo>
                    <a:lnTo>
                      <a:pt x="485" y="590"/>
                    </a:lnTo>
                    <a:lnTo>
                      <a:pt x="528" y="586"/>
                    </a:lnTo>
                    <a:lnTo>
                      <a:pt x="528" y="586"/>
                    </a:lnTo>
                    <a:lnTo>
                      <a:pt x="536" y="585"/>
                    </a:lnTo>
                    <a:lnTo>
                      <a:pt x="543" y="583"/>
                    </a:lnTo>
                    <a:lnTo>
                      <a:pt x="551" y="579"/>
                    </a:lnTo>
                    <a:lnTo>
                      <a:pt x="556" y="574"/>
                    </a:lnTo>
                    <a:lnTo>
                      <a:pt x="562" y="568"/>
                    </a:lnTo>
                    <a:lnTo>
                      <a:pt x="566" y="562"/>
                    </a:lnTo>
                    <a:lnTo>
                      <a:pt x="569" y="555"/>
                    </a:lnTo>
                    <a:lnTo>
                      <a:pt x="572" y="546"/>
                    </a:lnTo>
                    <a:lnTo>
                      <a:pt x="577" y="503"/>
                    </a:lnTo>
                    <a:lnTo>
                      <a:pt x="615" y="484"/>
                    </a:lnTo>
                    <a:lnTo>
                      <a:pt x="615" y="484"/>
                    </a:lnTo>
                    <a:lnTo>
                      <a:pt x="622" y="479"/>
                    </a:lnTo>
                    <a:lnTo>
                      <a:pt x="628" y="474"/>
                    </a:lnTo>
                    <a:lnTo>
                      <a:pt x="632" y="468"/>
                    </a:lnTo>
                    <a:lnTo>
                      <a:pt x="636" y="461"/>
                    </a:lnTo>
                    <a:lnTo>
                      <a:pt x="639" y="454"/>
                    </a:lnTo>
                    <a:lnTo>
                      <a:pt x="640" y="445"/>
                    </a:lnTo>
                    <a:lnTo>
                      <a:pt x="640" y="437"/>
                    </a:lnTo>
                    <a:lnTo>
                      <a:pt x="637" y="430"/>
                    </a:lnTo>
                    <a:lnTo>
                      <a:pt x="626" y="388"/>
                    </a:lnTo>
                    <a:lnTo>
                      <a:pt x="653" y="354"/>
                    </a:lnTo>
                    <a:lnTo>
                      <a:pt x="653" y="354"/>
                    </a:lnTo>
                    <a:lnTo>
                      <a:pt x="657" y="347"/>
                    </a:lnTo>
                    <a:lnTo>
                      <a:pt x="660" y="340"/>
                    </a:lnTo>
                    <a:lnTo>
                      <a:pt x="662" y="333"/>
                    </a:lnTo>
                    <a:lnTo>
                      <a:pt x="662" y="324"/>
                    </a:lnTo>
                    <a:lnTo>
                      <a:pt x="661" y="316"/>
                    </a:lnTo>
                    <a:lnTo>
                      <a:pt x="659" y="309"/>
                    </a:lnTo>
                    <a:lnTo>
                      <a:pt x="656" y="302"/>
                    </a:lnTo>
                    <a:lnTo>
                      <a:pt x="651" y="295"/>
                    </a:lnTo>
                    <a:lnTo>
                      <a:pt x="651" y="295"/>
                    </a:lnTo>
                    <a:close/>
                    <a:moveTo>
                      <a:pt x="124" y="272"/>
                    </a:moveTo>
                    <a:lnTo>
                      <a:pt x="124" y="272"/>
                    </a:lnTo>
                    <a:lnTo>
                      <a:pt x="124" y="261"/>
                    </a:lnTo>
                    <a:lnTo>
                      <a:pt x="126" y="250"/>
                    </a:lnTo>
                    <a:lnTo>
                      <a:pt x="127" y="241"/>
                    </a:lnTo>
                    <a:lnTo>
                      <a:pt x="130" y="231"/>
                    </a:lnTo>
                    <a:lnTo>
                      <a:pt x="132" y="222"/>
                    </a:lnTo>
                    <a:lnTo>
                      <a:pt x="136" y="214"/>
                    </a:lnTo>
                    <a:lnTo>
                      <a:pt x="141" y="206"/>
                    </a:lnTo>
                    <a:lnTo>
                      <a:pt x="146" y="199"/>
                    </a:lnTo>
                    <a:lnTo>
                      <a:pt x="153" y="192"/>
                    </a:lnTo>
                    <a:lnTo>
                      <a:pt x="159" y="186"/>
                    </a:lnTo>
                    <a:lnTo>
                      <a:pt x="167" y="180"/>
                    </a:lnTo>
                    <a:lnTo>
                      <a:pt x="174" y="176"/>
                    </a:lnTo>
                    <a:lnTo>
                      <a:pt x="183" y="173"/>
                    </a:lnTo>
                    <a:lnTo>
                      <a:pt x="191" y="169"/>
                    </a:lnTo>
                    <a:lnTo>
                      <a:pt x="201" y="168"/>
                    </a:lnTo>
                    <a:lnTo>
                      <a:pt x="212" y="167"/>
                    </a:lnTo>
                    <a:lnTo>
                      <a:pt x="212" y="167"/>
                    </a:lnTo>
                    <a:lnTo>
                      <a:pt x="222" y="167"/>
                    </a:lnTo>
                    <a:lnTo>
                      <a:pt x="231" y="168"/>
                    </a:lnTo>
                    <a:lnTo>
                      <a:pt x="240" y="171"/>
                    </a:lnTo>
                    <a:lnTo>
                      <a:pt x="249" y="173"/>
                    </a:lnTo>
                    <a:lnTo>
                      <a:pt x="256" y="177"/>
                    </a:lnTo>
                    <a:lnTo>
                      <a:pt x="264" y="181"/>
                    </a:lnTo>
                    <a:lnTo>
                      <a:pt x="270" y="187"/>
                    </a:lnTo>
                    <a:lnTo>
                      <a:pt x="277" y="192"/>
                    </a:lnTo>
                    <a:lnTo>
                      <a:pt x="282" y="199"/>
                    </a:lnTo>
                    <a:lnTo>
                      <a:pt x="286" y="206"/>
                    </a:lnTo>
                    <a:lnTo>
                      <a:pt x="291" y="214"/>
                    </a:lnTo>
                    <a:lnTo>
                      <a:pt x="295" y="222"/>
                    </a:lnTo>
                    <a:lnTo>
                      <a:pt x="297" y="231"/>
                    </a:lnTo>
                    <a:lnTo>
                      <a:pt x="299" y="241"/>
                    </a:lnTo>
                    <a:lnTo>
                      <a:pt x="300" y="250"/>
                    </a:lnTo>
                    <a:lnTo>
                      <a:pt x="302" y="260"/>
                    </a:lnTo>
                    <a:lnTo>
                      <a:pt x="302" y="260"/>
                    </a:lnTo>
                    <a:lnTo>
                      <a:pt x="302" y="272"/>
                    </a:lnTo>
                    <a:lnTo>
                      <a:pt x="300" y="284"/>
                    </a:lnTo>
                    <a:lnTo>
                      <a:pt x="298" y="295"/>
                    </a:lnTo>
                    <a:lnTo>
                      <a:pt x="296" y="306"/>
                    </a:lnTo>
                    <a:lnTo>
                      <a:pt x="292" y="314"/>
                    </a:lnTo>
                    <a:lnTo>
                      <a:pt x="288" y="323"/>
                    </a:lnTo>
                    <a:lnTo>
                      <a:pt x="283" y="330"/>
                    </a:lnTo>
                    <a:lnTo>
                      <a:pt x="277" y="338"/>
                    </a:lnTo>
                    <a:lnTo>
                      <a:pt x="270" y="344"/>
                    </a:lnTo>
                    <a:lnTo>
                      <a:pt x="264" y="350"/>
                    </a:lnTo>
                    <a:lnTo>
                      <a:pt x="256" y="354"/>
                    </a:lnTo>
                    <a:lnTo>
                      <a:pt x="249" y="358"/>
                    </a:lnTo>
                    <a:lnTo>
                      <a:pt x="241" y="362"/>
                    </a:lnTo>
                    <a:lnTo>
                      <a:pt x="232" y="364"/>
                    </a:lnTo>
                    <a:lnTo>
                      <a:pt x="224" y="365"/>
                    </a:lnTo>
                    <a:lnTo>
                      <a:pt x="215" y="366"/>
                    </a:lnTo>
                    <a:lnTo>
                      <a:pt x="215" y="366"/>
                    </a:lnTo>
                    <a:lnTo>
                      <a:pt x="207" y="366"/>
                    </a:lnTo>
                    <a:lnTo>
                      <a:pt x="198" y="365"/>
                    </a:lnTo>
                    <a:lnTo>
                      <a:pt x="189" y="363"/>
                    </a:lnTo>
                    <a:lnTo>
                      <a:pt x="181" y="361"/>
                    </a:lnTo>
                    <a:lnTo>
                      <a:pt x="173" y="357"/>
                    </a:lnTo>
                    <a:lnTo>
                      <a:pt x="165" y="353"/>
                    </a:lnTo>
                    <a:lnTo>
                      <a:pt x="159" y="348"/>
                    </a:lnTo>
                    <a:lnTo>
                      <a:pt x="153" y="342"/>
                    </a:lnTo>
                    <a:lnTo>
                      <a:pt x="146" y="336"/>
                    </a:lnTo>
                    <a:lnTo>
                      <a:pt x="141" y="328"/>
                    </a:lnTo>
                    <a:lnTo>
                      <a:pt x="136" y="321"/>
                    </a:lnTo>
                    <a:lnTo>
                      <a:pt x="132" y="312"/>
                    </a:lnTo>
                    <a:lnTo>
                      <a:pt x="129" y="303"/>
                    </a:lnTo>
                    <a:lnTo>
                      <a:pt x="127" y="294"/>
                    </a:lnTo>
                    <a:lnTo>
                      <a:pt x="126" y="283"/>
                    </a:lnTo>
                    <a:lnTo>
                      <a:pt x="124" y="272"/>
                    </a:lnTo>
                    <a:lnTo>
                      <a:pt x="124" y="272"/>
                    </a:lnTo>
                    <a:close/>
                    <a:moveTo>
                      <a:pt x="265" y="500"/>
                    </a:moveTo>
                    <a:lnTo>
                      <a:pt x="224" y="501"/>
                    </a:lnTo>
                    <a:lnTo>
                      <a:pt x="399" y="161"/>
                    </a:lnTo>
                    <a:lnTo>
                      <a:pt x="439" y="160"/>
                    </a:lnTo>
                    <a:lnTo>
                      <a:pt x="265" y="500"/>
                    </a:lnTo>
                    <a:close/>
                    <a:moveTo>
                      <a:pt x="453" y="492"/>
                    </a:moveTo>
                    <a:lnTo>
                      <a:pt x="453" y="492"/>
                    </a:lnTo>
                    <a:lnTo>
                      <a:pt x="444" y="492"/>
                    </a:lnTo>
                    <a:lnTo>
                      <a:pt x="435" y="491"/>
                    </a:lnTo>
                    <a:lnTo>
                      <a:pt x="427" y="489"/>
                    </a:lnTo>
                    <a:lnTo>
                      <a:pt x="418" y="487"/>
                    </a:lnTo>
                    <a:lnTo>
                      <a:pt x="411" y="484"/>
                    </a:lnTo>
                    <a:lnTo>
                      <a:pt x="403" y="479"/>
                    </a:lnTo>
                    <a:lnTo>
                      <a:pt x="397" y="474"/>
                    </a:lnTo>
                    <a:lnTo>
                      <a:pt x="390" y="469"/>
                    </a:lnTo>
                    <a:lnTo>
                      <a:pt x="384" y="462"/>
                    </a:lnTo>
                    <a:lnTo>
                      <a:pt x="378" y="455"/>
                    </a:lnTo>
                    <a:lnTo>
                      <a:pt x="374" y="447"/>
                    </a:lnTo>
                    <a:lnTo>
                      <a:pt x="370" y="438"/>
                    </a:lnTo>
                    <a:lnTo>
                      <a:pt x="366" y="430"/>
                    </a:lnTo>
                    <a:lnTo>
                      <a:pt x="364" y="420"/>
                    </a:lnTo>
                    <a:lnTo>
                      <a:pt x="362" y="409"/>
                    </a:lnTo>
                    <a:lnTo>
                      <a:pt x="362" y="398"/>
                    </a:lnTo>
                    <a:lnTo>
                      <a:pt x="362" y="398"/>
                    </a:lnTo>
                    <a:lnTo>
                      <a:pt x="362" y="388"/>
                    </a:lnTo>
                    <a:lnTo>
                      <a:pt x="362" y="377"/>
                    </a:lnTo>
                    <a:lnTo>
                      <a:pt x="364" y="367"/>
                    </a:lnTo>
                    <a:lnTo>
                      <a:pt x="366" y="357"/>
                    </a:lnTo>
                    <a:lnTo>
                      <a:pt x="370" y="349"/>
                    </a:lnTo>
                    <a:lnTo>
                      <a:pt x="374" y="340"/>
                    </a:lnTo>
                    <a:lnTo>
                      <a:pt x="378" y="333"/>
                    </a:lnTo>
                    <a:lnTo>
                      <a:pt x="384" y="325"/>
                    </a:lnTo>
                    <a:lnTo>
                      <a:pt x="390" y="319"/>
                    </a:lnTo>
                    <a:lnTo>
                      <a:pt x="397" y="312"/>
                    </a:lnTo>
                    <a:lnTo>
                      <a:pt x="403" y="307"/>
                    </a:lnTo>
                    <a:lnTo>
                      <a:pt x="412" y="302"/>
                    </a:lnTo>
                    <a:lnTo>
                      <a:pt x="420" y="299"/>
                    </a:lnTo>
                    <a:lnTo>
                      <a:pt x="429" y="296"/>
                    </a:lnTo>
                    <a:lnTo>
                      <a:pt x="439" y="295"/>
                    </a:lnTo>
                    <a:lnTo>
                      <a:pt x="448" y="294"/>
                    </a:lnTo>
                    <a:lnTo>
                      <a:pt x="448" y="294"/>
                    </a:lnTo>
                    <a:lnTo>
                      <a:pt x="459" y="294"/>
                    </a:lnTo>
                    <a:lnTo>
                      <a:pt x="469" y="295"/>
                    </a:lnTo>
                    <a:lnTo>
                      <a:pt x="478" y="297"/>
                    </a:lnTo>
                    <a:lnTo>
                      <a:pt x="486" y="299"/>
                    </a:lnTo>
                    <a:lnTo>
                      <a:pt x="494" y="303"/>
                    </a:lnTo>
                    <a:lnTo>
                      <a:pt x="501" y="308"/>
                    </a:lnTo>
                    <a:lnTo>
                      <a:pt x="508" y="313"/>
                    </a:lnTo>
                    <a:lnTo>
                      <a:pt x="514" y="319"/>
                    </a:lnTo>
                    <a:lnTo>
                      <a:pt x="520" y="325"/>
                    </a:lnTo>
                    <a:lnTo>
                      <a:pt x="524" y="333"/>
                    </a:lnTo>
                    <a:lnTo>
                      <a:pt x="528" y="340"/>
                    </a:lnTo>
                    <a:lnTo>
                      <a:pt x="532" y="349"/>
                    </a:lnTo>
                    <a:lnTo>
                      <a:pt x="535" y="357"/>
                    </a:lnTo>
                    <a:lnTo>
                      <a:pt x="537" y="367"/>
                    </a:lnTo>
                    <a:lnTo>
                      <a:pt x="538" y="377"/>
                    </a:lnTo>
                    <a:lnTo>
                      <a:pt x="539" y="387"/>
                    </a:lnTo>
                    <a:lnTo>
                      <a:pt x="539" y="387"/>
                    </a:lnTo>
                    <a:lnTo>
                      <a:pt x="539" y="398"/>
                    </a:lnTo>
                    <a:lnTo>
                      <a:pt x="538" y="410"/>
                    </a:lnTo>
                    <a:lnTo>
                      <a:pt x="536" y="421"/>
                    </a:lnTo>
                    <a:lnTo>
                      <a:pt x="533" y="432"/>
                    </a:lnTo>
                    <a:lnTo>
                      <a:pt x="529" y="441"/>
                    </a:lnTo>
                    <a:lnTo>
                      <a:pt x="525" y="449"/>
                    </a:lnTo>
                    <a:lnTo>
                      <a:pt x="520" y="458"/>
                    </a:lnTo>
                    <a:lnTo>
                      <a:pt x="514" y="464"/>
                    </a:lnTo>
                    <a:lnTo>
                      <a:pt x="508" y="471"/>
                    </a:lnTo>
                    <a:lnTo>
                      <a:pt x="501" y="476"/>
                    </a:lnTo>
                    <a:lnTo>
                      <a:pt x="494" y="481"/>
                    </a:lnTo>
                    <a:lnTo>
                      <a:pt x="486" y="485"/>
                    </a:lnTo>
                    <a:lnTo>
                      <a:pt x="479" y="488"/>
                    </a:lnTo>
                    <a:lnTo>
                      <a:pt x="470" y="490"/>
                    </a:lnTo>
                    <a:lnTo>
                      <a:pt x="461" y="492"/>
                    </a:lnTo>
                    <a:lnTo>
                      <a:pt x="453" y="492"/>
                    </a:lnTo>
                    <a:lnTo>
                      <a:pt x="453" y="492"/>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sp>
          <p:nvSpPr>
            <p:cNvPr id="598" name="Freeform 597"/>
            <p:cNvSpPr>
              <a:spLocks/>
            </p:cNvSpPr>
            <p:nvPr/>
          </p:nvSpPr>
          <p:spPr bwMode="auto">
            <a:xfrm>
              <a:off x="4825909" y="525343"/>
              <a:ext cx="77412" cy="126541"/>
            </a:xfrm>
            <a:custGeom>
              <a:avLst/>
              <a:gdLst>
                <a:gd name="T0" fmla="*/ 182 w 182"/>
                <a:gd name="T1" fmla="*/ 151 h 300"/>
                <a:gd name="T2" fmla="*/ 152 w 182"/>
                <a:gd name="T3" fmla="*/ 151 h 300"/>
                <a:gd name="T4" fmla="*/ 152 w 182"/>
                <a:gd name="T5" fmla="*/ 121 h 300"/>
                <a:gd name="T6" fmla="*/ 122 w 182"/>
                <a:gd name="T7" fmla="*/ 121 h 300"/>
                <a:gd name="T8" fmla="*/ 122 w 182"/>
                <a:gd name="T9" fmla="*/ 91 h 300"/>
                <a:gd name="T10" fmla="*/ 91 w 182"/>
                <a:gd name="T11" fmla="*/ 91 h 300"/>
                <a:gd name="T12" fmla="*/ 91 w 182"/>
                <a:gd name="T13" fmla="*/ 61 h 300"/>
                <a:gd name="T14" fmla="*/ 60 w 182"/>
                <a:gd name="T15" fmla="*/ 61 h 300"/>
                <a:gd name="T16" fmla="*/ 60 w 182"/>
                <a:gd name="T17" fmla="*/ 30 h 300"/>
                <a:gd name="T18" fmla="*/ 30 w 182"/>
                <a:gd name="T19" fmla="*/ 30 h 300"/>
                <a:gd name="T20" fmla="*/ 30 w 182"/>
                <a:gd name="T21" fmla="*/ 0 h 300"/>
                <a:gd name="T22" fmla="*/ 0 w 182"/>
                <a:gd name="T23" fmla="*/ 0 h 300"/>
                <a:gd name="T24" fmla="*/ 0 w 182"/>
                <a:gd name="T25" fmla="*/ 240 h 300"/>
                <a:gd name="T26" fmla="*/ 30 w 182"/>
                <a:gd name="T27" fmla="*/ 240 h 300"/>
                <a:gd name="T28" fmla="*/ 30 w 182"/>
                <a:gd name="T29" fmla="*/ 211 h 300"/>
                <a:gd name="T30" fmla="*/ 60 w 182"/>
                <a:gd name="T31" fmla="*/ 211 h 300"/>
                <a:gd name="T32" fmla="*/ 60 w 182"/>
                <a:gd name="T33" fmla="*/ 241 h 300"/>
                <a:gd name="T34" fmla="*/ 90 w 182"/>
                <a:gd name="T35" fmla="*/ 241 h 300"/>
                <a:gd name="T36" fmla="*/ 90 w 182"/>
                <a:gd name="T37" fmla="*/ 270 h 300"/>
                <a:gd name="T38" fmla="*/ 90 w 182"/>
                <a:gd name="T39" fmla="*/ 271 h 300"/>
                <a:gd name="T40" fmla="*/ 90 w 182"/>
                <a:gd name="T41" fmla="*/ 300 h 300"/>
                <a:gd name="T42" fmla="*/ 121 w 182"/>
                <a:gd name="T43" fmla="*/ 300 h 300"/>
                <a:gd name="T44" fmla="*/ 150 w 182"/>
                <a:gd name="T45" fmla="*/ 300 h 300"/>
                <a:gd name="T46" fmla="*/ 150 w 182"/>
                <a:gd name="T47" fmla="*/ 270 h 300"/>
                <a:gd name="T48" fmla="*/ 121 w 182"/>
                <a:gd name="T49" fmla="*/ 270 h 300"/>
                <a:gd name="T50" fmla="*/ 121 w 182"/>
                <a:gd name="T51" fmla="*/ 241 h 300"/>
                <a:gd name="T52" fmla="*/ 121 w 182"/>
                <a:gd name="T53" fmla="*/ 241 h 300"/>
                <a:gd name="T54" fmla="*/ 121 w 182"/>
                <a:gd name="T55" fmla="*/ 211 h 300"/>
                <a:gd name="T56" fmla="*/ 121 w 182"/>
                <a:gd name="T57" fmla="*/ 211 h 300"/>
                <a:gd name="T58" fmla="*/ 121 w 182"/>
                <a:gd name="T59" fmla="*/ 182 h 300"/>
                <a:gd name="T60" fmla="*/ 182 w 182"/>
                <a:gd name="T61" fmla="*/ 182 h 300"/>
                <a:gd name="T62" fmla="*/ 182 w 182"/>
                <a:gd name="T63" fmla="*/ 15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2" h="300">
                  <a:moveTo>
                    <a:pt x="182" y="151"/>
                  </a:moveTo>
                  <a:lnTo>
                    <a:pt x="152" y="151"/>
                  </a:lnTo>
                  <a:lnTo>
                    <a:pt x="152" y="121"/>
                  </a:lnTo>
                  <a:lnTo>
                    <a:pt x="122" y="121"/>
                  </a:lnTo>
                  <a:lnTo>
                    <a:pt x="122" y="91"/>
                  </a:lnTo>
                  <a:lnTo>
                    <a:pt x="91" y="91"/>
                  </a:lnTo>
                  <a:lnTo>
                    <a:pt x="91" y="61"/>
                  </a:lnTo>
                  <a:lnTo>
                    <a:pt x="60" y="61"/>
                  </a:lnTo>
                  <a:lnTo>
                    <a:pt x="60" y="30"/>
                  </a:lnTo>
                  <a:lnTo>
                    <a:pt x="30" y="30"/>
                  </a:lnTo>
                  <a:lnTo>
                    <a:pt x="30" y="0"/>
                  </a:lnTo>
                  <a:lnTo>
                    <a:pt x="0" y="0"/>
                  </a:lnTo>
                  <a:lnTo>
                    <a:pt x="0" y="240"/>
                  </a:lnTo>
                  <a:lnTo>
                    <a:pt x="30" y="240"/>
                  </a:lnTo>
                  <a:lnTo>
                    <a:pt x="30" y="211"/>
                  </a:lnTo>
                  <a:lnTo>
                    <a:pt x="60" y="211"/>
                  </a:lnTo>
                  <a:lnTo>
                    <a:pt x="60" y="241"/>
                  </a:lnTo>
                  <a:lnTo>
                    <a:pt x="90" y="241"/>
                  </a:lnTo>
                  <a:lnTo>
                    <a:pt x="90" y="270"/>
                  </a:lnTo>
                  <a:lnTo>
                    <a:pt x="90" y="271"/>
                  </a:lnTo>
                  <a:lnTo>
                    <a:pt x="90" y="300"/>
                  </a:lnTo>
                  <a:lnTo>
                    <a:pt x="121" y="300"/>
                  </a:lnTo>
                  <a:lnTo>
                    <a:pt x="150" y="300"/>
                  </a:lnTo>
                  <a:lnTo>
                    <a:pt x="150" y="270"/>
                  </a:lnTo>
                  <a:lnTo>
                    <a:pt x="121" y="270"/>
                  </a:lnTo>
                  <a:lnTo>
                    <a:pt x="121" y="241"/>
                  </a:lnTo>
                  <a:lnTo>
                    <a:pt x="121" y="241"/>
                  </a:lnTo>
                  <a:lnTo>
                    <a:pt x="121" y="211"/>
                  </a:lnTo>
                  <a:lnTo>
                    <a:pt x="121" y="211"/>
                  </a:lnTo>
                  <a:lnTo>
                    <a:pt x="121" y="182"/>
                  </a:lnTo>
                  <a:lnTo>
                    <a:pt x="182" y="182"/>
                  </a:lnTo>
                  <a:lnTo>
                    <a:pt x="182" y="151"/>
                  </a:lnTo>
                  <a:close/>
                </a:path>
              </a:pathLst>
            </a:custGeom>
            <a:solidFill>
              <a:srgbClr val="6C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nvGrpSpPr>
            <p:cNvPr id="599" name="Group 598"/>
            <p:cNvGrpSpPr/>
            <p:nvPr/>
          </p:nvGrpSpPr>
          <p:grpSpPr>
            <a:xfrm>
              <a:off x="6163811" y="1283074"/>
              <a:ext cx="165145" cy="175473"/>
              <a:chOff x="6224974" y="1317092"/>
              <a:chExt cx="145741" cy="154856"/>
            </a:xfrm>
          </p:grpSpPr>
          <p:sp>
            <p:nvSpPr>
              <p:cNvPr id="632" name="Freeform 631"/>
              <p:cNvSpPr>
                <a:spLocks/>
              </p:cNvSpPr>
              <p:nvPr/>
            </p:nvSpPr>
            <p:spPr bwMode="auto">
              <a:xfrm>
                <a:off x="6234083" y="1317092"/>
                <a:ext cx="75906" cy="95295"/>
              </a:xfrm>
              <a:custGeom>
                <a:avLst/>
                <a:gdLst>
                  <a:gd name="T0" fmla="*/ 0 w 200"/>
                  <a:gd name="T1" fmla="*/ 137 h 256"/>
                  <a:gd name="T2" fmla="*/ 40 w 200"/>
                  <a:gd name="T3" fmla="*/ 117 h 256"/>
                  <a:gd name="T4" fmla="*/ 107 w 200"/>
                  <a:gd name="T5" fmla="*/ 256 h 256"/>
                  <a:gd name="T6" fmla="*/ 200 w 200"/>
                  <a:gd name="T7" fmla="*/ 211 h 256"/>
                  <a:gd name="T8" fmla="*/ 133 w 200"/>
                  <a:gd name="T9" fmla="*/ 73 h 256"/>
                  <a:gd name="T10" fmla="*/ 173 w 200"/>
                  <a:gd name="T11" fmla="*/ 53 h 256"/>
                  <a:gd name="T12" fmla="*/ 40 w 200"/>
                  <a:gd name="T13" fmla="*/ 0 h 256"/>
                  <a:gd name="T14" fmla="*/ 0 w 200"/>
                  <a:gd name="T15" fmla="*/ 137 h 2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 h="256">
                    <a:moveTo>
                      <a:pt x="0" y="137"/>
                    </a:moveTo>
                    <a:lnTo>
                      <a:pt x="40" y="117"/>
                    </a:lnTo>
                    <a:lnTo>
                      <a:pt x="107" y="256"/>
                    </a:lnTo>
                    <a:lnTo>
                      <a:pt x="200" y="211"/>
                    </a:lnTo>
                    <a:lnTo>
                      <a:pt x="133" y="73"/>
                    </a:lnTo>
                    <a:lnTo>
                      <a:pt x="173" y="53"/>
                    </a:lnTo>
                    <a:lnTo>
                      <a:pt x="40" y="0"/>
                    </a:lnTo>
                    <a:lnTo>
                      <a:pt x="0" y="137"/>
                    </a:lnTo>
                    <a:close/>
                  </a:path>
                </a:pathLst>
              </a:custGeom>
              <a:solidFill>
                <a:srgbClr val="E5E8E8">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33" name="Freeform 632"/>
              <p:cNvSpPr>
                <a:spLocks/>
              </p:cNvSpPr>
              <p:nvPr/>
            </p:nvSpPr>
            <p:spPr bwMode="auto">
              <a:xfrm>
                <a:off x="6224974" y="1364741"/>
                <a:ext cx="145741" cy="107207"/>
              </a:xfrm>
              <a:custGeom>
                <a:avLst/>
                <a:gdLst>
                  <a:gd name="T0" fmla="*/ 256 w 384"/>
                  <a:gd name="T1" fmla="*/ 37 h 289"/>
                  <a:gd name="T2" fmla="*/ 289 w 384"/>
                  <a:gd name="T3" fmla="*/ 105 h 289"/>
                  <a:gd name="T4" fmla="*/ 107 w 384"/>
                  <a:gd name="T5" fmla="*/ 193 h 289"/>
                  <a:gd name="T6" fmla="*/ 73 w 384"/>
                  <a:gd name="T7" fmla="*/ 125 h 289"/>
                  <a:gd name="T8" fmla="*/ 0 w 384"/>
                  <a:gd name="T9" fmla="*/ 161 h 289"/>
                  <a:gd name="T10" fmla="*/ 50 w 384"/>
                  <a:gd name="T11" fmla="*/ 266 h 289"/>
                  <a:gd name="T12" fmla="*/ 50 w 384"/>
                  <a:gd name="T13" fmla="*/ 266 h 289"/>
                  <a:gd name="T14" fmla="*/ 55 w 384"/>
                  <a:gd name="T15" fmla="*/ 273 h 289"/>
                  <a:gd name="T16" fmla="*/ 60 w 384"/>
                  <a:gd name="T17" fmla="*/ 279 h 289"/>
                  <a:gd name="T18" fmla="*/ 67 w 384"/>
                  <a:gd name="T19" fmla="*/ 283 h 289"/>
                  <a:gd name="T20" fmla="*/ 73 w 384"/>
                  <a:gd name="T21" fmla="*/ 287 h 289"/>
                  <a:gd name="T22" fmla="*/ 82 w 384"/>
                  <a:gd name="T23" fmla="*/ 288 h 289"/>
                  <a:gd name="T24" fmla="*/ 89 w 384"/>
                  <a:gd name="T25" fmla="*/ 289 h 289"/>
                  <a:gd name="T26" fmla="*/ 97 w 384"/>
                  <a:gd name="T27" fmla="*/ 287 h 289"/>
                  <a:gd name="T28" fmla="*/ 105 w 384"/>
                  <a:gd name="T29" fmla="*/ 285 h 289"/>
                  <a:gd name="T30" fmla="*/ 361 w 384"/>
                  <a:gd name="T31" fmla="*/ 161 h 289"/>
                  <a:gd name="T32" fmla="*/ 361 w 384"/>
                  <a:gd name="T33" fmla="*/ 161 h 289"/>
                  <a:gd name="T34" fmla="*/ 369 w 384"/>
                  <a:gd name="T35" fmla="*/ 155 h 289"/>
                  <a:gd name="T36" fmla="*/ 374 w 384"/>
                  <a:gd name="T37" fmla="*/ 150 h 289"/>
                  <a:gd name="T38" fmla="*/ 379 w 384"/>
                  <a:gd name="T39" fmla="*/ 144 h 289"/>
                  <a:gd name="T40" fmla="*/ 382 w 384"/>
                  <a:gd name="T41" fmla="*/ 137 h 289"/>
                  <a:gd name="T42" fmla="*/ 384 w 384"/>
                  <a:gd name="T43" fmla="*/ 130 h 289"/>
                  <a:gd name="T44" fmla="*/ 384 w 384"/>
                  <a:gd name="T45" fmla="*/ 121 h 289"/>
                  <a:gd name="T46" fmla="*/ 383 w 384"/>
                  <a:gd name="T47" fmla="*/ 113 h 289"/>
                  <a:gd name="T48" fmla="*/ 381 w 384"/>
                  <a:gd name="T49" fmla="*/ 106 h 289"/>
                  <a:gd name="T50" fmla="*/ 329 w 384"/>
                  <a:gd name="T51" fmla="*/ 0 h 289"/>
                  <a:gd name="T52" fmla="*/ 256 w 384"/>
                  <a:gd name="T53" fmla="*/ 3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4" h="289">
                    <a:moveTo>
                      <a:pt x="256" y="37"/>
                    </a:moveTo>
                    <a:lnTo>
                      <a:pt x="289" y="105"/>
                    </a:lnTo>
                    <a:lnTo>
                      <a:pt x="107" y="193"/>
                    </a:lnTo>
                    <a:lnTo>
                      <a:pt x="73" y="125"/>
                    </a:lnTo>
                    <a:lnTo>
                      <a:pt x="0" y="161"/>
                    </a:lnTo>
                    <a:lnTo>
                      <a:pt x="50" y="266"/>
                    </a:lnTo>
                    <a:lnTo>
                      <a:pt x="50" y="266"/>
                    </a:lnTo>
                    <a:lnTo>
                      <a:pt x="55" y="273"/>
                    </a:lnTo>
                    <a:lnTo>
                      <a:pt x="60" y="279"/>
                    </a:lnTo>
                    <a:lnTo>
                      <a:pt x="67" y="283"/>
                    </a:lnTo>
                    <a:lnTo>
                      <a:pt x="73" y="287"/>
                    </a:lnTo>
                    <a:lnTo>
                      <a:pt x="82" y="288"/>
                    </a:lnTo>
                    <a:lnTo>
                      <a:pt x="89" y="289"/>
                    </a:lnTo>
                    <a:lnTo>
                      <a:pt x="97" y="287"/>
                    </a:lnTo>
                    <a:lnTo>
                      <a:pt x="105" y="285"/>
                    </a:lnTo>
                    <a:lnTo>
                      <a:pt x="361" y="161"/>
                    </a:lnTo>
                    <a:lnTo>
                      <a:pt x="361" y="161"/>
                    </a:lnTo>
                    <a:lnTo>
                      <a:pt x="369" y="155"/>
                    </a:lnTo>
                    <a:lnTo>
                      <a:pt x="374" y="150"/>
                    </a:lnTo>
                    <a:lnTo>
                      <a:pt x="379" y="144"/>
                    </a:lnTo>
                    <a:lnTo>
                      <a:pt x="382" y="137"/>
                    </a:lnTo>
                    <a:lnTo>
                      <a:pt x="384" y="130"/>
                    </a:lnTo>
                    <a:lnTo>
                      <a:pt x="384" y="121"/>
                    </a:lnTo>
                    <a:lnTo>
                      <a:pt x="383" y="113"/>
                    </a:lnTo>
                    <a:lnTo>
                      <a:pt x="381" y="106"/>
                    </a:lnTo>
                    <a:lnTo>
                      <a:pt x="329" y="0"/>
                    </a:lnTo>
                    <a:lnTo>
                      <a:pt x="256" y="37"/>
                    </a:lnTo>
                    <a:close/>
                  </a:path>
                </a:pathLst>
              </a:custGeom>
              <a:solidFill>
                <a:srgbClr val="E5E8E8">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grpSp>
          <p:nvGrpSpPr>
            <p:cNvPr id="600" name="Group 599"/>
            <p:cNvGrpSpPr/>
            <p:nvPr/>
          </p:nvGrpSpPr>
          <p:grpSpPr>
            <a:xfrm>
              <a:off x="2215954" y="3881926"/>
              <a:ext cx="384863" cy="373299"/>
              <a:chOff x="2594207" y="3676104"/>
              <a:chExt cx="274785" cy="266529"/>
            </a:xfrm>
          </p:grpSpPr>
          <p:sp>
            <p:nvSpPr>
              <p:cNvPr id="630" name="Freeform 629"/>
              <p:cNvSpPr>
                <a:spLocks noEditPoints="1"/>
              </p:cNvSpPr>
              <p:nvPr/>
            </p:nvSpPr>
            <p:spPr bwMode="auto">
              <a:xfrm>
                <a:off x="2682260" y="3759487"/>
                <a:ext cx="186732" cy="183146"/>
              </a:xfrm>
              <a:custGeom>
                <a:avLst/>
                <a:gdLst>
                  <a:gd name="T0" fmla="*/ 493 w 493"/>
                  <a:gd name="T1" fmla="*/ 182 h 490"/>
                  <a:gd name="T2" fmla="*/ 316 w 493"/>
                  <a:gd name="T3" fmla="*/ 0 h 490"/>
                  <a:gd name="T4" fmla="*/ 0 w 493"/>
                  <a:gd name="T5" fmla="*/ 308 h 490"/>
                  <a:gd name="T6" fmla="*/ 178 w 493"/>
                  <a:gd name="T7" fmla="*/ 490 h 490"/>
                  <a:gd name="T8" fmla="*/ 493 w 493"/>
                  <a:gd name="T9" fmla="*/ 182 h 490"/>
                  <a:gd name="T10" fmla="*/ 175 w 493"/>
                  <a:gd name="T11" fmla="*/ 364 h 490"/>
                  <a:gd name="T12" fmla="*/ 201 w 493"/>
                  <a:gd name="T13" fmla="*/ 310 h 490"/>
                  <a:gd name="T14" fmla="*/ 201 w 493"/>
                  <a:gd name="T15" fmla="*/ 310 h 490"/>
                  <a:gd name="T16" fmla="*/ 212 w 493"/>
                  <a:gd name="T17" fmla="*/ 288 h 490"/>
                  <a:gd name="T18" fmla="*/ 224 w 493"/>
                  <a:gd name="T19" fmla="*/ 267 h 490"/>
                  <a:gd name="T20" fmla="*/ 223 w 493"/>
                  <a:gd name="T21" fmla="*/ 266 h 490"/>
                  <a:gd name="T22" fmla="*/ 223 w 493"/>
                  <a:gd name="T23" fmla="*/ 266 h 490"/>
                  <a:gd name="T24" fmla="*/ 202 w 493"/>
                  <a:gd name="T25" fmla="*/ 277 h 490"/>
                  <a:gd name="T26" fmla="*/ 179 w 493"/>
                  <a:gd name="T27" fmla="*/ 288 h 490"/>
                  <a:gd name="T28" fmla="*/ 125 w 493"/>
                  <a:gd name="T29" fmla="*/ 313 h 490"/>
                  <a:gd name="T30" fmla="*/ 77 w 493"/>
                  <a:gd name="T31" fmla="*/ 264 h 490"/>
                  <a:gd name="T32" fmla="*/ 198 w 493"/>
                  <a:gd name="T33" fmla="*/ 230 h 490"/>
                  <a:gd name="T34" fmla="*/ 169 w 493"/>
                  <a:gd name="T35" fmla="*/ 200 h 490"/>
                  <a:gd name="T36" fmla="*/ 192 w 493"/>
                  <a:gd name="T37" fmla="*/ 179 h 490"/>
                  <a:gd name="T38" fmla="*/ 232 w 493"/>
                  <a:gd name="T39" fmla="*/ 219 h 490"/>
                  <a:gd name="T40" fmla="*/ 249 w 493"/>
                  <a:gd name="T41" fmla="*/ 202 h 490"/>
                  <a:gd name="T42" fmla="*/ 209 w 493"/>
                  <a:gd name="T43" fmla="*/ 161 h 490"/>
                  <a:gd name="T44" fmla="*/ 233 w 493"/>
                  <a:gd name="T45" fmla="*/ 139 h 490"/>
                  <a:gd name="T46" fmla="*/ 271 w 493"/>
                  <a:gd name="T47" fmla="*/ 180 h 490"/>
                  <a:gd name="T48" fmla="*/ 316 w 493"/>
                  <a:gd name="T49" fmla="*/ 138 h 490"/>
                  <a:gd name="T50" fmla="*/ 358 w 493"/>
                  <a:gd name="T51" fmla="*/ 181 h 490"/>
                  <a:gd name="T52" fmla="*/ 315 w 493"/>
                  <a:gd name="T53" fmla="*/ 223 h 490"/>
                  <a:gd name="T54" fmla="*/ 354 w 493"/>
                  <a:gd name="T55" fmla="*/ 263 h 490"/>
                  <a:gd name="T56" fmla="*/ 331 w 493"/>
                  <a:gd name="T57" fmla="*/ 286 h 490"/>
                  <a:gd name="T58" fmla="*/ 291 w 493"/>
                  <a:gd name="T59" fmla="*/ 246 h 490"/>
                  <a:gd name="T60" fmla="*/ 275 w 493"/>
                  <a:gd name="T61" fmla="*/ 263 h 490"/>
                  <a:gd name="T62" fmla="*/ 314 w 493"/>
                  <a:gd name="T63" fmla="*/ 303 h 490"/>
                  <a:gd name="T64" fmla="*/ 291 w 493"/>
                  <a:gd name="T65" fmla="*/ 324 h 490"/>
                  <a:gd name="T66" fmla="*/ 262 w 493"/>
                  <a:gd name="T67" fmla="*/ 295 h 490"/>
                  <a:gd name="T68" fmla="*/ 224 w 493"/>
                  <a:gd name="T69" fmla="*/ 414 h 490"/>
                  <a:gd name="T70" fmla="*/ 175 w 493"/>
                  <a:gd name="T71" fmla="*/ 36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93" h="490">
                    <a:moveTo>
                      <a:pt x="493" y="182"/>
                    </a:moveTo>
                    <a:lnTo>
                      <a:pt x="316" y="0"/>
                    </a:lnTo>
                    <a:lnTo>
                      <a:pt x="0" y="308"/>
                    </a:lnTo>
                    <a:lnTo>
                      <a:pt x="178" y="490"/>
                    </a:lnTo>
                    <a:lnTo>
                      <a:pt x="493" y="182"/>
                    </a:lnTo>
                    <a:close/>
                    <a:moveTo>
                      <a:pt x="175" y="364"/>
                    </a:moveTo>
                    <a:lnTo>
                      <a:pt x="201" y="310"/>
                    </a:lnTo>
                    <a:lnTo>
                      <a:pt x="201" y="310"/>
                    </a:lnTo>
                    <a:lnTo>
                      <a:pt x="212" y="288"/>
                    </a:lnTo>
                    <a:lnTo>
                      <a:pt x="224" y="267"/>
                    </a:lnTo>
                    <a:lnTo>
                      <a:pt x="223" y="266"/>
                    </a:lnTo>
                    <a:lnTo>
                      <a:pt x="223" y="266"/>
                    </a:lnTo>
                    <a:lnTo>
                      <a:pt x="202" y="277"/>
                    </a:lnTo>
                    <a:lnTo>
                      <a:pt x="179" y="288"/>
                    </a:lnTo>
                    <a:lnTo>
                      <a:pt x="125" y="313"/>
                    </a:lnTo>
                    <a:lnTo>
                      <a:pt x="77" y="264"/>
                    </a:lnTo>
                    <a:lnTo>
                      <a:pt x="198" y="230"/>
                    </a:lnTo>
                    <a:lnTo>
                      <a:pt x="169" y="200"/>
                    </a:lnTo>
                    <a:lnTo>
                      <a:pt x="192" y="179"/>
                    </a:lnTo>
                    <a:lnTo>
                      <a:pt x="232" y="219"/>
                    </a:lnTo>
                    <a:lnTo>
                      <a:pt x="249" y="202"/>
                    </a:lnTo>
                    <a:lnTo>
                      <a:pt x="209" y="161"/>
                    </a:lnTo>
                    <a:lnTo>
                      <a:pt x="233" y="139"/>
                    </a:lnTo>
                    <a:lnTo>
                      <a:pt x="271" y="180"/>
                    </a:lnTo>
                    <a:lnTo>
                      <a:pt x="316" y="138"/>
                    </a:lnTo>
                    <a:lnTo>
                      <a:pt x="358" y="181"/>
                    </a:lnTo>
                    <a:lnTo>
                      <a:pt x="315" y="223"/>
                    </a:lnTo>
                    <a:lnTo>
                      <a:pt x="354" y="263"/>
                    </a:lnTo>
                    <a:lnTo>
                      <a:pt x="331" y="286"/>
                    </a:lnTo>
                    <a:lnTo>
                      <a:pt x="291" y="246"/>
                    </a:lnTo>
                    <a:lnTo>
                      <a:pt x="275" y="263"/>
                    </a:lnTo>
                    <a:lnTo>
                      <a:pt x="314" y="303"/>
                    </a:lnTo>
                    <a:lnTo>
                      <a:pt x="291" y="324"/>
                    </a:lnTo>
                    <a:lnTo>
                      <a:pt x="262" y="295"/>
                    </a:lnTo>
                    <a:lnTo>
                      <a:pt x="224" y="414"/>
                    </a:lnTo>
                    <a:lnTo>
                      <a:pt x="175" y="364"/>
                    </a:lnTo>
                    <a:close/>
                  </a:path>
                </a:pathLst>
              </a:custGeom>
              <a:solidFill>
                <a:srgbClr val="B9B8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31" name="Freeform 630"/>
              <p:cNvSpPr>
                <a:spLocks noEditPoints="1"/>
              </p:cNvSpPr>
              <p:nvPr/>
            </p:nvSpPr>
            <p:spPr bwMode="auto">
              <a:xfrm>
                <a:off x="2594207" y="3676104"/>
                <a:ext cx="189768" cy="186124"/>
              </a:xfrm>
              <a:custGeom>
                <a:avLst/>
                <a:gdLst>
                  <a:gd name="T0" fmla="*/ 500 w 500"/>
                  <a:gd name="T1" fmla="*/ 183 h 497"/>
                  <a:gd name="T2" fmla="*/ 0 w 500"/>
                  <a:gd name="T3" fmla="*/ 312 h 497"/>
                  <a:gd name="T4" fmla="*/ 286 w 500"/>
                  <a:gd name="T5" fmla="*/ 96 h 497"/>
                  <a:gd name="T6" fmla="*/ 375 w 500"/>
                  <a:gd name="T7" fmla="*/ 242 h 497"/>
                  <a:gd name="T8" fmla="*/ 369 w 500"/>
                  <a:gd name="T9" fmla="*/ 240 h 497"/>
                  <a:gd name="T10" fmla="*/ 352 w 500"/>
                  <a:gd name="T11" fmla="*/ 237 h 497"/>
                  <a:gd name="T12" fmla="*/ 334 w 500"/>
                  <a:gd name="T13" fmla="*/ 239 h 497"/>
                  <a:gd name="T14" fmla="*/ 317 w 500"/>
                  <a:gd name="T15" fmla="*/ 246 h 497"/>
                  <a:gd name="T16" fmla="*/ 309 w 500"/>
                  <a:gd name="T17" fmla="*/ 251 h 497"/>
                  <a:gd name="T18" fmla="*/ 303 w 500"/>
                  <a:gd name="T19" fmla="*/ 260 h 497"/>
                  <a:gd name="T20" fmla="*/ 292 w 500"/>
                  <a:gd name="T21" fmla="*/ 318 h 497"/>
                  <a:gd name="T22" fmla="*/ 274 w 500"/>
                  <a:gd name="T23" fmla="*/ 299 h 497"/>
                  <a:gd name="T24" fmla="*/ 254 w 500"/>
                  <a:gd name="T25" fmla="*/ 321 h 497"/>
                  <a:gd name="T26" fmla="*/ 248 w 500"/>
                  <a:gd name="T27" fmla="*/ 327 h 497"/>
                  <a:gd name="T28" fmla="*/ 232 w 500"/>
                  <a:gd name="T29" fmla="*/ 337 h 497"/>
                  <a:gd name="T30" fmla="*/ 217 w 500"/>
                  <a:gd name="T31" fmla="*/ 343 h 497"/>
                  <a:gd name="T32" fmla="*/ 201 w 500"/>
                  <a:gd name="T33" fmla="*/ 347 h 497"/>
                  <a:gd name="T34" fmla="*/ 186 w 500"/>
                  <a:gd name="T35" fmla="*/ 347 h 497"/>
                  <a:gd name="T36" fmla="*/ 170 w 500"/>
                  <a:gd name="T37" fmla="*/ 343 h 497"/>
                  <a:gd name="T38" fmla="*/ 155 w 500"/>
                  <a:gd name="T39" fmla="*/ 337 h 497"/>
                  <a:gd name="T40" fmla="*/ 141 w 500"/>
                  <a:gd name="T41" fmla="*/ 326 h 497"/>
                  <a:gd name="T42" fmla="*/ 134 w 500"/>
                  <a:gd name="T43" fmla="*/ 320 h 497"/>
                  <a:gd name="T44" fmla="*/ 118 w 500"/>
                  <a:gd name="T45" fmla="*/ 299 h 497"/>
                  <a:gd name="T46" fmla="*/ 110 w 500"/>
                  <a:gd name="T47" fmla="*/ 283 h 497"/>
                  <a:gd name="T48" fmla="*/ 157 w 500"/>
                  <a:gd name="T49" fmla="*/ 251 h 497"/>
                  <a:gd name="T50" fmla="*/ 161 w 500"/>
                  <a:gd name="T51" fmla="*/ 263 h 497"/>
                  <a:gd name="T52" fmla="*/ 172 w 500"/>
                  <a:gd name="T53" fmla="*/ 277 h 497"/>
                  <a:gd name="T54" fmla="*/ 177 w 500"/>
                  <a:gd name="T55" fmla="*/ 282 h 497"/>
                  <a:gd name="T56" fmla="*/ 190 w 500"/>
                  <a:gd name="T57" fmla="*/ 287 h 497"/>
                  <a:gd name="T58" fmla="*/ 201 w 500"/>
                  <a:gd name="T59" fmla="*/ 285 h 497"/>
                  <a:gd name="T60" fmla="*/ 212 w 500"/>
                  <a:gd name="T61" fmla="*/ 280 h 497"/>
                  <a:gd name="T62" fmla="*/ 216 w 500"/>
                  <a:gd name="T63" fmla="*/ 276 h 497"/>
                  <a:gd name="T64" fmla="*/ 231 w 500"/>
                  <a:gd name="T65" fmla="*/ 257 h 497"/>
                  <a:gd name="T66" fmla="*/ 234 w 500"/>
                  <a:gd name="T67" fmla="*/ 189 h 497"/>
                  <a:gd name="T68" fmla="*/ 263 w 500"/>
                  <a:gd name="T69" fmla="*/ 219 h 497"/>
                  <a:gd name="T70" fmla="*/ 280 w 500"/>
                  <a:gd name="T71" fmla="*/ 207 h 497"/>
                  <a:gd name="T72" fmla="*/ 292 w 500"/>
                  <a:gd name="T73" fmla="*/ 203 h 497"/>
                  <a:gd name="T74" fmla="*/ 306 w 500"/>
                  <a:gd name="T75" fmla="*/ 202 h 497"/>
                  <a:gd name="T76" fmla="*/ 244 w 500"/>
                  <a:gd name="T77" fmla="*/ 13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00" h="497">
                    <a:moveTo>
                      <a:pt x="180" y="497"/>
                    </a:moveTo>
                    <a:lnTo>
                      <a:pt x="500" y="183"/>
                    </a:lnTo>
                    <a:lnTo>
                      <a:pt x="320" y="0"/>
                    </a:lnTo>
                    <a:lnTo>
                      <a:pt x="0" y="312"/>
                    </a:lnTo>
                    <a:lnTo>
                      <a:pt x="180" y="497"/>
                    </a:lnTo>
                    <a:close/>
                    <a:moveTo>
                      <a:pt x="286" y="96"/>
                    </a:moveTo>
                    <a:lnTo>
                      <a:pt x="403" y="216"/>
                    </a:lnTo>
                    <a:lnTo>
                      <a:pt x="375" y="242"/>
                    </a:lnTo>
                    <a:lnTo>
                      <a:pt x="375" y="242"/>
                    </a:lnTo>
                    <a:lnTo>
                      <a:pt x="369" y="240"/>
                    </a:lnTo>
                    <a:lnTo>
                      <a:pt x="361" y="239"/>
                    </a:lnTo>
                    <a:lnTo>
                      <a:pt x="352" y="237"/>
                    </a:lnTo>
                    <a:lnTo>
                      <a:pt x="344" y="237"/>
                    </a:lnTo>
                    <a:lnTo>
                      <a:pt x="334" y="239"/>
                    </a:lnTo>
                    <a:lnTo>
                      <a:pt x="325" y="242"/>
                    </a:lnTo>
                    <a:lnTo>
                      <a:pt x="317" y="246"/>
                    </a:lnTo>
                    <a:lnTo>
                      <a:pt x="309" y="251"/>
                    </a:lnTo>
                    <a:lnTo>
                      <a:pt x="309" y="251"/>
                    </a:lnTo>
                    <a:lnTo>
                      <a:pt x="306" y="256"/>
                    </a:lnTo>
                    <a:lnTo>
                      <a:pt x="303" y="260"/>
                    </a:lnTo>
                    <a:lnTo>
                      <a:pt x="326" y="284"/>
                    </a:lnTo>
                    <a:lnTo>
                      <a:pt x="292" y="318"/>
                    </a:lnTo>
                    <a:lnTo>
                      <a:pt x="274" y="299"/>
                    </a:lnTo>
                    <a:lnTo>
                      <a:pt x="274" y="299"/>
                    </a:lnTo>
                    <a:lnTo>
                      <a:pt x="264" y="310"/>
                    </a:lnTo>
                    <a:lnTo>
                      <a:pt x="254" y="321"/>
                    </a:lnTo>
                    <a:lnTo>
                      <a:pt x="254" y="321"/>
                    </a:lnTo>
                    <a:lnTo>
                      <a:pt x="248" y="327"/>
                    </a:lnTo>
                    <a:lnTo>
                      <a:pt x="240" y="332"/>
                    </a:lnTo>
                    <a:lnTo>
                      <a:pt x="232" y="337"/>
                    </a:lnTo>
                    <a:lnTo>
                      <a:pt x="225" y="341"/>
                    </a:lnTo>
                    <a:lnTo>
                      <a:pt x="217" y="343"/>
                    </a:lnTo>
                    <a:lnTo>
                      <a:pt x="210" y="345"/>
                    </a:lnTo>
                    <a:lnTo>
                      <a:pt x="201" y="347"/>
                    </a:lnTo>
                    <a:lnTo>
                      <a:pt x="194" y="348"/>
                    </a:lnTo>
                    <a:lnTo>
                      <a:pt x="186" y="347"/>
                    </a:lnTo>
                    <a:lnTo>
                      <a:pt x="178" y="345"/>
                    </a:lnTo>
                    <a:lnTo>
                      <a:pt x="170" y="343"/>
                    </a:lnTo>
                    <a:lnTo>
                      <a:pt x="162" y="340"/>
                    </a:lnTo>
                    <a:lnTo>
                      <a:pt x="155" y="337"/>
                    </a:lnTo>
                    <a:lnTo>
                      <a:pt x="147" y="331"/>
                    </a:lnTo>
                    <a:lnTo>
                      <a:pt x="141" y="326"/>
                    </a:lnTo>
                    <a:lnTo>
                      <a:pt x="134" y="320"/>
                    </a:lnTo>
                    <a:lnTo>
                      <a:pt x="134" y="320"/>
                    </a:lnTo>
                    <a:lnTo>
                      <a:pt x="124" y="309"/>
                    </a:lnTo>
                    <a:lnTo>
                      <a:pt x="118" y="299"/>
                    </a:lnTo>
                    <a:lnTo>
                      <a:pt x="114" y="290"/>
                    </a:lnTo>
                    <a:lnTo>
                      <a:pt x="110" y="283"/>
                    </a:lnTo>
                    <a:lnTo>
                      <a:pt x="157" y="251"/>
                    </a:lnTo>
                    <a:lnTo>
                      <a:pt x="157" y="251"/>
                    </a:lnTo>
                    <a:lnTo>
                      <a:pt x="158" y="257"/>
                    </a:lnTo>
                    <a:lnTo>
                      <a:pt x="161" y="263"/>
                    </a:lnTo>
                    <a:lnTo>
                      <a:pt x="166" y="270"/>
                    </a:lnTo>
                    <a:lnTo>
                      <a:pt x="172" y="277"/>
                    </a:lnTo>
                    <a:lnTo>
                      <a:pt x="172" y="277"/>
                    </a:lnTo>
                    <a:lnTo>
                      <a:pt x="177" y="282"/>
                    </a:lnTo>
                    <a:lnTo>
                      <a:pt x="184" y="285"/>
                    </a:lnTo>
                    <a:lnTo>
                      <a:pt x="190" y="287"/>
                    </a:lnTo>
                    <a:lnTo>
                      <a:pt x="196" y="287"/>
                    </a:lnTo>
                    <a:lnTo>
                      <a:pt x="201" y="285"/>
                    </a:lnTo>
                    <a:lnTo>
                      <a:pt x="207" y="283"/>
                    </a:lnTo>
                    <a:lnTo>
                      <a:pt x="212" y="280"/>
                    </a:lnTo>
                    <a:lnTo>
                      <a:pt x="216" y="276"/>
                    </a:lnTo>
                    <a:lnTo>
                      <a:pt x="216" y="276"/>
                    </a:lnTo>
                    <a:lnTo>
                      <a:pt x="224" y="267"/>
                    </a:lnTo>
                    <a:lnTo>
                      <a:pt x="231" y="257"/>
                    </a:lnTo>
                    <a:lnTo>
                      <a:pt x="198" y="222"/>
                    </a:lnTo>
                    <a:lnTo>
                      <a:pt x="234" y="189"/>
                    </a:lnTo>
                    <a:lnTo>
                      <a:pt x="263" y="219"/>
                    </a:lnTo>
                    <a:lnTo>
                      <a:pt x="263" y="219"/>
                    </a:lnTo>
                    <a:lnTo>
                      <a:pt x="271" y="213"/>
                    </a:lnTo>
                    <a:lnTo>
                      <a:pt x="280" y="207"/>
                    </a:lnTo>
                    <a:lnTo>
                      <a:pt x="280" y="207"/>
                    </a:lnTo>
                    <a:lnTo>
                      <a:pt x="292" y="203"/>
                    </a:lnTo>
                    <a:lnTo>
                      <a:pt x="299" y="202"/>
                    </a:lnTo>
                    <a:lnTo>
                      <a:pt x="306" y="202"/>
                    </a:lnTo>
                    <a:lnTo>
                      <a:pt x="307" y="201"/>
                    </a:lnTo>
                    <a:lnTo>
                      <a:pt x="244" y="137"/>
                    </a:lnTo>
                    <a:lnTo>
                      <a:pt x="286" y="96"/>
                    </a:lnTo>
                    <a:close/>
                  </a:path>
                </a:pathLst>
              </a:custGeom>
              <a:solidFill>
                <a:sysClr val="window" lastClr="FFFFFF">
                  <a:lumMod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sp>
          <p:nvSpPr>
            <p:cNvPr id="601" name="Freeform 600"/>
            <p:cNvSpPr>
              <a:spLocks/>
            </p:cNvSpPr>
            <p:nvPr/>
          </p:nvSpPr>
          <p:spPr bwMode="auto">
            <a:xfrm>
              <a:off x="6009863" y="742878"/>
              <a:ext cx="144502" cy="97860"/>
            </a:xfrm>
            <a:custGeom>
              <a:avLst/>
              <a:gdLst>
                <a:gd name="T0" fmla="*/ 334 w 334"/>
                <a:gd name="T1" fmla="*/ 232 h 232"/>
                <a:gd name="T2" fmla="*/ 282 w 334"/>
                <a:gd name="T3" fmla="*/ 127 h 232"/>
                <a:gd name="T4" fmla="*/ 231 w 334"/>
                <a:gd name="T5" fmla="*/ 23 h 232"/>
                <a:gd name="T6" fmla="*/ 175 w 334"/>
                <a:gd name="T7" fmla="*/ 106 h 232"/>
                <a:gd name="T8" fmla="*/ 18 w 334"/>
                <a:gd name="T9" fmla="*/ 0 h 232"/>
                <a:gd name="T10" fmla="*/ 0 w 334"/>
                <a:gd name="T11" fmla="*/ 28 h 232"/>
                <a:gd name="T12" fmla="*/ 156 w 334"/>
                <a:gd name="T13" fmla="*/ 134 h 232"/>
                <a:gd name="T14" fmla="*/ 101 w 334"/>
                <a:gd name="T15" fmla="*/ 216 h 232"/>
                <a:gd name="T16" fmla="*/ 217 w 334"/>
                <a:gd name="T17" fmla="*/ 225 h 232"/>
                <a:gd name="T18" fmla="*/ 334 w 334"/>
                <a:gd name="T19"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4" h="232">
                  <a:moveTo>
                    <a:pt x="334" y="232"/>
                  </a:moveTo>
                  <a:lnTo>
                    <a:pt x="282" y="127"/>
                  </a:lnTo>
                  <a:lnTo>
                    <a:pt x="231" y="23"/>
                  </a:lnTo>
                  <a:lnTo>
                    <a:pt x="175" y="106"/>
                  </a:lnTo>
                  <a:lnTo>
                    <a:pt x="18" y="0"/>
                  </a:lnTo>
                  <a:lnTo>
                    <a:pt x="0" y="28"/>
                  </a:lnTo>
                  <a:lnTo>
                    <a:pt x="156" y="134"/>
                  </a:lnTo>
                  <a:lnTo>
                    <a:pt x="101" y="216"/>
                  </a:lnTo>
                  <a:lnTo>
                    <a:pt x="217" y="225"/>
                  </a:lnTo>
                  <a:lnTo>
                    <a:pt x="334" y="232"/>
                  </a:lnTo>
                  <a:close/>
                </a:path>
              </a:pathLst>
            </a:custGeom>
            <a:solidFill>
              <a:srgbClr val="E5E8E8">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02" name="Freeform 601"/>
            <p:cNvSpPr>
              <a:spLocks noEditPoints="1"/>
            </p:cNvSpPr>
            <p:nvPr/>
          </p:nvSpPr>
          <p:spPr bwMode="auto">
            <a:xfrm>
              <a:off x="1914984" y="3397981"/>
              <a:ext cx="309599" cy="193709"/>
            </a:xfrm>
            <a:custGeom>
              <a:avLst/>
              <a:gdLst>
                <a:gd name="T0" fmla="*/ 394 w 464"/>
                <a:gd name="T1" fmla="*/ 141 h 295"/>
                <a:gd name="T2" fmla="*/ 416 w 464"/>
                <a:gd name="T3" fmla="*/ 137 h 295"/>
                <a:gd name="T4" fmla="*/ 434 w 464"/>
                <a:gd name="T5" fmla="*/ 128 h 295"/>
                <a:gd name="T6" fmla="*/ 456 w 464"/>
                <a:gd name="T7" fmla="*/ 104 h 295"/>
                <a:gd name="T8" fmla="*/ 463 w 464"/>
                <a:gd name="T9" fmla="*/ 84 h 295"/>
                <a:gd name="T10" fmla="*/ 464 w 464"/>
                <a:gd name="T11" fmla="*/ 70 h 295"/>
                <a:gd name="T12" fmla="*/ 461 w 464"/>
                <a:gd name="T13" fmla="*/ 50 h 295"/>
                <a:gd name="T14" fmla="*/ 453 w 464"/>
                <a:gd name="T15" fmla="*/ 32 h 295"/>
                <a:gd name="T16" fmla="*/ 428 w 464"/>
                <a:gd name="T17" fmla="*/ 9 h 295"/>
                <a:gd name="T18" fmla="*/ 408 w 464"/>
                <a:gd name="T19" fmla="*/ 1 h 295"/>
                <a:gd name="T20" fmla="*/ 373 w 464"/>
                <a:gd name="T21" fmla="*/ 0 h 295"/>
                <a:gd name="T22" fmla="*/ 29 w 464"/>
                <a:gd name="T23" fmla="*/ 87 h 295"/>
                <a:gd name="T24" fmla="*/ 34 w 464"/>
                <a:gd name="T25" fmla="*/ 124 h 295"/>
                <a:gd name="T26" fmla="*/ 53 w 464"/>
                <a:gd name="T27" fmla="*/ 175 h 295"/>
                <a:gd name="T28" fmla="*/ 88 w 464"/>
                <a:gd name="T29" fmla="*/ 216 h 295"/>
                <a:gd name="T30" fmla="*/ 23 w 464"/>
                <a:gd name="T31" fmla="*/ 216 h 295"/>
                <a:gd name="T32" fmla="*/ 9 w 464"/>
                <a:gd name="T33" fmla="*/ 225 h 295"/>
                <a:gd name="T34" fmla="*/ 0 w 464"/>
                <a:gd name="T35" fmla="*/ 239 h 295"/>
                <a:gd name="T36" fmla="*/ 0 w 464"/>
                <a:gd name="T37" fmla="*/ 251 h 295"/>
                <a:gd name="T38" fmla="*/ 9 w 464"/>
                <a:gd name="T39" fmla="*/ 265 h 295"/>
                <a:gd name="T40" fmla="*/ 23 w 464"/>
                <a:gd name="T41" fmla="*/ 273 h 295"/>
                <a:gd name="T42" fmla="*/ 80 w 464"/>
                <a:gd name="T43" fmla="*/ 273 h 295"/>
                <a:gd name="T44" fmla="*/ 84 w 464"/>
                <a:gd name="T45" fmla="*/ 285 h 295"/>
                <a:gd name="T46" fmla="*/ 95 w 464"/>
                <a:gd name="T47" fmla="*/ 293 h 295"/>
                <a:gd name="T48" fmla="*/ 297 w 464"/>
                <a:gd name="T49" fmla="*/ 295 h 295"/>
                <a:gd name="T50" fmla="*/ 306 w 464"/>
                <a:gd name="T51" fmla="*/ 293 h 295"/>
                <a:gd name="T52" fmla="*/ 316 w 464"/>
                <a:gd name="T53" fmla="*/ 285 h 295"/>
                <a:gd name="T54" fmla="*/ 321 w 464"/>
                <a:gd name="T55" fmla="*/ 273 h 295"/>
                <a:gd name="T56" fmla="*/ 378 w 464"/>
                <a:gd name="T57" fmla="*/ 273 h 295"/>
                <a:gd name="T58" fmla="*/ 392 w 464"/>
                <a:gd name="T59" fmla="*/ 265 h 295"/>
                <a:gd name="T60" fmla="*/ 401 w 464"/>
                <a:gd name="T61" fmla="*/ 251 h 295"/>
                <a:gd name="T62" fmla="*/ 401 w 464"/>
                <a:gd name="T63" fmla="*/ 239 h 295"/>
                <a:gd name="T64" fmla="*/ 392 w 464"/>
                <a:gd name="T65" fmla="*/ 225 h 295"/>
                <a:gd name="T66" fmla="*/ 378 w 464"/>
                <a:gd name="T67" fmla="*/ 216 h 295"/>
                <a:gd name="T68" fmla="*/ 313 w 464"/>
                <a:gd name="T69" fmla="*/ 216 h 295"/>
                <a:gd name="T70" fmla="*/ 337 w 464"/>
                <a:gd name="T71" fmla="*/ 191 h 295"/>
                <a:gd name="T72" fmla="*/ 355 w 464"/>
                <a:gd name="T73" fmla="*/ 161 h 295"/>
                <a:gd name="T74" fmla="*/ 364 w 464"/>
                <a:gd name="T75" fmla="*/ 141 h 295"/>
                <a:gd name="T76" fmla="*/ 394 w 464"/>
                <a:gd name="T77" fmla="*/ 36 h 295"/>
                <a:gd name="T78" fmla="*/ 408 w 464"/>
                <a:gd name="T79" fmla="*/ 38 h 295"/>
                <a:gd name="T80" fmla="*/ 423 w 464"/>
                <a:gd name="T81" fmla="*/ 51 h 295"/>
                <a:gd name="T82" fmla="*/ 430 w 464"/>
                <a:gd name="T83" fmla="*/ 70 h 295"/>
                <a:gd name="T84" fmla="*/ 427 w 464"/>
                <a:gd name="T85" fmla="*/ 83 h 295"/>
                <a:gd name="T86" fmla="*/ 414 w 464"/>
                <a:gd name="T87" fmla="*/ 100 h 295"/>
                <a:gd name="T88" fmla="*/ 394 w 464"/>
                <a:gd name="T89" fmla="*/ 105 h 295"/>
                <a:gd name="T90" fmla="*/ 373 w 464"/>
                <a:gd name="T91" fmla="*/ 87 h 295"/>
                <a:gd name="T92" fmla="*/ 189 w 464"/>
                <a:gd name="T93" fmla="*/ 190 h 295"/>
                <a:gd name="T94" fmla="*/ 163 w 464"/>
                <a:gd name="T95" fmla="*/ 179 h 295"/>
                <a:gd name="T96" fmla="*/ 146 w 464"/>
                <a:gd name="T97" fmla="*/ 158 h 295"/>
                <a:gd name="T98" fmla="*/ 143 w 464"/>
                <a:gd name="T99" fmla="*/ 94 h 295"/>
                <a:gd name="T100" fmla="*/ 146 w 464"/>
                <a:gd name="T101" fmla="*/ 75 h 295"/>
                <a:gd name="T102" fmla="*/ 163 w 464"/>
                <a:gd name="T103" fmla="*/ 52 h 295"/>
                <a:gd name="T104" fmla="*/ 189 w 464"/>
                <a:gd name="T105" fmla="*/ 42 h 295"/>
                <a:gd name="T106" fmla="*/ 258 w 464"/>
                <a:gd name="T107" fmla="*/ 138 h 295"/>
                <a:gd name="T108" fmla="*/ 250 w 464"/>
                <a:gd name="T109" fmla="*/ 167 h 295"/>
                <a:gd name="T110" fmla="*/ 228 w 464"/>
                <a:gd name="T111" fmla="*/ 186 h 295"/>
                <a:gd name="T112" fmla="*/ 208 w 464"/>
                <a:gd name="T113" fmla="*/ 42 h 295"/>
                <a:gd name="T114" fmla="*/ 228 w 464"/>
                <a:gd name="T115" fmla="*/ 47 h 295"/>
                <a:gd name="T116" fmla="*/ 250 w 464"/>
                <a:gd name="T117" fmla="*/ 66 h 295"/>
                <a:gd name="T118" fmla="*/ 258 w 464"/>
                <a:gd name="T119" fmla="*/ 94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4" h="295">
                  <a:moveTo>
                    <a:pt x="364" y="141"/>
                  </a:moveTo>
                  <a:lnTo>
                    <a:pt x="394" y="141"/>
                  </a:lnTo>
                  <a:lnTo>
                    <a:pt x="394" y="141"/>
                  </a:lnTo>
                  <a:lnTo>
                    <a:pt x="402" y="140"/>
                  </a:lnTo>
                  <a:lnTo>
                    <a:pt x="408" y="138"/>
                  </a:lnTo>
                  <a:lnTo>
                    <a:pt x="416" y="137"/>
                  </a:lnTo>
                  <a:lnTo>
                    <a:pt x="422" y="134"/>
                  </a:lnTo>
                  <a:lnTo>
                    <a:pt x="428" y="132"/>
                  </a:lnTo>
                  <a:lnTo>
                    <a:pt x="434" y="128"/>
                  </a:lnTo>
                  <a:lnTo>
                    <a:pt x="444" y="120"/>
                  </a:lnTo>
                  <a:lnTo>
                    <a:pt x="453" y="109"/>
                  </a:lnTo>
                  <a:lnTo>
                    <a:pt x="456" y="104"/>
                  </a:lnTo>
                  <a:lnTo>
                    <a:pt x="459" y="97"/>
                  </a:lnTo>
                  <a:lnTo>
                    <a:pt x="461" y="91"/>
                  </a:lnTo>
                  <a:lnTo>
                    <a:pt x="463" y="84"/>
                  </a:lnTo>
                  <a:lnTo>
                    <a:pt x="464" y="77"/>
                  </a:lnTo>
                  <a:lnTo>
                    <a:pt x="464" y="70"/>
                  </a:lnTo>
                  <a:lnTo>
                    <a:pt x="464" y="70"/>
                  </a:lnTo>
                  <a:lnTo>
                    <a:pt x="464" y="63"/>
                  </a:lnTo>
                  <a:lnTo>
                    <a:pt x="463" y="56"/>
                  </a:lnTo>
                  <a:lnTo>
                    <a:pt x="461" y="50"/>
                  </a:lnTo>
                  <a:lnTo>
                    <a:pt x="459" y="43"/>
                  </a:lnTo>
                  <a:lnTo>
                    <a:pt x="456" y="37"/>
                  </a:lnTo>
                  <a:lnTo>
                    <a:pt x="453" y="32"/>
                  </a:lnTo>
                  <a:lnTo>
                    <a:pt x="444" y="21"/>
                  </a:lnTo>
                  <a:lnTo>
                    <a:pt x="434" y="12"/>
                  </a:lnTo>
                  <a:lnTo>
                    <a:pt x="428" y="9"/>
                  </a:lnTo>
                  <a:lnTo>
                    <a:pt x="422" y="6"/>
                  </a:lnTo>
                  <a:lnTo>
                    <a:pt x="416" y="3"/>
                  </a:lnTo>
                  <a:lnTo>
                    <a:pt x="408" y="1"/>
                  </a:lnTo>
                  <a:lnTo>
                    <a:pt x="402" y="0"/>
                  </a:lnTo>
                  <a:lnTo>
                    <a:pt x="394" y="0"/>
                  </a:lnTo>
                  <a:lnTo>
                    <a:pt x="373" y="0"/>
                  </a:lnTo>
                  <a:lnTo>
                    <a:pt x="298" y="0"/>
                  </a:lnTo>
                  <a:lnTo>
                    <a:pt x="29" y="0"/>
                  </a:lnTo>
                  <a:lnTo>
                    <a:pt x="29" y="87"/>
                  </a:lnTo>
                  <a:lnTo>
                    <a:pt x="29" y="87"/>
                  </a:lnTo>
                  <a:lnTo>
                    <a:pt x="30" y="106"/>
                  </a:lnTo>
                  <a:lnTo>
                    <a:pt x="34" y="124"/>
                  </a:lnTo>
                  <a:lnTo>
                    <a:pt x="38" y="142"/>
                  </a:lnTo>
                  <a:lnTo>
                    <a:pt x="44" y="159"/>
                  </a:lnTo>
                  <a:lnTo>
                    <a:pt x="53" y="175"/>
                  </a:lnTo>
                  <a:lnTo>
                    <a:pt x="63" y="189"/>
                  </a:lnTo>
                  <a:lnTo>
                    <a:pt x="75" y="203"/>
                  </a:lnTo>
                  <a:lnTo>
                    <a:pt x="88" y="216"/>
                  </a:lnTo>
                  <a:lnTo>
                    <a:pt x="28" y="216"/>
                  </a:lnTo>
                  <a:lnTo>
                    <a:pt x="28" y="216"/>
                  </a:lnTo>
                  <a:lnTo>
                    <a:pt x="23" y="216"/>
                  </a:lnTo>
                  <a:lnTo>
                    <a:pt x="17" y="218"/>
                  </a:lnTo>
                  <a:lnTo>
                    <a:pt x="13" y="221"/>
                  </a:lnTo>
                  <a:lnTo>
                    <a:pt x="9" y="225"/>
                  </a:lnTo>
                  <a:lnTo>
                    <a:pt x="4" y="228"/>
                  </a:lnTo>
                  <a:lnTo>
                    <a:pt x="2" y="233"/>
                  </a:lnTo>
                  <a:lnTo>
                    <a:pt x="0" y="239"/>
                  </a:lnTo>
                  <a:lnTo>
                    <a:pt x="0" y="244"/>
                  </a:lnTo>
                  <a:lnTo>
                    <a:pt x="0" y="244"/>
                  </a:lnTo>
                  <a:lnTo>
                    <a:pt x="0" y="251"/>
                  </a:lnTo>
                  <a:lnTo>
                    <a:pt x="2" y="256"/>
                  </a:lnTo>
                  <a:lnTo>
                    <a:pt x="4" y="260"/>
                  </a:lnTo>
                  <a:lnTo>
                    <a:pt x="9" y="265"/>
                  </a:lnTo>
                  <a:lnTo>
                    <a:pt x="13" y="269"/>
                  </a:lnTo>
                  <a:lnTo>
                    <a:pt x="17" y="271"/>
                  </a:lnTo>
                  <a:lnTo>
                    <a:pt x="23" y="273"/>
                  </a:lnTo>
                  <a:lnTo>
                    <a:pt x="28" y="273"/>
                  </a:lnTo>
                  <a:lnTo>
                    <a:pt x="80" y="273"/>
                  </a:lnTo>
                  <a:lnTo>
                    <a:pt x="80" y="273"/>
                  </a:lnTo>
                  <a:lnTo>
                    <a:pt x="81" y="278"/>
                  </a:lnTo>
                  <a:lnTo>
                    <a:pt x="82" y="282"/>
                  </a:lnTo>
                  <a:lnTo>
                    <a:pt x="84" y="285"/>
                  </a:lnTo>
                  <a:lnTo>
                    <a:pt x="88" y="289"/>
                  </a:lnTo>
                  <a:lnTo>
                    <a:pt x="91" y="291"/>
                  </a:lnTo>
                  <a:lnTo>
                    <a:pt x="95" y="293"/>
                  </a:lnTo>
                  <a:lnTo>
                    <a:pt x="99" y="294"/>
                  </a:lnTo>
                  <a:lnTo>
                    <a:pt x="104" y="295"/>
                  </a:lnTo>
                  <a:lnTo>
                    <a:pt x="297" y="295"/>
                  </a:lnTo>
                  <a:lnTo>
                    <a:pt x="297" y="295"/>
                  </a:lnTo>
                  <a:lnTo>
                    <a:pt x="301" y="294"/>
                  </a:lnTo>
                  <a:lnTo>
                    <a:pt x="306" y="293"/>
                  </a:lnTo>
                  <a:lnTo>
                    <a:pt x="310" y="291"/>
                  </a:lnTo>
                  <a:lnTo>
                    <a:pt x="313" y="289"/>
                  </a:lnTo>
                  <a:lnTo>
                    <a:pt x="316" y="285"/>
                  </a:lnTo>
                  <a:lnTo>
                    <a:pt x="319" y="282"/>
                  </a:lnTo>
                  <a:lnTo>
                    <a:pt x="320" y="278"/>
                  </a:lnTo>
                  <a:lnTo>
                    <a:pt x="321" y="273"/>
                  </a:lnTo>
                  <a:lnTo>
                    <a:pt x="372" y="273"/>
                  </a:lnTo>
                  <a:lnTo>
                    <a:pt x="372" y="273"/>
                  </a:lnTo>
                  <a:lnTo>
                    <a:pt x="378" y="273"/>
                  </a:lnTo>
                  <a:lnTo>
                    <a:pt x="383" y="271"/>
                  </a:lnTo>
                  <a:lnTo>
                    <a:pt x="388" y="269"/>
                  </a:lnTo>
                  <a:lnTo>
                    <a:pt x="392" y="265"/>
                  </a:lnTo>
                  <a:lnTo>
                    <a:pt x="396" y="260"/>
                  </a:lnTo>
                  <a:lnTo>
                    <a:pt x="399" y="256"/>
                  </a:lnTo>
                  <a:lnTo>
                    <a:pt x="401" y="251"/>
                  </a:lnTo>
                  <a:lnTo>
                    <a:pt x="401" y="244"/>
                  </a:lnTo>
                  <a:lnTo>
                    <a:pt x="401" y="244"/>
                  </a:lnTo>
                  <a:lnTo>
                    <a:pt x="401" y="239"/>
                  </a:lnTo>
                  <a:lnTo>
                    <a:pt x="399" y="233"/>
                  </a:lnTo>
                  <a:lnTo>
                    <a:pt x="396" y="228"/>
                  </a:lnTo>
                  <a:lnTo>
                    <a:pt x="392" y="225"/>
                  </a:lnTo>
                  <a:lnTo>
                    <a:pt x="388" y="221"/>
                  </a:lnTo>
                  <a:lnTo>
                    <a:pt x="383" y="218"/>
                  </a:lnTo>
                  <a:lnTo>
                    <a:pt x="378" y="216"/>
                  </a:lnTo>
                  <a:lnTo>
                    <a:pt x="372" y="216"/>
                  </a:lnTo>
                  <a:lnTo>
                    <a:pt x="313" y="216"/>
                  </a:lnTo>
                  <a:lnTo>
                    <a:pt x="313" y="216"/>
                  </a:lnTo>
                  <a:lnTo>
                    <a:pt x="322" y="208"/>
                  </a:lnTo>
                  <a:lnTo>
                    <a:pt x="329" y="200"/>
                  </a:lnTo>
                  <a:lnTo>
                    <a:pt x="337" y="191"/>
                  </a:lnTo>
                  <a:lnTo>
                    <a:pt x="343" y="182"/>
                  </a:lnTo>
                  <a:lnTo>
                    <a:pt x="350" y="172"/>
                  </a:lnTo>
                  <a:lnTo>
                    <a:pt x="355" y="161"/>
                  </a:lnTo>
                  <a:lnTo>
                    <a:pt x="360" y="151"/>
                  </a:lnTo>
                  <a:lnTo>
                    <a:pt x="364" y="141"/>
                  </a:lnTo>
                  <a:lnTo>
                    <a:pt x="364" y="141"/>
                  </a:lnTo>
                  <a:close/>
                  <a:moveTo>
                    <a:pt x="373" y="87"/>
                  </a:moveTo>
                  <a:lnTo>
                    <a:pt x="373" y="36"/>
                  </a:lnTo>
                  <a:lnTo>
                    <a:pt x="394" y="36"/>
                  </a:lnTo>
                  <a:lnTo>
                    <a:pt x="394" y="36"/>
                  </a:lnTo>
                  <a:lnTo>
                    <a:pt x="402" y="36"/>
                  </a:lnTo>
                  <a:lnTo>
                    <a:pt x="408" y="38"/>
                  </a:lnTo>
                  <a:lnTo>
                    <a:pt x="414" y="41"/>
                  </a:lnTo>
                  <a:lnTo>
                    <a:pt x="419" y="46"/>
                  </a:lnTo>
                  <a:lnTo>
                    <a:pt x="423" y="51"/>
                  </a:lnTo>
                  <a:lnTo>
                    <a:pt x="427" y="56"/>
                  </a:lnTo>
                  <a:lnTo>
                    <a:pt x="429" y="63"/>
                  </a:lnTo>
                  <a:lnTo>
                    <a:pt x="430" y="70"/>
                  </a:lnTo>
                  <a:lnTo>
                    <a:pt x="430" y="70"/>
                  </a:lnTo>
                  <a:lnTo>
                    <a:pt x="429" y="77"/>
                  </a:lnTo>
                  <a:lnTo>
                    <a:pt x="427" y="83"/>
                  </a:lnTo>
                  <a:lnTo>
                    <a:pt x="423" y="90"/>
                  </a:lnTo>
                  <a:lnTo>
                    <a:pt x="419" y="95"/>
                  </a:lnTo>
                  <a:lnTo>
                    <a:pt x="414" y="100"/>
                  </a:lnTo>
                  <a:lnTo>
                    <a:pt x="408" y="102"/>
                  </a:lnTo>
                  <a:lnTo>
                    <a:pt x="402" y="104"/>
                  </a:lnTo>
                  <a:lnTo>
                    <a:pt x="394" y="105"/>
                  </a:lnTo>
                  <a:lnTo>
                    <a:pt x="372" y="105"/>
                  </a:lnTo>
                  <a:lnTo>
                    <a:pt x="372" y="105"/>
                  </a:lnTo>
                  <a:lnTo>
                    <a:pt x="373" y="87"/>
                  </a:lnTo>
                  <a:lnTo>
                    <a:pt x="373" y="87"/>
                  </a:lnTo>
                  <a:close/>
                  <a:moveTo>
                    <a:pt x="189" y="190"/>
                  </a:moveTo>
                  <a:lnTo>
                    <a:pt x="189" y="190"/>
                  </a:lnTo>
                  <a:lnTo>
                    <a:pt x="179" y="188"/>
                  </a:lnTo>
                  <a:lnTo>
                    <a:pt x="171" y="185"/>
                  </a:lnTo>
                  <a:lnTo>
                    <a:pt x="163" y="179"/>
                  </a:lnTo>
                  <a:lnTo>
                    <a:pt x="156" y="174"/>
                  </a:lnTo>
                  <a:lnTo>
                    <a:pt x="150" y="167"/>
                  </a:lnTo>
                  <a:lnTo>
                    <a:pt x="146" y="158"/>
                  </a:lnTo>
                  <a:lnTo>
                    <a:pt x="144" y="148"/>
                  </a:lnTo>
                  <a:lnTo>
                    <a:pt x="143" y="138"/>
                  </a:lnTo>
                  <a:lnTo>
                    <a:pt x="143" y="94"/>
                  </a:lnTo>
                  <a:lnTo>
                    <a:pt x="143" y="94"/>
                  </a:lnTo>
                  <a:lnTo>
                    <a:pt x="144" y="84"/>
                  </a:lnTo>
                  <a:lnTo>
                    <a:pt x="146" y="75"/>
                  </a:lnTo>
                  <a:lnTo>
                    <a:pt x="150" y="66"/>
                  </a:lnTo>
                  <a:lnTo>
                    <a:pt x="156" y="59"/>
                  </a:lnTo>
                  <a:lnTo>
                    <a:pt x="163" y="52"/>
                  </a:lnTo>
                  <a:lnTo>
                    <a:pt x="171" y="48"/>
                  </a:lnTo>
                  <a:lnTo>
                    <a:pt x="179" y="44"/>
                  </a:lnTo>
                  <a:lnTo>
                    <a:pt x="189" y="42"/>
                  </a:lnTo>
                  <a:lnTo>
                    <a:pt x="189" y="190"/>
                  </a:lnTo>
                  <a:close/>
                  <a:moveTo>
                    <a:pt x="258" y="138"/>
                  </a:moveTo>
                  <a:lnTo>
                    <a:pt x="258" y="138"/>
                  </a:lnTo>
                  <a:lnTo>
                    <a:pt x="257" y="149"/>
                  </a:lnTo>
                  <a:lnTo>
                    <a:pt x="254" y="158"/>
                  </a:lnTo>
                  <a:lnTo>
                    <a:pt x="250" y="167"/>
                  </a:lnTo>
                  <a:lnTo>
                    <a:pt x="243" y="174"/>
                  </a:lnTo>
                  <a:lnTo>
                    <a:pt x="237" y="181"/>
                  </a:lnTo>
                  <a:lnTo>
                    <a:pt x="228" y="186"/>
                  </a:lnTo>
                  <a:lnTo>
                    <a:pt x="218" y="189"/>
                  </a:lnTo>
                  <a:lnTo>
                    <a:pt x="208" y="190"/>
                  </a:lnTo>
                  <a:lnTo>
                    <a:pt x="208" y="42"/>
                  </a:lnTo>
                  <a:lnTo>
                    <a:pt x="208" y="42"/>
                  </a:lnTo>
                  <a:lnTo>
                    <a:pt x="218" y="43"/>
                  </a:lnTo>
                  <a:lnTo>
                    <a:pt x="228" y="47"/>
                  </a:lnTo>
                  <a:lnTo>
                    <a:pt x="237" y="52"/>
                  </a:lnTo>
                  <a:lnTo>
                    <a:pt x="243" y="59"/>
                  </a:lnTo>
                  <a:lnTo>
                    <a:pt x="250" y="66"/>
                  </a:lnTo>
                  <a:lnTo>
                    <a:pt x="254" y="74"/>
                  </a:lnTo>
                  <a:lnTo>
                    <a:pt x="257" y="83"/>
                  </a:lnTo>
                  <a:lnTo>
                    <a:pt x="258" y="94"/>
                  </a:lnTo>
                  <a:lnTo>
                    <a:pt x="258" y="138"/>
                  </a:lnTo>
                  <a:close/>
                </a:path>
              </a:pathLst>
            </a:custGeom>
            <a:solidFill>
              <a:sysClr val="window" lastClr="FFFFFF">
                <a:lumMod val="85000"/>
              </a:sysClr>
            </a:solidFill>
            <a:ln>
              <a:noFill/>
            </a:ln>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03" name="Freeform 602"/>
            <p:cNvSpPr>
              <a:spLocks noEditPoints="1"/>
            </p:cNvSpPr>
            <p:nvPr/>
          </p:nvSpPr>
          <p:spPr bwMode="auto">
            <a:xfrm>
              <a:off x="2251490" y="3152088"/>
              <a:ext cx="314015" cy="307985"/>
            </a:xfrm>
            <a:custGeom>
              <a:avLst/>
              <a:gdLst>
                <a:gd name="T0" fmla="*/ 189 w 426"/>
                <a:gd name="T1" fmla="*/ 0 h 427"/>
                <a:gd name="T2" fmla="*/ 111 w 426"/>
                <a:gd name="T3" fmla="*/ 25 h 427"/>
                <a:gd name="T4" fmla="*/ 48 w 426"/>
                <a:gd name="T5" fmla="*/ 76 h 427"/>
                <a:gd name="T6" fmla="*/ 9 w 426"/>
                <a:gd name="T7" fmla="*/ 148 h 427"/>
                <a:gd name="T8" fmla="*/ 0 w 426"/>
                <a:gd name="T9" fmla="*/ 213 h 427"/>
                <a:gd name="T10" fmla="*/ 18 w 426"/>
                <a:gd name="T11" fmla="*/ 295 h 427"/>
                <a:gd name="T12" fmla="*/ 64 w 426"/>
                <a:gd name="T13" fmla="*/ 363 h 427"/>
                <a:gd name="T14" fmla="*/ 132 w 426"/>
                <a:gd name="T15" fmla="*/ 409 h 427"/>
                <a:gd name="T16" fmla="*/ 195 w 426"/>
                <a:gd name="T17" fmla="*/ 426 h 427"/>
                <a:gd name="T18" fmla="*/ 279 w 426"/>
                <a:gd name="T19" fmla="*/ 417 h 427"/>
                <a:gd name="T20" fmla="*/ 350 w 426"/>
                <a:gd name="T21" fmla="*/ 379 h 427"/>
                <a:gd name="T22" fmla="*/ 401 w 426"/>
                <a:gd name="T23" fmla="*/ 316 h 427"/>
                <a:gd name="T24" fmla="*/ 425 w 426"/>
                <a:gd name="T25" fmla="*/ 235 h 427"/>
                <a:gd name="T26" fmla="*/ 422 w 426"/>
                <a:gd name="T27" fmla="*/ 172 h 427"/>
                <a:gd name="T28" fmla="*/ 389 w 426"/>
                <a:gd name="T29" fmla="*/ 95 h 427"/>
                <a:gd name="T30" fmla="*/ 331 w 426"/>
                <a:gd name="T31" fmla="*/ 37 h 427"/>
                <a:gd name="T32" fmla="*/ 253 w 426"/>
                <a:gd name="T33" fmla="*/ 4 h 427"/>
                <a:gd name="T34" fmla="*/ 255 w 426"/>
                <a:gd name="T35" fmla="*/ 41 h 427"/>
                <a:gd name="T36" fmla="*/ 306 w 426"/>
                <a:gd name="T37" fmla="*/ 64 h 427"/>
                <a:gd name="T38" fmla="*/ 359 w 426"/>
                <a:gd name="T39" fmla="*/ 115 h 427"/>
                <a:gd name="T40" fmla="*/ 266 w 426"/>
                <a:gd name="T41" fmla="*/ 173 h 427"/>
                <a:gd name="T42" fmla="*/ 239 w 426"/>
                <a:gd name="T43" fmla="*/ 151 h 427"/>
                <a:gd name="T44" fmla="*/ 38 w 426"/>
                <a:gd name="T45" fmla="*/ 183 h 427"/>
                <a:gd name="T46" fmla="*/ 51 w 426"/>
                <a:gd name="T47" fmla="*/ 139 h 427"/>
                <a:gd name="T48" fmla="*/ 97 w 426"/>
                <a:gd name="T49" fmla="*/ 136 h 427"/>
                <a:gd name="T50" fmla="*/ 147 w 426"/>
                <a:gd name="T51" fmla="*/ 206 h 427"/>
                <a:gd name="T52" fmla="*/ 80 w 426"/>
                <a:gd name="T53" fmla="*/ 252 h 427"/>
                <a:gd name="T54" fmla="*/ 38 w 426"/>
                <a:gd name="T55" fmla="*/ 231 h 427"/>
                <a:gd name="T56" fmla="*/ 176 w 426"/>
                <a:gd name="T57" fmla="*/ 347 h 427"/>
                <a:gd name="T58" fmla="*/ 137 w 426"/>
                <a:gd name="T59" fmla="*/ 372 h 427"/>
                <a:gd name="T60" fmla="*/ 79 w 426"/>
                <a:gd name="T61" fmla="*/ 326 h 427"/>
                <a:gd name="T62" fmla="*/ 160 w 426"/>
                <a:gd name="T63" fmla="*/ 253 h 427"/>
                <a:gd name="T64" fmla="*/ 180 w 426"/>
                <a:gd name="T65" fmla="*/ 270 h 427"/>
                <a:gd name="T66" fmla="*/ 116 w 426"/>
                <a:gd name="T67" fmla="*/ 111 h 427"/>
                <a:gd name="T68" fmla="*/ 115 w 426"/>
                <a:gd name="T69" fmla="*/ 64 h 427"/>
                <a:gd name="T70" fmla="*/ 185 w 426"/>
                <a:gd name="T71" fmla="*/ 38 h 427"/>
                <a:gd name="T72" fmla="*/ 208 w 426"/>
                <a:gd name="T73" fmla="*/ 146 h 427"/>
                <a:gd name="T74" fmla="*/ 181 w 426"/>
                <a:gd name="T75" fmla="*/ 154 h 427"/>
                <a:gd name="T76" fmla="*/ 209 w 426"/>
                <a:gd name="T77" fmla="*/ 352 h 427"/>
                <a:gd name="T78" fmla="*/ 238 w 426"/>
                <a:gd name="T79" fmla="*/ 275 h 427"/>
                <a:gd name="T80" fmla="*/ 340 w 426"/>
                <a:gd name="T81" fmla="*/ 339 h 427"/>
                <a:gd name="T82" fmla="*/ 295 w 426"/>
                <a:gd name="T83" fmla="*/ 372 h 427"/>
                <a:gd name="T84" fmla="*/ 223 w 426"/>
                <a:gd name="T85" fmla="*/ 390 h 427"/>
                <a:gd name="T86" fmla="*/ 389 w 426"/>
                <a:gd name="T87" fmla="*/ 231 h 427"/>
                <a:gd name="T88" fmla="*/ 380 w 426"/>
                <a:gd name="T89" fmla="*/ 275 h 427"/>
                <a:gd name="T90" fmla="*/ 360 w 426"/>
                <a:gd name="T91" fmla="*/ 314 h 427"/>
                <a:gd name="T92" fmla="*/ 278 w 426"/>
                <a:gd name="T93" fmla="*/ 232 h 427"/>
                <a:gd name="T94" fmla="*/ 279 w 426"/>
                <a:gd name="T95" fmla="*/ 202 h 427"/>
                <a:gd name="T96" fmla="*/ 386 w 426"/>
                <a:gd name="T97" fmla="*/ 176 h 427"/>
                <a:gd name="T98" fmla="*/ 389 w 426"/>
                <a:gd name="T99" fmla="*/ 231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6" h="427">
                  <a:moveTo>
                    <a:pt x="233" y="1"/>
                  </a:moveTo>
                  <a:lnTo>
                    <a:pt x="233" y="1"/>
                  </a:lnTo>
                  <a:lnTo>
                    <a:pt x="210" y="0"/>
                  </a:lnTo>
                  <a:lnTo>
                    <a:pt x="189" y="0"/>
                  </a:lnTo>
                  <a:lnTo>
                    <a:pt x="168" y="3"/>
                  </a:lnTo>
                  <a:lnTo>
                    <a:pt x="148" y="9"/>
                  </a:lnTo>
                  <a:lnTo>
                    <a:pt x="129" y="15"/>
                  </a:lnTo>
                  <a:lnTo>
                    <a:pt x="111" y="25"/>
                  </a:lnTo>
                  <a:lnTo>
                    <a:pt x="93" y="35"/>
                  </a:lnTo>
                  <a:lnTo>
                    <a:pt x="77" y="46"/>
                  </a:lnTo>
                  <a:lnTo>
                    <a:pt x="62" y="61"/>
                  </a:lnTo>
                  <a:lnTo>
                    <a:pt x="48" y="76"/>
                  </a:lnTo>
                  <a:lnTo>
                    <a:pt x="36" y="92"/>
                  </a:lnTo>
                  <a:lnTo>
                    <a:pt x="25" y="109"/>
                  </a:lnTo>
                  <a:lnTo>
                    <a:pt x="17" y="129"/>
                  </a:lnTo>
                  <a:lnTo>
                    <a:pt x="9" y="148"/>
                  </a:lnTo>
                  <a:lnTo>
                    <a:pt x="5" y="169"/>
                  </a:lnTo>
                  <a:lnTo>
                    <a:pt x="2" y="190"/>
                  </a:lnTo>
                  <a:lnTo>
                    <a:pt x="2" y="190"/>
                  </a:lnTo>
                  <a:lnTo>
                    <a:pt x="0" y="213"/>
                  </a:lnTo>
                  <a:lnTo>
                    <a:pt x="2" y="233"/>
                  </a:lnTo>
                  <a:lnTo>
                    <a:pt x="6" y="255"/>
                  </a:lnTo>
                  <a:lnTo>
                    <a:pt x="11" y="275"/>
                  </a:lnTo>
                  <a:lnTo>
                    <a:pt x="18" y="295"/>
                  </a:lnTo>
                  <a:lnTo>
                    <a:pt x="27" y="313"/>
                  </a:lnTo>
                  <a:lnTo>
                    <a:pt x="38" y="331"/>
                  </a:lnTo>
                  <a:lnTo>
                    <a:pt x="50" y="347"/>
                  </a:lnTo>
                  <a:lnTo>
                    <a:pt x="64" y="363"/>
                  </a:lnTo>
                  <a:lnTo>
                    <a:pt x="79" y="377"/>
                  </a:lnTo>
                  <a:lnTo>
                    <a:pt x="95" y="389"/>
                  </a:lnTo>
                  <a:lnTo>
                    <a:pt x="114" y="400"/>
                  </a:lnTo>
                  <a:lnTo>
                    <a:pt x="132" y="409"/>
                  </a:lnTo>
                  <a:lnTo>
                    <a:pt x="153" y="417"/>
                  </a:lnTo>
                  <a:lnTo>
                    <a:pt x="173" y="422"/>
                  </a:lnTo>
                  <a:lnTo>
                    <a:pt x="195" y="426"/>
                  </a:lnTo>
                  <a:lnTo>
                    <a:pt x="195" y="426"/>
                  </a:lnTo>
                  <a:lnTo>
                    <a:pt x="216" y="427"/>
                  </a:lnTo>
                  <a:lnTo>
                    <a:pt x="238" y="426"/>
                  </a:lnTo>
                  <a:lnTo>
                    <a:pt x="259" y="422"/>
                  </a:lnTo>
                  <a:lnTo>
                    <a:pt x="279" y="417"/>
                  </a:lnTo>
                  <a:lnTo>
                    <a:pt x="297" y="410"/>
                  </a:lnTo>
                  <a:lnTo>
                    <a:pt x="316" y="402"/>
                  </a:lnTo>
                  <a:lnTo>
                    <a:pt x="334" y="391"/>
                  </a:lnTo>
                  <a:lnTo>
                    <a:pt x="350" y="379"/>
                  </a:lnTo>
                  <a:lnTo>
                    <a:pt x="365" y="365"/>
                  </a:lnTo>
                  <a:lnTo>
                    <a:pt x="378" y="350"/>
                  </a:lnTo>
                  <a:lnTo>
                    <a:pt x="390" y="334"/>
                  </a:lnTo>
                  <a:lnTo>
                    <a:pt x="401" y="316"/>
                  </a:lnTo>
                  <a:lnTo>
                    <a:pt x="410" y="298"/>
                  </a:lnTo>
                  <a:lnTo>
                    <a:pt x="417" y="278"/>
                  </a:lnTo>
                  <a:lnTo>
                    <a:pt x="423" y="257"/>
                  </a:lnTo>
                  <a:lnTo>
                    <a:pt x="425" y="235"/>
                  </a:lnTo>
                  <a:lnTo>
                    <a:pt x="425" y="235"/>
                  </a:lnTo>
                  <a:lnTo>
                    <a:pt x="426" y="214"/>
                  </a:lnTo>
                  <a:lnTo>
                    <a:pt x="425" y="192"/>
                  </a:lnTo>
                  <a:lnTo>
                    <a:pt x="422" y="172"/>
                  </a:lnTo>
                  <a:lnTo>
                    <a:pt x="416" y="151"/>
                  </a:lnTo>
                  <a:lnTo>
                    <a:pt x="409" y="132"/>
                  </a:lnTo>
                  <a:lnTo>
                    <a:pt x="400" y="113"/>
                  </a:lnTo>
                  <a:lnTo>
                    <a:pt x="389" y="95"/>
                  </a:lnTo>
                  <a:lnTo>
                    <a:pt x="376" y="79"/>
                  </a:lnTo>
                  <a:lnTo>
                    <a:pt x="362" y="64"/>
                  </a:lnTo>
                  <a:lnTo>
                    <a:pt x="347" y="50"/>
                  </a:lnTo>
                  <a:lnTo>
                    <a:pt x="331" y="37"/>
                  </a:lnTo>
                  <a:lnTo>
                    <a:pt x="314" y="26"/>
                  </a:lnTo>
                  <a:lnTo>
                    <a:pt x="294" y="17"/>
                  </a:lnTo>
                  <a:lnTo>
                    <a:pt x="275" y="10"/>
                  </a:lnTo>
                  <a:lnTo>
                    <a:pt x="253" y="4"/>
                  </a:lnTo>
                  <a:lnTo>
                    <a:pt x="233" y="1"/>
                  </a:lnTo>
                  <a:lnTo>
                    <a:pt x="233" y="1"/>
                  </a:lnTo>
                  <a:close/>
                  <a:moveTo>
                    <a:pt x="250" y="79"/>
                  </a:moveTo>
                  <a:lnTo>
                    <a:pt x="255" y="41"/>
                  </a:lnTo>
                  <a:lnTo>
                    <a:pt x="255" y="41"/>
                  </a:lnTo>
                  <a:lnTo>
                    <a:pt x="274" y="48"/>
                  </a:lnTo>
                  <a:lnTo>
                    <a:pt x="290" y="55"/>
                  </a:lnTo>
                  <a:lnTo>
                    <a:pt x="306" y="64"/>
                  </a:lnTo>
                  <a:lnTo>
                    <a:pt x="321" y="75"/>
                  </a:lnTo>
                  <a:lnTo>
                    <a:pt x="335" y="86"/>
                  </a:lnTo>
                  <a:lnTo>
                    <a:pt x="347" y="99"/>
                  </a:lnTo>
                  <a:lnTo>
                    <a:pt x="359" y="115"/>
                  </a:lnTo>
                  <a:lnTo>
                    <a:pt x="368" y="130"/>
                  </a:lnTo>
                  <a:lnTo>
                    <a:pt x="333" y="145"/>
                  </a:lnTo>
                  <a:lnTo>
                    <a:pt x="266" y="173"/>
                  </a:lnTo>
                  <a:lnTo>
                    <a:pt x="266" y="173"/>
                  </a:lnTo>
                  <a:lnTo>
                    <a:pt x="261" y="166"/>
                  </a:lnTo>
                  <a:lnTo>
                    <a:pt x="254" y="161"/>
                  </a:lnTo>
                  <a:lnTo>
                    <a:pt x="247" y="156"/>
                  </a:lnTo>
                  <a:lnTo>
                    <a:pt x="239" y="151"/>
                  </a:lnTo>
                  <a:lnTo>
                    <a:pt x="250" y="79"/>
                  </a:lnTo>
                  <a:close/>
                  <a:moveTo>
                    <a:pt x="37" y="194"/>
                  </a:moveTo>
                  <a:lnTo>
                    <a:pt x="37" y="194"/>
                  </a:lnTo>
                  <a:lnTo>
                    <a:pt x="38" y="183"/>
                  </a:lnTo>
                  <a:lnTo>
                    <a:pt x="40" y="172"/>
                  </a:lnTo>
                  <a:lnTo>
                    <a:pt x="44" y="161"/>
                  </a:lnTo>
                  <a:lnTo>
                    <a:pt x="47" y="150"/>
                  </a:lnTo>
                  <a:lnTo>
                    <a:pt x="51" y="139"/>
                  </a:lnTo>
                  <a:lnTo>
                    <a:pt x="56" y="130"/>
                  </a:lnTo>
                  <a:lnTo>
                    <a:pt x="61" y="120"/>
                  </a:lnTo>
                  <a:lnTo>
                    <a:pt x="66" y="111"/>
                  </a:lnTo>
                  <a:lnTo>
                    <a:pt x="97" y="136"/>
                  </a:lnTo>
                  <a:lnTo>
                    <a:pt x="153" y="184"/>
                  </a:lnTo>
                  <a:lnTo>
                    <a:pt x="153" y="184"/>
                  </a:lnTo>
                  <a:lnTo>
                    <a:pt x="149" y="194"/>
                  </a:lnTo>
                  <a:lnTo>
                    <a:pt x="147" y="206"/>
                  </a:lnTo>
                  <a:lnTo>
                    <a:pt x="147" y="206"/>
                  </a:lnTo>
                  <a:lnTo>
                    <a:pt x="146" y="215"/>
                  </a:lnTo>
                  <a:lnTo>
                    <a:pt x="147" y="224"/>
                  </a:lnTo>
                  <a:lnTo>
                    <a:pt x="80" y="252"/>
                  </a:lnTo>
                  <a:lnTo>
                    <a:pt x="46" y="267"/>
                  </a:lnTo>
                  <a:lnTo>
                    <a:pt x="46" y="267"/>
                  </a:lnTo>
                  <a:lnTo>
                    <a:pt x="41" y="250"/>
                  </a:lnTo>
                  <a:lnTo>
                    <a:pt x="38" y="231"/>
                  </a:lnTo>
                  <a:lnTo>
                    <a:pt x="36" y="213"/>
                  </a:lnTo>
                  <a:lnTo>
                    <a:pt x="37" y="194"/>
                  </a:lnTo>
                  <a:lnTo>
                    <a:pt x="37" y="194"/>
                  </a:lnTo>
                  <a:close/>
                  <a:moveTo>
                    <a:pt x="176" y="347"/>
                  </a:moveTo>
                  <a:lnTo>
                    <a:pt x="171" y="385"/>
                  </a:lnTo>
                  <a:lnTo>
                    <a:pt x="171" y="385"/>
                  </a:lnTo>
                  <a:lnTo>
                    <a:pt x="154" y="379"/>
                  </a:lnTo>
                  <a:lnTo>
                    <a:pt x="137" y="372"/>
                  </a:lnTo>
                  <a:lnTo>
                    <a:pt x="120" y="362"/>
                  </a:lnTo>
                  <a:lnTo>
                    <a:pt x="105" y="352"/>
                  </a:lnTo>
                  <a:lnTo>
                    <a:pt x="91" y="339"/>
                  </a:lnTo>
                  <a:lnTo>
                    <a:pt x="79" y="326"/>
                  </a:lnTo>
                  <a:lnTo>
                    <a:pt x="68" y="312"/>
                  </a:lnTo>
                  <a:lnTo>
                    <a:pt x="59" y="296"/>
                  </a:lnTo>
                  <a:lnTo>
                    <a:pt x="93" y="282"/>
                  </a:lnTo>
                  <a:lnTo>
                    <a:pt x="160" y="253"/>
                  </a:lnTo>
                  <a:lnTo>
                    <a:pt x="160" y="253"/>
                  </a:lnTo>
                  <a:lnTo>
                    <a:pt x="167" y="259"/>
                  </a:lnTo>
                  <a:lnTo>
                    <a:pt x="173" y="266"/>
                  </a:lnTo>
                  <a:lnTo>
                    <a:pt x="180" y="270"/>
                  </a:lnTo>
                  <a:lnTo>
                    <a:pt x="188" y="274"/>
                  </a:lnTo>
                  <a:lnTo>
                    <a:pt x="176" y="347"/>
                  </a:lnTo>
                  <a:close/>
                  <a:moveTo>
                    <a:pt x="173" y="159"/>
                  </a:moveTo>
                  <a:lnTo>
                    <a:pt x="116" y="111"/>
                  </a:lnTo>
                  <a:lnTo>
                    <a:pt x="87" y="86"/>
                  </a:lnTo>
                  <a:lnTo>
                    <a:pt x="87" y="86"/>
                  </a:lnTo>
                  <a:lnTo>
                    <a:pt x="101" y="75"/>
                  </a:lnTo>
                  <a:lnTo>
                    <a:pt x="115" y="64"/>
                  </a:lnTo>
                  <a:lnTo>
                    <a:pt x="131" y="54"/>
                  </a:lnTo>
                  <a:lnTo>
                    <a:pt x="148" y="46"/>
                  </a:lnTo>
                  <a:lnTo>
                    <a:pt x="167" y="41"/>
                  </a:lnTo>
                  <a:lnTo>
                    <a:pt x="185" y="38"/>
                  </a:lnTo>
                  <a:lnTo>
                    <a:pt x="205" y="36"/>
                  </a:lnTo>
                  <a:lnTo>
                    <a:pt x="224" y="36"/>
                  </a:lnTo>
                  <a:lnTo>
                    <a:pt x="219" y="73"/>
                  </a:lnTo>
                  <a:lnTo>
                    <a:pt x="208" y="146"/>
                  </a:lnTo>
                  <a:lnTo>
                    <a:pt x="208" y="146"/>
                  </a:lnTo>
                  <a:lnTo>
                    <a:pt x="198" y="148"/>
                  </a:lnTo>
                  <a:lnTo>
                    <a:pt x="189" y="150"/>
                  </a:lnTo>
                  <a:lnTo>
                    <a:pt x="181" y="154"/>
                  </a:lnTo>
                  <a:lnTo>
                    <a:pt x="173" y="159"/>
                  </a:lnTo>
                  <a:lnTo>
                    <a:pt x="173" y="159"/>
                  </a:lnTo>
                  <a:close/>
                  <a:moveTo>
                    <a:pt x="202" y="390"/>
                  </a:moveTo>
                  <a:lnTo>
                    <a:pt x="209" y="352"/>
                  </a:lnTo>
                  <a:lnTo>
                    <a:pt x="220" y="280"/>
                  </a:lnTo>
                  <a:lnTo>
                    <a:pt x="220" y="280"/>
                  </a:lnTo>
                  <a:lnTo>
                    <a:pt x="228" y="279"/>
                  </a:lnTo>
                  <a:lnTo>
                    <a:pt x="238" y="275"/>
                  </a:lnTo>
                  <a:lnTo>
                    <a:pt x="246" y="272"/>
                  </a:lnTo>
                  <a:lnTo>
                    <a:pt x="253" y="267"/>
                  </a:lnTo>
                  <a:lnTo>
                    <a:pt x="310" y="314"/>
                  </a:lnTo>
                  <a:lnTo>
                    <a:pt x="340" y="339"/>
                  </a:lnTo>
                  <a:lnTo>
                    <a:pt x="340" y="339"/>
                  </a:lnTo>
                  <a:lnTo>
                    <a:pt x="327" y="351"/>
                  </a:lnTo>
                  <a:lnTo>
                    <a:pt x="311" y="363"/>
                  </a:lnTo>
                  <a:lnTo>
                    <a:pt x="295" y="372"/>
                  </a:lnTo>
                  <a:lnTo>
                    <a:pt x="278" y="379"/>
                  </a:lnTo>
                  <a:lnTo>
                    <a:pt x="261" y="385"/>
                  </a:lnTo>
                  <a:lnTo>
                    <a:pt x="241" y="389"/>
                  </a:lnTo>
                  <a:lnTo>
                    <a:pt x="223" y="390"/>
                  </a:lnTo>
                  <a:lnTo>
                    <a:pt x="202" y="390"/>
                  </a:lnTo>
                  <a:lnTo>
                    <a:pt x="202" y="390"/>
                  </a:lnTo>
                  <a:close/>
                  <a:moveTo>
                    <a:pt x="389" y="231"/>
                  </a:moveTo>
                  <a:lnTo>
                    <a:pt x="389" y="231"/>
                  </a:lnTo>
                  <a:lnTo>
                    <a:pt x="388" y="243"/>
                  </a:lnTo>
                  <a:lnTo>
                    <a:pt x="386" y="254"/>
                  </a:lnTo>
                  <a:lnTo>
                    <a:pt x="383" y="266"/>
                  </a:lnTo>
                  <a:lnTo>
                    <a:pt x="380" y="275"/>
                  </a:lnTo>
                  <a:lnTo>
                    <a:pt x="375" y="286"/>
                  </a:lnTo>
                  <a:lnTo>
                    <a:pt x="371" y="296"/>
                  </a:lnTo>
                  <a:lnTo>
                    <a:pt x="365" y="306"/>
                  </a:lnTo>
                  <a:lnTo>
                    <a:pt x="360" y="314"/>
                  </a:lnTo>
                  <a:lnTo>
                    <a:pt x="331" y="291"/>
                  </a:lnTo>
                  <a:lnTo>
                    <a:pt x="274" y="243"/>
                  </a:lnTo>
                  <a:lnTo>
                    <a:pt x="274" y="243"/>
                  </a:lnTo>
                  <a:lnTo>
                    <a:pt x="278" y="232"/>
                  </a:lnTo>
                  <a:lnTo>
                    <a:pt x="280" y="220"/>
                  </a:lnTo>
                  <a:lnTo>
                    <a:pt x="280" y="220"/>
                  </a:lnTo>
                  <a:lnTo>
                    <a:pt x="280" y="211"/>
                  </a:lnTo>
                  <a:lnTo>
                    <a:pt x="279" y="202"/>
                  </a:lnTo>
                  <a:lnTo>
                    <a:pt x="346" y="174"/>
                  </a:lnTo>
                  <a:lnTo>
                    <a:pt x="381" y="159"/>
                  </a:lnTo>
                  <a:lnTo>
                    <a:pt x="381" y="159"/>
                  </a:lnTo>
                  <a:lnTo>
                    <a:pt x="386" y="176"/>
                  </a:lnTo>
                  <a:lnTo>
                    <a:pt x="389" y="194"/>
                  </a:lnTo>
                  <a:lnTo>
                    <a:pt x="390" y="213"/>
                  </a:lnTo>
                  <a:lnTo>
                    <a:pt x="389" y="231"/>
                  </a:lnTo>
                  <a:lnTo>
                    <a:pt x="389" y="231"/>
                  </a:lnTo>
                  <a:close/>
                </a:path>
              </a:pathLst>
            </a:custGeom>
            <a:solidFill>
              <a:sysClr val="windowText" lastClr="000000">
                <a:lumMod val="65000"/>
                <a:lumOff val="3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04" name="Freeform 603"/>
            <p:cNvSpPr>
              <a:spLocks/>
            </p:cNvSpPr>
            <p:nvPr/>
          </p:nvSpPr>
          <p:spPr bwMode="auto">
            <a:xfrm>
              <a:off x="6590037" y="2375973"/>
              <a:ext cx="186579" cy="215291"/>
            </a:xfrm>
            <a:custGeom>
              <a:avLst/>
              <a:gdLst>
                <a:gd name="T0" fmla="*/ 29 w 340"/>
                <a:gd name="T1" fmla="*/ 137 h 400"/>
                <a:gd name="T2" fmla="*/ 110 w 340"/>
                <a:gd name="T3" fmla="*/ 110 h 400"/>
                <a:gd name="T4" fmla="*/ 82 w 340"/>
                <a:gd name="T5" fmla="*/ 29 h 400"/>
                <a:gd name="T6" fmla="*/ 110 w 340"/>
                <a:gd name="T7" fmla="*/ 0 h 400"/>
                <a:gd name="T8" fmla="*/ 170 w 340"/>
                <a:gd name="T9" fmla="*/ 0 h 400"/>
                <a:gd name="T10" fmla="*/ 170 w 340"/>
                <a:gd name="T11" fmla="*/ 54 h 400"/>
                <a:gd name="T12" fmla="*/ 199 w 340"/>
                <a:gd name="T13" fmla="*/ 112 h 400"/>
                <a:gd name="T14" fmla="*/ 228 w 340"/>
                <a:gd name="T15" fmla="*/ 141 h 400"/>
                <a:gd name="T16" fmla="*/ 258 w 340"/>
                <a:gd name="T17" fmla="*/ 170 h 400"/>
                <a:gd name="T18" fmla="*/ 340 w 340"/>
                <a:gd name="T19" fmla="*/ 368 h 400"/>
                <a:gd name="T20" fmla="*/ 228 w 340"/>
                <a:gd name="T21" fmla="*/ 368 h 400"/>
                <a:gd name="T22" fmla="*/ 310 w 340"/>
                <a:gd name="T23" fmla="*/ 334 h 400"/>
                <a:gd name="T24" fmla="*/ 258 w 340"/>
                <a:gd name="T25" fmla="*/ 202 h 400"/>
                <a:gd name="T26" fmla="*/ 228 w 340"/>
                <a:gd name="T27" fmla="*/ 170 h 400"/>
                <a:gd name="T28" fmla="*/ 199 w 340"/>
                <a:gd name="T29" fmla="*/ 141 h 400"/>
                <a:gd name="T30" fmla="*/ 169 w 340"/>
                <a:gd name="T31" fmla="*/ 112 h 400"/>
                <a:gd name="T32" fmla="*/ 139 w 340"/>
                <a:gd name="T33" fmla="*/ 82 h 400"/>
                <a:gd name="T34" fmla="*/ 110 w 340"/>
                <a:gd name="T35" fmla="*/ 29 h 400"/>
                <a:gd name="T36" fmla="*/ 139 w 340"/>
                <a:gd name="T37" fmla="*/ 110 h 400"/>
                <a:gd name="T38" fmla="*/ 139 w 340"/>
                <a:gd name="T39" fmla="*/ 167 h 400"/>
                <a:gd name="T40" fmla="*/ 29 w 340"/>
                <a:gd name="T41" fmla="*/ 167 h 400"/>
                <a:gd name="T42" fmla="*/ 82 w 340"/>
                <a:gd name="T43" fmla="*/ 200 h 400"/>
                <a:gd name="T44" fmla="*/ 29 w 340"/>
                <a:gd name="T45" fmla="*/ 230 h 400"/>
                <a:gd name="T46" fmla="*/ 82 w 340"/>
                <a:gd name="T47" fmla="*/ 253 h 400"/>
                <a:gd name="T48" fmla="*/ 29 w 340"/>
                <a:gd name="T49" fmla="*/ 284 h 400"/>
                <a:gd name="T50" fmla="*/ 82 w 340"/>
                <a:gd name="T51" fmla="*/ 307 h 400"/>
                <a:gd name="T52" fmla="*/ 29 w 340"/>
                <a:gd name="T53" fmla="*/ 338 h 400"/>
                <a:gd name="T54" fmla="*/ 228 w 340"/>
                <a:gd name="T55" fmla="*/ 368 h 400"/>
                <a:gd name="T56" fmla="*/ 29 w 340"/>
                <a:gd name="T57" fmla="*/ 400 h 400"/>
                <a:gd name="T58" fmla="*/ 0 w 340"/>
                <a:gd name="T59" fmla="*/ 368 h 400"/>
                <a:gd name="T60" fmla="*/ 0 w 340"/>
                <a:gd name="T61" fmla="*/ 307 h 400"/>
                <a:gd name="T62" fmla="*/ 0 w 340"/>
                <a:gd name="T63" fmla="*/ 253 h 400"/>
                <a:gd name="T64" fmla="*/ 0 w 340"/>
                <a:gd name="T65" fmla="*/ 200 h 400"/>
                <a:gd name="T66" fmla="*/ 29 w 340"/>
                <a:gd name="T67" fmla="*/ 167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0" h="400">
                  <a:moveTo>
                    <a:pt x="29" y="167"/>
                  </a:moveTo>
                  <a:lnTo>
                    <a:pt x="29" y="137"/>
                  </a:lnTo>
                  <a:lnTo>
                    <a:pt x="110" y="137"/>
                  </a:lnTo>
                  <a:lnTo>
                    <a:pt x="110" y="110"/>
                  </a:lnTo>
                  <a:lnTo>
                    <a:pt x="82" y="110"/>
                  </a:lnTo>
                  <a:lnTo>
                    <a:pt x="82" y="29"/>
                  </a:lnTo>
                  <a:lnTo>
                    <a:pt x="110" y="29"/>
                  </a:lnTo>
                  <a:lnTo>
                    <a:pt x="110" y="0"/>
                  </a:lnTo>
                  <a:lnTo>
                    <a:pt x="139" y="0"/>
                  </a:lnTo>
                  <a:lnTo>
                    <a:pt x="170" y="0"/>
                  </a:lnTo>
                  <a:lnTo>
                    <a:pt x="170" y="29"/>
                  </a:lnTo>
                  <a:lnTo>
                    <a:pt x="170" y="54"/>
                  </a:lnTo>
                  <a:lnTo>
                    <a:pt x="199" y="54"/>
                  </a:lnTo>
                  <a:lnTo>
                    <a:pt x="199" y="112"/>
                  </a:lnTo>
                  <a:lnTo>
                    <a:pt x="228" y="112"/>
                  </a:lnTo>
                  <a:lnTo>
                    <a:pt x="228" y="141"/>
                  </a:lnTo>
                  <a:lnTo>
                    <a:pt x="258" y="141"/>
                  </a:lnTo>
                  <a:lnTo>
                    <a:pt x="258" y="170"/>
                  </a:lnTo>
                  <a:lnTo>
                    <a:pt x="340" y="170"/>
                  </a:lnTo>
                  <a:lnTo>
                    <a:pt x="340" y="368"/>
                  </a:lnTo>
                  <a:lnTo>
                    <a:pt x="340" y="368"/>
                  </a:lnTo>
                  <a:lnTo>
                    <a:pt x="228" y="368"/>
                  </a:lnTo>
                  <a:lnTo>
                    <a:pt x="228" y="334"/>
                  </a:lnTo>
                  <a:lnTo>
                    <a:pt x="310" y="334"/>
                  </a:lnTo>
                  <a:lnTo>
                    <a:pt x="310" y="202"/>
                  </a:lnTo>
                  <a:lnTo>
                    <a:pt x="258" y="202"/>
                  </a:lnTo>
                  <a:lnTo>
                    <a:pt x="258" y="170"/>
                  </a:lnTo>
                  <a:lnTo>
                    <a:pt x="228" y="170"/>
                  </a:lnTo>
                  <a:lnTo>
                    <a:pt x="228" y="141"/>
                  </a:lnTo>
                  <a:lnTo>
                    <a:pt x="199" y="141"/>
                  </a:lnTo>
                  <a:lnTo>
                    <a:pt x="199" y="112"/>
                  </a:lnTo>
                  <a:lnTo>
                    <a:pt x="169" y="112"/>
                  </a:lnTo>
                  <a:lnTo>
                    <a:pt x="169" y="82"/>
                  </a:lnTo>
                  <a:lnTo>
                    <a:pt x="139" y="82"/>
                  </a:lnTo>
                  <a:lnTo>
                    <a:pt x="139" y="29"/>
                  </a:lnTo>
                  <a:lnTo>
                    <a:pt x="110" y="29"/>
                  </a:lnTo>
                  <a:lnTo>
                    <a:pt x="110" y="110"/>
                  </a:lnTo>
                  <a:lnTo>
                    <a:pt x="139" y="110"/>
                  </a:lnTo>
                  <a:lnTo>
                    <a:pt x="139" y="137"/>
                  </a:lnTo>
                  <a:lnTo>
                    <a:pt x="139" y="167"/>
                  </a:lnTo>
                  <a:lnTo>
                    <a:pt x="110" y="167"/>
                  </a:lnTo>
                  <a:lnTo>
                    <a:pt x="29" y="167"/>
                  </a:lnTo>
                  <a:lnTo>
                    <a:pt x="29" y="200"/>
                  </a:lnTo>
                  <a:lnTo>
                    <a:pt x="82" y="200"/>
                  </a:lnTo>
                  <a:lnTo>
                    <a:pt x="82" y="230"/>
                  </a:lnTo>
                  <a:lnTo>
                    <a:pt x="29" y="230"/>
                  </a:lnTo>
                  <a:lnTo>
                    <a:pt x="29" y="253"/>
                  </a:lnTo>
                  <a:lnTo>
                    <a:pt x="82" y="253"/>
                  </a:lnTo>
                  <a:lnTo>
                    <a:pt x="82" y="284"/>
                  </a:lnTo>
                  <a:lnTo>
                    <a:pt x="29" y="284"/>
                  </a:lnTo>
                  <a:lnTo>
                    <a:pt x="29" y="307"/>
                  </a:lnTo>
                  <a:lnTo>
                    <a:pt x="82" y="307"/>
                  </a:lnTo>
                  <a:lnTo>
                    <a:pt x="82" y="338"/>
                  </a:lnTo>
                  <a:lnTo>
                    <a:pt x="29" y="338"/>
                  </a:lnTo>
                  <a:lnTo>
                    <a:pt x="29" y="368"/>
                  </a:lnTo>
                  <a:lnTo>
                    <a:pt x="228" y="368"/>
                  </a:lnTo>
                  <a:lnTo>
                    <a:pt x="228" y="400"/>
                  </a:lnTo>
                  <a:lnTo>
                    <a:pt x="29" y="400"/>
                  </a:lnTo>
                  <a:lnTo>
                    <a:pt x="29" y="368"/>
                  </a:lnTo>
                  <a:lnTo>
                    <a:pt x="0" y="368"/>
                  </a:lnTo>
                  <a:lnTo>
                    <a:pt x="0" y="338"/>
                  </a:lnTo>
                  <a:lnTo>
                    <a:pt x="0" y="307"/>
                  </a:lnTo>
                  <a:lnTo>
                    <a:pt x="0" y="284"/>
                  </a:lnTo>
                  <a:lnTo>
                    <a:pt x="0" y="253"/>
                  </a:lnTo>
                  <a:lnTo>
                    <a:pt x="0" y="230"/>
                  </a:lnTo>
                  <a:lnTo>
                    <a:pt x="0" y="200"/>
                  </a:lnTo>
                  <a:lnTo>
                    <a:pt x="0" y="167"/>
                  </a:lnTo>
                  <a:lnTo>
                    <a:pt x="29" y="167"/>
                  </a:lnTo>
                  <a:close/>
                </a:path>
              </a:pathLst>
            </a:custGeom>
            <a:solidFill>
              <a:srgbClr val="E5E8E8">
                <a:lumMod val="9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05" name="Freeform 604"/>
            <p:cNvSpPr>
              <a:spLocks noEditPoints="1"/>
            </p:cNvSpPr>
            <p:nvPr/>
          </p:nvSpPr>
          <p:spPr bwMode="auto">
            <a:xfrm>
              <a:off x="6472428" y="4122145"/>
              <a:ext cx="192890" cy="148196"/>
            </a:xfrm>
            <a:custGeom>
              <a:avLst/>
              <a:gdLst>
                <a:gd name="T0" fmla="*/ 102 w 240"/>
                <a:gd name="T1" fmla="*/ 69 h 189"/>
                <a:gd name="T2" fmla="*/ 88 w 240"/>
                <a:gd name="T3" fmla="*/ 99 h 189"/>
                <a:gd name="T4" fmla="*/ 62 w 240"/>
                <a:gd name="T5" fmla="*/ 113 h 189"/>
                <a:gd name="T6" fmla="*/ 43 w 240"/>
                <a:gd name="T7" fmla="*/ 114 h 189"/>
                <a:gd name="T8" fmla="*/ 16 w 240"/>
                <a:gd name="T9" fmla="*/ 101 h 189"/>
                <a:gd name="T10" fmla="*/ 2 w 240"/>
                <a:gd name="T11" fmla="*/ 74 h 189"/>
                <a:gd name="T12" fmla="*/ 1 w 240"/>
                <a:gd name="T13" fmla="*/ 51 h 189"/>
                <a:gd name="T14" fmla="*/ 13 w 240"/>
                <a:gd name="T15" fmla="*/ 22 h 189"/>
                <a:gd name="T16" fmla="*/ 40 w 240"/>
                <a:gd name="T17" fmla="*/ 5 h 189"/>
                <a:gd name="T18" fmla="*/ 62 w 240"/>
                <a:gd name="T19" fmla="*/ 4 h 189"/>
                <a:gd name="T20" fmla="*/ 88 w 240"/>
                <a:gd name="T21" fmla="*/ 18 h 189"/>
                <a:gd name="T22" fmla="*/ 101 w 240"/>
                <a:gd name="T23" fmla="*/ 44 h 189"/>
                <a:gd name="T24" fmla="*/ 32 w 240"/>
                <a:gd name="T25" fmla="*/ 60 h 189"/>
                <a:gd name="T26" fmla="*/ 34 w 240"/>
                <a:gd name="T27" fmla="*/ 73 h 189"/>
                <a:gd name="T28" fmla="*/ 41 w 240"/>
                <a:gd name="T29" fmla="*/ 86 h 189"/>
                <a:gd name="T30" fmla="*/ 53 w 240"/>
                <a:gd name="T31" fmla="*/ 92 h 189"/>
                <a:gd name="T32" fmla="*/ 61 w 240"/>
                <a:gd name="T33" fmla="*/ 90 h 189"/>
                <a:gd name="T34" fmla="*/ 69 w 240"/>
                <a:gd name="T35" fmla="*/ 78 h 189"/>
                <a:gd name="T36" fmla="*/ 70 w 240"/>
                <a:gd name="T37" fmla="*/ 58 h 189"/>
                <a:gd name="T38" fmla="*/ 65 w 240"/>
                <a:gd name="T39" fmla="*/ 36 h 189"/>
                <a:gd name="T40" fmla="*/ 55 w 240"/>
                <a:gd name="T41" fmla="*/ 28 h 189"/>
                <a:gd name="T42" fmla="*/ 46 w 240"/>
                <a:gd name="T43" fmla="*/ 28 h 189"/>
                <a:gd name="T44" fmla="*/ 36 w 240"/>
                <a:gd name="T45" fmla="*/ 37 h 189"/>
                <a:gd name="T46" fmla="*/ 32 w 240"/>
                <a:gd name="T47" fmla="*/ 60 h 189"/>
                <a:gd name="T48" fmla="*/ 158 w 240"/>
                <a:gd name="T49" fmla="*/ 1 h 189"/>
                <a:gd name="T50" fmla="*/ 58 w 240"/>
                <a:gd name="T51" fmla="*/ 189 h 189"/>
                <a:gd name="T52" fmla="*/ 239 w 240"/>
                <a:gd name="T53" fmla="*/ 139 h 189"/>
                <a:gd name="T54" fmla="*/ 225 w 240"/>
                <a:gd name="T55" fmla="*/ 168 h 189"/>
                <a:gd name="T56" fmla="*/ 200 w 240"/>
                <a:gd name="T57" fmla="*/ 184 h 189"/>
                <a:gd name="T58" fmla="*/ 180 w 240"/>
                <a:gd name="T59" fmla="*/ 184 h 189"/>
                <a:gd name="T60" fmla="*/ 154 w 240"/>
                <a:gd name="T61" fmla="*/ 172 h 189"/>
                <a:gd name="T62" fmla="*/ 139 w 240"/>
                <a:gd name="T63" fmla="*/ 144 h 189"/>
                <a:gd name="T64" fmla="*/ 138 w 240"/>
                <a:gd name="T65" fmla="*/ 121 h 189"/>
                <a:gd name="T66" fmla="*/ 150 w 240"/>
                <a:gd name="T67" fmla="*/ 92 h 189"/>
                <a:gd name="T68" fmla="*/ 177 w 240"/>
                <a:gd name="T69" fmla="*/ 76 h 189"/>
                <a:gd name="T70" fmla="*/ 199 w 240"/>
                <a:gd name="T71" fmla="*/ 74 h 189"/>
                <a:gd name="T72" fmla="*/ 225 w 240"/>
                <a:gd name="T73" fmla="*/ 87 h 189"/>
                <a:gd name="T74" fmla="*/ 239 w 240"/>
                <a:gd name="T75" fmla="*/ 114 h 189"/>
                <a:gd name="T76" fmla="*/ 170 w 240"/>
                <a:gd name="T77" fmla="*/ 130 h 189"/>
                <a:gd name="T78" fmla="*/ 171 w 240"/>
                <a:gd name="T79" fmla="*/ 142 h 189"/>
                <a:gd name="T80" fmla="*/ 179 w 240"/>
                <a:gd name="T81" fmla="*/ 157 h 189"/>
                <a:gd name="T82" fmla="*/ 191 w 240"/>
                <a:gd name="T83" fmla="*/ 162 h 189"/>
                <a:gd name="T84" fmla="*/ 198 w 240"/>
                <a:gd name="T85" fmla="*/ 159 h 189"/>
                <a:gd name="T86" fmla="*/ 206 w 240"/>
                <a:gd name="T87" fmla="*/ 148 h 189"/>
                <a:gd name="T88" fmla="*/ 208 w 240"/>
                <a:gd name="T89" fmla="*/ 128 h 189"/>
                <a:gd name="T90" fmla="*/ 203 w 240"/>
                <a:gd name="T91" fmla="*/ 106 h 189"/>
                <a:gd name="T92" fmla="*/ 193 w 240"/>
                <a:gd name="T93" fmla="*/ 97 h 189"/>
                <a:gd name="T94" fmla="*/ 183 w 240"/>
                <a:gd name="T95" fmla="*/ 98 h 189"/>
                <a:gd name="T96" fmla="*/ 173 w 240"/>
                <a:gd name="T97" fmla="*/ 107 h 189"/>
                <a:gd name="T98" fmla="*/ 170 w 240"/>
                <a:gd name="T99" fmla="*/ 13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0" h="189">
                  <a:moveTo>
                    <a:pt x="102" y="56"/>
                  </a:moveTo>
                  <a:lnTo>
                    <a:pt x="102" y="56"/>
                  </a:lnTo>
                  <a:lnTo>
                    <a:pt x="102" y="69"/>
                  </a:lnTo>
                  <a:lnTo>
                    <a:pt x="99" y="81"/>
                  </a:lnTo>
                  <a:lnTo>
                    <a:pt x="95" y="91"/>
                  </a:lnTo>
                  <a:lnTo>
                    <a:pt x="88" y="99"/>
                  </a:lnTo>
                  <a:lnTo>
                    <a:pt x="81" y="106"/>
                  </a:lnTo>
                  <a:lnTo>
                    <a:pt x="72" y="110"/>
                  </a:lnTo>
                  <a:lnTo>
                    <a:pt x="62" y="113"/>
                  </a:lnTo>
                  <a:lnTo>
                    <a:pt x="53" y="114"/>
                  </a:lnTo>
                  <a:lnTo>
                    <a:pt x="53" y="114"/>
                  </a:lnTo>
                  <a:lnTo>
                    <a:pt x="43" y="114"/>
                  </a:lnTo>
                  <a:lnTo>
                    <a:pt x="33" y="111"/>
                  </a:lnTo>
                  <a:lnTo>
                    <a:pt x="23" y="107"/>
                  </a:lnTo>
                  <a:lnTo>
                    <a:pt x="16" y="101"/>
                  </a:lnTo>
                  <a:lnTo>
                    <a:pt x="9" y="94"/>
                  </a:lnTo>
                  <a:lnTo>
                    <a:pt x="5" y="84"/>
                  </a:lnTo>
                  <a:lnTo>
                    <a:pt x="2" y="74"/>
                  </a:lnTo>
                  <a:lnTo>
                    <a:pt x="0" y="63"/>
                  </a:lnTo>
                  <a:lnTo>
                    <a:pt x="0" y="63"/>
                  </a:lnTo>
                  <a:lnTo>
                    <a:pt x="1" y="51"/>
                  </a:lnTo>
                  <a:lnTo>
                    <a:pt x="3" y="40"/>
                  </a:lnTo>
                  <a:lnTo>
                    <a:pt x="7" y="30"/>
                  </a:lnTo>
                  <a:lnTo>
                    <a:pt x="13" y="22"/>
                  </a:lnTo>
                  <a:lnTo>
                    <a:pt x="20" y="15"/>
                  </a:lnTo>
                  <a:lnTo>
                    <a:pt x="29" y="10"/>
                  </a:lnTo>
                  <a:lnTo>
                    <a:pt x="40" y="5"/>
                  </a:lnTo>
                  <a:lnTo>
                    <a:pt x="50" y="4"/>
                  </a:lnTo>
                  <a:lnTo>
                    <a:pt x="50" y="4"/>
                  </a:lnTo>
                  <a:lnTo>
                    <a:pt x="62" y="4"/>
                  </a:lnTo>
                  <a:lnTo>
                    <a:pt x="72" y="7"/>
                  </a:lnTo>
                  <a:lnTo>
                    <a:pt x="81" y="12"/>
                  </a:lnTo>
                  <a:lnTo>
                    <a:pt x="88" y="18"/>
                  </a:lnTo>
                  <a:lnTo>
                    <a:pt x="95" y="26"/>
                  </a:lnTo>
                  <a:lnTo>
                    <a:pt x="99" y="34"/>
                  </a:lnTo>
                  <a:lnTo>
                    <a:pt x="101" y="44"/>
                  </a:lnTo>
                  <a:lnTo>
                    <a:pt x="102" y="56"/>
                  </a:lnTo>
                  <a:lnTo>
                    <a:pt x="102" y="56"/>
                  </a:lnTo>
                  <a:close/>
                  <a:moveTo>
                    <a:pt x="32" y="60"/>
                  </a:moveTo>
                  <a:lnTo>
                    <a:pt x="32" y="60"/>
                  </a:lnTo>
                  <a:lnTo>
                    <a:pt x="33" y="67"/>
                  </a:lnTo>
                  <a:lnTo>
                    <a:pt x="34" y="73"/>
                  </a:lnTo>
                  <a:lnTo>
                    <a:pt x="36" y="79"/>
                  </a:lnTo>
                  <a:lnTo>
                    <a:pt x="38" y="83"/>
                  </a:lnTo>
                  <a:lnTo>
                    <a:pt x="41" y="86"/>
                  </a:lnTo>
                  <a:lnTo>
                    <a:pt x="44" y="90"/>
                  </a:lnTo>
                  <a:lnTo>
                    <a:pt x="48" y="91"/>
                  </a:lnTo>
                  <a:lnTo>
                    <a:pt x="53" y="92"/>
                  </a:lnTo>
                  <a:lnTo>
                    <a:pt x="53" y="92"/>
                  </a:lnTo>
                  <a:lnTo>
                    <a:pt x="57" y="91"/>
                  </a:lnTo>
                  <a:lnTo>
                    <a:pt x="61" y="90"/>
                  </a:lnTo>
                  <a:lnTo>
                    <a:pt x="64" y="86"/>
                  </a:lnTo>
                  <a:lnTo>
                    <a:pt x="67" y="82"/>
                  </a:lnTo>
                  <a:lnTo>
                    <a:pt x="69" y="78"/>
                  </a:lnTo>
                  <a:lnTo>
                    <a:pt x="70" y="72"/>
                  </a:lnTo>
                  <a:lnTo>
                    <a:pt x="70" y="58"/>
                  </a:lnTo>
                  <a:lnTo>
                    <a:pt x="70" y="58"/>
                  </a:lnTo>
                  <a:lnTo>
                    <a:pt x="69" y="46"/>
                  </a:lnTo>
                  <a:lnTo>
                    <a:pt x="68" y="41"/>
                  </a:lnTo>
                  <a:lnTo>
                    <a:pt x="65" y="36"/>
                  </a:lnTo>
                  <a:lnTo>
                    <a:pt x="62" y="32"/>
                  </a:lnTo>
                  <a:lnTo>
                    <a:pt x="59" y="29"/>
                  </a:lnTo>
                  <a:lnTo>
                    <a:pt x="55" y="28"/>
                  </a:lnTo>
                  <a:lnTo>
                    <a:pt x="50" y="27"/>
                  </a:lnTo>
                  <a:lnTo>
                    <a:pt x="50" y="27"/>
                  </a:lnTo>
                  <a:lnTo>
                    <a:pt x="46" y="28"/>
                  </a:lnTo>
                  <a:lnTo>
                    <a:pt x="42" y="30"/>
                  </a:lnTo>
                  <a:lnTo>
                    <a:pt x="38" y="33"/>
                  </a:lnTo>
                  <a:lnTo>
                    <a:pt x="36" y="37"/>
                  </a:lnTo>
                  <a:lnTo>
                    <a:pt x="34" y="42"/>
                  </a:lnTo>
                  <a:lnTo>
                    <a:pt x="33" y="47"/>
                  </a:lnTo>
                  <a:lnTo>
                    <a:pt x="32" y="60"/>
                  </a:lnTo>
                  <a:lnTo>
                    <a:pt x="32" y="60"/>
                  </a:lnTo>
                  <a:close/>
                  <a:moveTo>
                    <a:pt x="58" y="189"/>
                  </a:moveTo>
                  <a:lnTo>
                    <a:pt x="158" y="1"/>
                  </a:lnTo>
                  <a:lnTo>
                    <a:pt x="182" y="0"/>
                  </a:lnTo>
                  <a:lnTo>
                    <a:pt x="81" y="189"/>
                  </a:lnTo>
                  <a:lnTo>
                    <a:pt x="58" y="189"/>
                  </a:lnTo>
                  <a:close/>
                  <a:moveTo>
                    <a:pt x="240" y="125"/>
                  </a:moveTo>
                  <a:lnTo>
                    <a:pt x="240" y="125"/>
                  </a:lnTo>
                  <a:lnTo>
                    <a:pt x="239" y="139"/>
                  </a:lnTo>
                  <a:lnTo>
                    <a:pt x="237" y="150"/>
                  </a:lnTo>
                  <a:lnTo>
                    <a:pt x="232" y="161"/>
                  </a:lnTo>
                  <a:lnTo>
                    <a:pt x="225" y="168"/>
                  </a:lnTo>
                  <a:lnTo>
                    <a:pt x="218" y="175"/>
                  </a:lnTo>
                  <a:lnTo>
                    <a:pt x="209" y="180"/>
                  </a:lnTo>
                  <a:lnTo>
                    <a:pt x="200" y="184"/>
                  </a:lnTo>
                  <a:lnTo>
                    <a:pt x="190" y="185"/>
                  </a:lnTo>
                  <a:lnTo>
                    <a:pt x="190" y="185"/>
                  </a:lnTo>
                  <a:lnTo>
                    <a:pt x="180" y="184"/>
                  </a:lnTo>
                  <a:lnTo>
                    <a:pt x="170" y="181"/>
                  </a:lnTo>
                  <a:lnTo>
                    <a:pt x="162" y="177"/>
                  </a:lnTo>
                  <a:lnTo>
                    <a:pt x="154" y="172"/>
                  </a:lnTo>
                  <a:lnTo>
                    <a:pt x="148" y="164"/>
                  </a:lnTo>
                  <a:lnTo>
                    <a:pt x="142" y="154"/>
                  </a:lnTo>
                  <a:lnTo>
                    <a:pt x="139" y="144"/>
                  </a:lnTo>
                  <a:lnTo>
                    <a:pt x="138" y="132"/>
                  </a:lnTo>
                  <a:lnTo>
                    <a:pt x="138" y="132"/>
                  </a:lnTo>
                  <a:lnTo>
                    <a:pt x="138" y="121"/>
                  </a:lnTo>
                  <a:lnTo>
                    <a:pt x="140" y="110"/>
                  </a:lnTo>
                  <a:lnTo>
                    <a:pt x="144" y="100"/>
                  </a:lnTo>
                  <a:lnTo>
                    <a:pt x="150" y="92"/>
                  </a:lnTo>
                  <a:lnTo>
                    <a:pt x="157" y="84"/>
                  </a:lnTo>
                  <a:lnTo>
                    <a:pt x="166" y="79"/>
                  </a:lnTo>
                  <a:lnTo>
                    <a:pt x="177" y="76"/>
                  </a:lnTo>
                  <a:lnTo>
                    <a:pt x="188" y="74"/>
                  </a:lnTo>
                  <a:lnTo>
                    <a:pt x="188" y="74"/>
                  </a:lnTo>
                  <a:lnTo>
                    <a:pt x="199" y="74"/>
                  </a:lnTo>
                  <a:lnTo>
                    <a:pt x="209" y="78"/>
                  </a:lnTo>
                  <a:lnTo>
                    <a:pt x="219" y="82"/>
                  </a:lnTo>
                  <a:lnTo>
                    <a:pt x="225" y="87"/>
                  </a:lnTo>
                  <a:lnTo>
                    <a:pt x="232" y="96"/>
                  </a:lnTo>
                  <a:lnTo>
                    <a:pt x="236" y="105"/>
                  </a:lnTo>
                  <a:lnTo>
                    <a:pt x="239" y="114"/>
                  </a:lnTo>
                  <a:lnTo>
                    <a:pt x="240" y="125"/>
                  </a:lnTo>
                  <a:lnTo>
                    <a:pt x="240" y="125"/>
                  </a:lnTo>
                  <a:close/>
                  <a:moveTo>
                    <a:pt x="170" y="130"/>
                  </a:moveTo>
                  <a:lnTo>
                    <a:pt x="170" y="130"/>
                  </a:lnTo>
                  <a:lnTo>
                    <a:pt x="170" y="137"/>
                  </a:lnTo>
                  <a:lnTo>
                    <a:pt x="171" y="142"/>
                  </a:lnTo>
                  <a:lnTo>
                    <a:pt x="173" y="148"/>
                  </a:lnTo>
                  <a:lnTo>
                    <a:pt x="176" y="153"/>
                  </a:lnTo>
                  <a:lnTo>
                    <a:pt x="179" y="157"/>
                  </a:lnTo>
                  <a:lnTo>
                    <a:pt x="182" y="160"/>
                  </a:lnTo>
                  <a:lnTo>
                    <a:pt x="185" y="161"/>
                  </a:lnTo>
                  <a:lnTo>
                    <a:pt x="191" y="162"/>
                  </a:lnTo>
                  <a:lnTo>
                    <a:pt x="191" y="162"/>
                  </a:lnTo>
                  <a:lnTo>
                    <a:pt x="195" y="161"/>
                  </a:lnTo>
                  <a:lnTo>
                    <a:pt x="198" y="159"/>
                  </a:lnTo>
                  <a:lnTo>
                    <a:pt x="202" y="157"/>
                  </a:lnTo>
                  <a:lnTo>
                    <a:pt x="204" y="152"/>
                  </a:lnTo>
                  <a:lnTo>
                    <a:pt x="206" y="148"/>
                  </a:lnTo>
                  <a:lnTo>
                    <a:pt x="207" y="142"/>
                  </a:lnTo>
                  <a:lnTo>
                    <a:pt x="208" y="128"/>
                  </a:lnTo>
                  <a:lnTo>
                    <a:pt x="208" y="128"/>
                  </a:lnTo>
                  <a:lnTo>
                    <a:pt x="206" y="115"/>
                  </a:lnTo>
                  <a:lnTo>
                    <a:pt x="205" y="110"/>
                  </a:lnTo>
                  <a:lnTo>
                    <a:pt x="203" y="106"/>
                  </a:lnTo>
                  <a:lnTo>
                    <a:pt x="200" y="101"/>
                  </a:lnTo>
                  <a:lnTo>
                    <a:pt x="197" y="99"/>
                  </a:lnTo>
                  <a:lnTo>
                    <a:pt x="193" y="97"/>
                  </a:lnTo>
                  <a:lnTo>
                    <a:pt x="189" y="97"/>
                  </a:lnTo>
                  <a:lnTo>
                    <a:pt x="189" y="97"/>
                  </a:lnTo>
                  <a:lnTo>
                    <a:pt x="183" y="98"/>
                  </a:lnTo>
                  <a:lnTo>
                    <a:pt x="180" y="99"/>
                  </a:lnTo>
                  <a:lnTo>
                    <a:pt x="177" y="103"/>
                  </a:lnTo>
                  <a:lnTo>
                    <a:pt x="173" y="107"/>
                  </a:lnTo>
                  <a:lnTo>
                    <a:pt x="172" y="111"/>
                  </a:lnTo>
                  <a:lnTo>
                    <a:pt x="171" y="118"/>
                  </a:lnTo>
                  <a:lnTo>
                    <a:pt x="170" y="130"/>
                  </a:lnTo>
                  <a:lnTo>
                    <a:pt x="170" y="130"/>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nvGrpSpPr>
            <p:cNvPr id="606" name="Group 605"/>
            <p:cNvGrpSpPr/>
            <p:nvPr/>
          </p:nvGrpSpPr>
          <p:grpSpPr>
            <a:xfrm>
              <a:off x="6634934" y="3342452"/>
              <a:ext cx="228793" cy="268268"/>
              <a:chOff x="6411051" y="3451847"/>
              <a:chExt cx="201912" cy="236749"/>
            </a:xfrm>
          </p:grpSpPr>
          <p:sp>
            <p:nvSpPr>
              <p:cNvPr id="620" name="Freeform 619"/>
              <p:cNvSpPr>
                <a:spLocks noEditPoints="1"/>
              </p:cNvSpPr>
              <p:nvPr/>
            </p:nvSpPr>
            <p:spPr bwMode="auto">
              <a:xfrm>
                <a:off x="6411051" y="3451847"/>
                <a:ext cx="201912" cy="236749"/>
              </a:xfrm>
              <a:custGeom>
                <a:avLst/>
                <a:gdLst>
                  <a:gd name="T0" fmla="*/ 489 w 530"/>
                  <a:gd name="T1" fmla="*/ 177 h 635"/>
                  <a:gd name="T2" fmla="*/ 528 w 530"/>
                  <a:gd name="T3" fmla="*/ 142 h 635"/>
                  <a:gd name="T4" fmla="*/ 528 w 530"/>
                  <a:gd name="T5" fmla="*/ 130 h 635"/>
                  <a:gd name="T6" fmla="*/ 470 w 530"/>
                  <a:gd name="T7" fmla="*/ 76 h 635"/>
                  <a:gd name="T8" fmla="*/ 431 w 530"/>
                  <a:gd name="T9" fmla="*/ 111 h 635"/>
                  <a:gd name="T10" fmla="*/ 431 w 530"/>
                  <a:gd name="T11" fmla="*/ 123 h 635"/>
                  <a:gd name="T12" fmla="*/ 403 w 530"/>
                  <a:gd name="T13" fmla="*/ 150 h 635"/>
                  <a:gd name="T14" fmla="*/ 344 w 530"/>
                  <a:gd name="T15" fmla="*/ 122 h 635"/>
                  <a:gd name="T16" fmla="*/ 295 w 530"/>
                  <a:gd name="T17" fmla="*/ 81 h 635"/>
                  <a:gd name="T18" fmla="*/ 324 w 530"/>
                  <a:gd name="T19" fmla="*/ 78 h 635"/>
                  <a:gd name="T20" fmla="*/ 327 w 530"/>
                  <a:gd name="T21" fmla="*/ 12 h 635"/>
                  <a:gd name="T22" fmla="*/ 316 w 530"/>
                  <a:gd name="T23" fmla="*/ 0 h 635"/>
                  <a:gd name="T24" fmla="*/ 202 w 530"/>
                  <a:gd name="T25" fmla="*/ 3 h 635"/>
                  <a:gd name="T26" fmla="*/ 199 w 530"/>
                  <a:gd name="T27" fmla="*/ 69 h 635"/>
                  <a:gd name="T28" fmla="*/ 211 w 530"/>
                  <a:gd name="T29" fmla="*/ 81 h 635"/>
                  <a:gd name="T30" fmla="*/ 210 w 530"/>
                  <a:gd name="T31" fmla="*/ 115 h 635"/>
                  <a:gd name="T32" fmla="*/ 130 w 530"/>
                  <a:gd name="T33" fmla="*/ 146 h 635"/>
                  <a:gd name="T34" fmla="*/ 78 w 530"/>
                  <a:gd name="T35" fmla="*/ 186 h 635"/>
                  <a:gd name="T36" fmla="*/ 21 w 530"/>
                  <a:gd name="T37" fmla="*/ 270 h 635"/>
                  <a:gd name="T38" fmla="*/ 0 w 530"/>
                  <a:gd name="T39" fmla="*/ 369 h 635"/>
                  <a:gd name="T40" fmla="*/ 2 w 530"/>
                  <a:gd name="T41" fmla="*/ 409 h 635"/>
                  <a:gd name="T42" fmla="*/ 20 w 530"/>
                  <a:gd name="T43" fmla="*/ 472 h 635"/>
                  <a:gd name="T44" fmla="*/ 75 w 530"/>
                  <a:gd name="T45" fmla="*/ 556 h 635"/>
                  <a:gd name="T46" fmla="*/ 158 w 530"/>
                  <a:gd name="T47" fmla="*/ 613 h 635"/>
                  <a:gd name="T48" fmla="*/ 221 w 530"/>
                  <a:gd name="T49" fmla="*/ 632 h 635"/>
                  <a:gd name="T50" fmla="*/ 260 w 530"/>
                  <a:gd name="T51" fmla="*/ 635 h 635"/>
                  <a:gd name="T52" fmla="*/ 314 w 530"/>
                  <a:gd name="T53" fmla="*/ 631 h 635"/>
                  <a:gd name="T54" fmla="*/ 407 w 530"/>
                  <a:gd name="T55" fmla="*/ 592 h 635"/>
                  <a:gd name="T56" fmla="*/ 466 w 530"/>
                  <a:gd name="T57" fmla="*/ 540 h 635"/>
                  <a:gd name="T58" fmla="*/ 514 w 530"/>
                  <a:gd name="T59" fmla="*/ 451 h 635"/>
                  <a:gd name="T60" fmla="*/ 526 w 530"/>
                  <a:gd name="T61" fmla="*/ 375 h 635"/>
                  <a:gd name="T62" fmla="*/ 507 w 530"/>
                  <a:gd name="T63" fmla="*/ 274 h 635"/>
                  <a:gd name="T64" fmla="*/ 451 w 530"/>
                  <a:gd name="T65" fmla="*/ 189 h 635"/>
                  <a:gd name="T66" fmla="*/ 483 w 530"/>
                  <a:gd name="T67" fmla="*/ 175 h 635"/>
                  <a:gd name="T68" fmla="*/ 470 w 530"/>
                  <a:gd name="T69" fmla="*/ 417 h 635"/>
                  <a:gd name="T70" fmla="*/ 438 w 530"/>
                  <a:gd name="T71" fmla="*/ 492 h 635"/>
                  <a:gd name="T72" fmla="*/ 379 w 530"/>
                  <a:gd name="T73" fmla="*/ 550 h 635"/>
                  <a:gd name="T74" fmla="*/ 304 w 530"/>
                  <a:gd name="T75" fmla="*/ 581 h 635"/>
                  <a:gd name="T76" fmla="*/ 239 w 530"/>
                  <a:gd name="T77" fmla="*/ 583 h 635"/>
                  <a:gd name="T78" fmla="*/ 160 w 530"/>
                  <a:gd name="T79" fmla="*/ 558 h 635"/>
                  <a:gd name="T80" fmla="*/ 97 w 530"/>
                  <a:gd name="T81" fmla="*/ 505 h 635"/>
                  <a:gd name="T82" fmla="*/ 60 w 530"/>
                  <a:gd name="T83" fmla="*/ 433 h 635"/>
                  <a:gd name="T84" fmla="*/ 51 w 530"/>
                  <a:gd name="T85" fmla="*/ 370 h 635"/>
                  <a:gd name="T86" fmla="*/ 68 w 530"/>
                  <a:gd name="T87" fmla="*/ 288 h 635"/>
                  <a:gd name="T88" fmla="*/ 114 w 530"/>
                  <a:gd name="T89" fmla="*/ 221 h 635"/>
                  <a:gd name="T90" fmla="*/ 181 w 530"/>
                  <a:gd name="T91" fmla="*/ 177 h 635"/>
                  <a:gd name="T92" fmla="*/ 263 w 530"/>
                  <a:gd name="T93" fmla="*/ 160 h 635"/>
                  <a:gd name="T94" fmla="*/ 286 w 530"/>
                  <a:gd name="T95" fmla="*/ 162 h 635"/>
                  <a:gd name="T96" fmla="*/ 365 w 530"/>
                  <a:gd name="T97" fmla="*/ 186 h 635"/>
                  <a:gd name="T98" fmla="*/ 415 w 530"/>
                  <a:gd name="T99" fmla="*/ 223 h 635"/>
                  <a:gd name="T100" fmla="*/ 460 w 530"/>
                  <a:gd name="T101" fmla="*/ 294 h 635"/>
                  <a:gd name="T102" fmla="*/ 475 w 530"/>
                  <a:gd name="T103" fmla="*/ 375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0" h="635">
                    <a:moveTo>
                      <a:pt x="483" y="175"/>
                    </a:moveTo>
                    <a:lnTo>
                      <a:pt x="483" y="175"/>
                    </a:lnTo>
                    <a:lnTo>
                      <a:pt x="486" y="177"/>
                    </a:lnTo>
                    <a:lnTo>
                      <a:pt x="489" y="177"/>
                    </a:lnTo>
                    <a:lnTo>
                      <a:pt x="493" y="177"/>
                    </a:lnTo>
                    <a:lnTo>
                      <a:pt x="495" y="175"/>
                    </a:lnTo>
                    <a:lnTo>
                      <a:pt x="528" y="142"/>
                    </a:lnTo>
                    <a:lnTo>
                      <a:pt x="528" y="142"/>
                    </a:lnTo>
                    <a:lnTo>
                      <a:pt x="530" y="139"/>
                    </a:lnTo>
                    <a:lnTo>
                      <a:pt x="530" y="136"/>
                    </a:lnTo>
                    <a:lnTo>
                      <a:pt x="530" y="133"/>
                    </a:lnTo>
                    <a:lnTo>
                      <a:pt x="528" y="130"/>
                    </a:lnTo>
                    <a:lnTo>
                      <a:pt x="476" y="78"/>
                    </a:lnTo>
                    <a:lnTo>
                      <a:pt x="476" y="78"/>
                    </a:lnTo>
                    <a:lnTo>
                      <a:pt x="473" y="76"/>
                    </a:lnTo>
                    <a:lnTo>
                      <a:pt x="470" y="76"/>
                    </a:lnTo>
                    <a:lnTo>
                      <a:pt x="467" y="76"/>
                    </a:lnTo>
                    <a:lnTo>
                      <a:pt x="464" y="78"/>
                    </a:lnTo>
                    <a:lnTo>
                      <a:pt x="431" y="111"/>
                    </a:lnTo>
                    <a:lnTo>
                      <a:pt x="431" y="111"/>
                    </a:lnTo>
                    <a:lnTo>
                      <a:pt x="429" y="113"/>
                    </a:lnTo>
                    <a:lnTo>
                      <a:pt x="429" y="117"/>
                    </a:lnTo>
                    <a:lnTo>
                      <a:pt x="429" y="120"/>
                    </a:lnTo>
                    <a:lnTo>
                      <a:pt x="431" y="123"/>
                    </a:lnTo>
                    <a:lnTo>
                      <a:pt x="442" y="134"/>
                    </a:lnTo>
                    <a:lnTo>
                      <a:pt x="417" y="160"/>
                    </a:lnTo>
                    <a:lnTo>
                      <a:pt x="417" y="160"/>
                    </a:lnTo>
                    <a:lnTo>
                      <a:pt x="403" y="150"/>
                    </a:lnTo>
                    <a:lnTo>
                      <a:pt x="389" y="141"/>
                    </a:lnTo>
                    <a:lnTo>
                      <a:pt x="374" y="134"/>
                    </a:lnTo>
                    <a:lnTo>
                      <a:pt x="359" y="127"/>
                    </a:lnTo>
                    <a:lnTo>
                      <a:pt x="344" y="122"/>
                    </a:lnTo>
                    <a:lnTo>
                      <a:pt x="327" y="118"/>
                    </a:lnTo>
                    <a:lnTo>
                      <a:pt x="311" y="114"/>
                    </a:lnTo>
                    <a:lnTo>
                      <a:pt x="295" y="111"/>
                    </a:lnTo>
                    <a:lnTo>
                      <a:pt x="295" y="81"/>
                    </a:lnTo>
                    <a:lnTo>
                      <a:pt x="316" y="81"/>
                    </a:lnTo>
                    <a:lnTo>
                      <a:pt x="316" y="81"/>
                    </a:lnTo>
                    <a:lnTo>
                      <a:pt x="320" y="80"/>
                    </a:lnTo>
                    <a:lnTo>
                      <a:pt x="324" y="78"/>
                    </a:lnTo>
                    <a:lnTo>
                      <a:pt x="326" y="73"/>
                    </a:lnTo>
                    <a:lnTo>
                      <a:pt x="327" y="69"/>
                    </a:lnTo>
                    <a:lnTo>
                      <a:pt x="327" y="12"/>
                    </a:lnTo>
                    <a:lnTo>
                      <a:pt x="327" y="12"/>
                    </a:lnTo>
                    <a:lnTo>
                      <a:pt x="326" y="7"/>
                    </a:lnTo>
                    <a:lnTo>
                      <a:pt x="324" y="3"/>
                    </a:lnTo>
                    <a:lnTo>
                      <a:pt x="320" y="1"/>
                    </a:lnTo>
                    <a:lnTo>
                      <a:pt x="316" y="0"/>
                    </a:lnTo>
                    <a:lnTo>
                      <a:pt x="211" y="0"/>
                    </a:lnTo>
                    <a:lnTo>
                      <a:pt x="211" y="0"/>
                    </a:lnTo>
                    <a:lnTo>
                      <a:pt x="205" y="1"/>
                    </a:lnTo>
                    <a:lnTo>
                      <a:pt x="202" y="3"/>
                    </a:lnTo>
                    <a:lnTo>
                      <a:pt x="200" y="7"/>
                    </a:lnTo>
                    <a:lnTo>
                      <a:pt x="199" y="12"/>
                    </a:lnTo>
                    <a:lnTo>
                      <a:pt x="199" y="69"/>
                    </a:lnTo>
                    <a:lnTo>
                      <a:pt x="199" y="69"/>
                    </a:lnTo>
                    <a:lnTo>
                      <a:pt x="200" y="73"/>
                    </a:lnTo>
                    <a:lnTo>
                      <a:pt x="202" y="78"/>
                    </a:lnTo>
                    <a:lnTo>
                      <a:pt x="205" y="80"/>
                    </a:lnTo>
                    <a:lnTo>
                      <a:pt x="211" y="81"/>
                    </a:lnTo>
                    <a:lnTo>
                      <a:pt x="231" y="81"/>
                    </a:lnTo>
                    <a:lnTo>
                      <a:pt x="231" y="111"/>
                    </a:lnTo>
                    <a:lnTo>
                      <a:pt x="231" y="111"/>
                    </a:lnTo>
                    <a:lnTo>
                      <a:pt x="210" y="115"/>
                    </a:lnTo>
                    <a:lnTo>
                      <a:pt x="188" y="120"/>
                    </a:lnTo>
                    <a:lnTo>
                      <a:pt x="169" y="127"/>
                    </a:lnTo>
                    <a:lnTo>
                      <a:pt x="148" y="136"/>
                    </a:lnTo>
                    <a:lnTo>
                      <a:pt x="130" y="146"/>
                    </a:lnTo>
                    <a:lnTo>
                      <a:pt x="111" y="158"/>
                    </a:lnTo>
                    <a:lnTo>
                      <a:pt x="94" y="171"/>
                    </a:lnTo>
                    <a:lnTo>
                      <a:pt x="78" y="186"/>
                    </a:lnTo>
                    <a:lnTo>
                      <a:pt x="78" y="186"/>
                    </a:lnTo>
                    <a:lnTo>
                      <a:pt x="61" y="205"/>
                    </a:lnTo>
                    <a:lnTo>
                      <a:pt x="46" y="226"/>
                    </a:lnTo>
                    <a:lnTo>
                      <a:pt x="32" y="247"/>
                    </a:lnTo>
                    <a:lnTo>
                      <a:pt x="21" y="270"/>
                    </a:lnTo>
                    <a:lnTo>
                      <a:pt x="12" y="294"/>
                    </a:lnTo>
                    <a:lnTo>
                      <a:pt x="6" y="319"/>
                    </a:lnTo>
                    <a:lnTo>
                      <a:pt x="1" y="343"/>
                    </a:lnTo>
                    <a:lnTo>
                      <a:pt x="0" y="369"/>
                    </a:lnTo>
                    <a:lnTo>
                      <a:pt x="0" y="369"/>
                    </a:lnTo>
                    <a:lnTo>
                      <a:pt x="0" y="383"/>
                    </a:lnTo>
                    <a:lnTo>
                      <a:pt x="1" y="396"/>
                    </a:lnTo>
                    <a:lnTo>
                      <a:pt x="2" y="409"/>
                    </a:lnTo>
                    <a:lnTo>
                      <a:pt x="5" y="422"/>
                    </a:lnTo>
                    <a:lnTo>
                      <a:pt x="8" y="435"/>
                    </a:lnTo>
                    <a:lnTo>
                      <a:pt x="11" y="448"/>
                    </a:lnTo>
                    <a:lnTo>
                      <a:pt x="20" y="472"/>
                    </a:lnTo>
                    <a:lnTo>
                      <a:pt x="30" y="496"/>
                    </a:lnTo>
                    <a:lnTo>
                      <a:pt x="43" y="517"/>
                    </a:lnTo>
                    <a:lnTo>
                      <a:pt x="59" y="538"/>
                    </a:lnTo>
                    <a:lnTo>
                      <a:pt x="75" y="556"/>
                    </a:lnTo>
                    <a:lnTo>
                      <a:pt x="94" y="573"/>
                    </a:lnTo>
                    <a:lnTo>
                      <a:pt x="114" y="589"/>
                    </a:lnTo>
                    <a:lnTo>
                      <a:pt x="135" y="603"/>
                    </a:lnTo>
                    <a:lnTo>
                      <a:pt x="158" y="613"/>
                    </a:lnTo>
                    <a:lnTo>
                      <a:pt x="182" y="623"/>
                    </a:lnTo>
                    <a:lnTo>
                      <a:pt x="195" y="626"/>
                    </a:lnTo>
                    <a:lnTo>
                      <a:pt x="208" y="630"/>
                    </a:lnTo>
                    <a:lnTo>
                      <a:pt x="221" y="632"/>
                    </a:lnTo>
                    <a:lnTo>
                      <a:pt x="233" y="634"/>
                    </a:lnTo>
                    <a:lnTo>
                      <a:pt x="246" y="635"/>
                    </a:lnTo>
                    <a:lnTo>
                      <a:pt x="260" y="635"/>
                    </a:lnTo>
                    <a:lnTo>
                      <a:pt x="260" y="635"/>
                    </a:lnTo>
                    <a:lnTo>
                      <a:pt x="263" y="635"/>
                    </a:lnTo>
                    <a:lnTo>
                      <a:pt x="263" y="635"/>
                    </a:lnTo>
                    <a:lnTo>
                      <a:pt x="289" y="634"/>
                    </a:lnTo>
                    <a:lnTo>
                      <a:pt x="314" y="631"/>
                    </a:lnTo>
                    <a:lnTo>
                      <a:pt x="339" y="624"/>
                    </a:lnTo>
                    <a:lnTo>
                      <a:pt x="363" y="616"/>
                    </a:lnTo>
                    <a:lnTo>
                      <a:pt x="386" y="605"/>
                    </a:lnTo>
                    <a:lnTo>
                      <a:pt x="407" y="592"/>
                    </a:lnTo>
                    <a:lnTo>
                      <a:pt x="428" y="577"/>
                    </a:lnTo>
                    <a:lnTo>
                      <a:pt x="447" y="559"/>
                    </a:lnTo>
                    <a:lnTo>
                      <a:pt x="447" y="559"/>
                    </a:lnTo>
                    <a:lnTo>
                      <a:pt x="466" y="540"/>
                    </a:lnTo>
                    <a:lnTo>
                      <a:pt x="481" y="519"/>
                    </a:lnTo>
                    <a:lnTo>
                      <a:pt x="494" y="498"/>
                    </a:lnTo>
                    <a:lnTo>
                      <a:pt x="506" y="475"/>
                    </a:lnTo>
                    <a:lnTo>
                      <a:pt x="514" y="451"/>
                    </a:lnTo>
                    <a:lnTo>
                      <a:pt x="521" y="427"/>
                    </a:lnTo>
                    <a:lnTo>
                      <a:pt x="524" y="401"/>
                    </a:lnTo>
                    <a:lnTo>
                      <a:pt x="526" y="375"/>
                    </a:lnTo>
                    <a:lnTo>
                      <a:pt x="526" y="375"/>
                    </a:lnTo>
                    <a:lnTo>
                      <a:pt x="525" y="349"/>
                    </a:lnTo>
                    <a:lnTo>
                      <a:pt x="522" y="324"/>
                    </a:lnTo>
                    <a:lnTo>
                      <a:pt x="515" y="299"/>
                    </a:lnTo>
                    <a:lnTo>
                      <a:pt x="507" y="274"/>
                    </a:lnTo>
                    <a:lnTo>
                      <a:pt x="496" y="252"/>
                    </a:lnTo>
                    <a:lnTo>
                      <a:pt x="483" y="229"/>
                    </a:lnTo>
                    <a:lnTo>
                      <a:pt x="468" y="208"/>
                    </a:lnTo>
                    <a:lnTo>
                      <a:pt x="451" y="189"/>
                    </a:lnTo>
                    <a:lnTo>
                      <a:pt x="451" y="189"/>
                    </a:lnTo>
                    <a:lnTo>
                      <a:pt x="449" y="187"/>
                    </a:lnTo>
                    <a:lnTo>
                      <a:pt x="472" y="164"/>
                    </a:lnTo>
                    <a:lnTo>
                      <a:pt x="483" y="175"/>
                    </a:lnTo>
                    <a:close/>
                    <a:moveTo>
                      <a:pt x="475" y="375"/>
                    </a:moveTo>
                    <a:lnTo>
                      <a:pt x="475" y="375"/>
                    </a:lnTo>
                    <a:lnTo>
                      <a:pt x="474" y="396"/>
                    </a:lnTo>
                    <a:lnTo>
                      <a:pt x="470" y="417"/>
                    </a:lnTo>
                    <a:lnTo>
                      <a:pt x="465" y="437"/>
                    </a:lnTo>
                    <a:lnTo>
                      <a:pt x="457" y="457"/>
                    </a:lnTo>
                    <a:lnTo>
                      <a:pt x="448" y="475"/>
                    </a:lnTo>
                    <a:lnTo>
                      <a:pt x="438" y="492"/>
                    </a:lnTo>
                    <a:lnTo>
                      <a:pt x="425" y="509"/>
                    </a:lnTo>
                    <a:lnTo>
                      <a:pt x="412" y="524"/>
                    </a:lnTo>
                    <a:lnTo>
                      <a:pt x="397" y="538"/>
                    </a:lnTo>
                    <a:lnTo>
                      <a:pt x="379" y="550"/>
                    </a:lnTo>
                    <a:lnTo>
                      <a:pt x="362" y="560"/>
                    </a:lnTo>
                    <a:lnTo>
                      <a:pt x="344" y="569"/>
                    </a:lnTo>
                    <a:lnTo>
                      <a:pt x="324" y="576"/>
                    </a:lnTo>
                    <a:lnTo>
                      <a:pt x="304" y="581"/>
                    </a:lnTo>
                    <a:lnTo>
                      <a:pt x="282" y="584"/>
                    </a:lnTo>
                    <a:lnTo>
                      <a:pt x="260" y="584"/>
                    </a:lnTo>
                    <a:lnTo>
                      <a:pt x="260" y="584"/>
                    </a:lnTo>
                    <a:lnTo>
                      <a:pt x="239" y="583"/>
                    </a:lnTo>
                    <a:lnTo>
                      <a:pt x="218" y="580"/>
                    </a:lnTo>
                    <a:lnTo>
                      <a:pt x="198" y="574"/>
                    </a:lnTo>
                    <a:lnTo>
                      <a:pt x="178" y="567"/>
                    </a:lnTo>
                    <a:lnTo>
                      <a:pt x="160" y="558"/>
                    </a:lnTo>
                    <a:lnTo>
                      <a:pt x="143" y="547"/>
                    </a:lnTo>
                    <a:lnTo>
                      <a:pt x="127" y="535"/>
                    </a:lnTo>
                    <a:lnTo>
                      <a:pt x="111" y="520"/>
                    </a:lnTo>
                    <a:lnTo>
                      <a:pt x="97" y="505"/>
                    </a:lnTo>
                    <a:lnTo>
                      <a:pt x="86" y="489"/>
                    </a:lnTo>
                    <a:lnTo>
                      <a:pt x="76" y="472"/>
                    </a:lnTo>
                    <a:lnTo>
                      <a:pt x="66" y="452"/>
                    </a:lnTo>
                    <a:lnTo>
                      <a:pt x="60" y="433"/>
                    </a:lnTo>
                    <a:lnTo>
                      <a:pt x="54" y="412"/>
                    </a:lnTo>
                    <a:lnTo>
                      <a:pt x="52" y="392"/>
                    </a:lnTo>
                    <a:lnTo>
                      <a:pt x="51" y="370"/>
                    </a:lnTo>
                    <a:lnTo>
                      <a:pt x="51" y="370"/>
                    </a:lnTo>
                    <a:lnTo>
                      <a:pt x="52" y="349"/>
                    </a:lnTo>
                    <a:lnTo>
                      <a:pt x="55" y="328"/>
                    </a:lnTo>
                    <a:lnTo>
                      <a:pt x="61" y="308"/>
                    </a:lnTo>
                    <a:lnTo>
                      <a:pt x="68" y="288"/>
                    </a:lnTo>
                    <a:lnTo>
                      <a:pt x="77" y="270"/>
                    </a:lnTo>
                    <a:lnTo>
                      <a:pt x="88" y="253"/>
                    </a:lnTo>
                    <a:lnTo>
                      <a:pt x="101" y="236"/>
                    </a:lnTo>
                    <a:lnTo>
                      <a:pt x="114" y="221"/>
                    </a:lnTo>
                    <a:lnTo>
                      <a:pt x="129" y="208"/>
                    </a:lnTo>
                    <a:lnTo>
                      <a:pt x="145" y="196"/>
                    </a:lnTo>
                    <a:lnTo>
                      <a:pt x="162" y="186"/>
                    </a:lnTo>
                    <a:lnTo>
                      <a:pt x="181" y="177"/>
                    </a:lnTo>
                    <a:lnTo>
                      <a:pt x="200" y="169"/>
                    </a:lnTo>
                    <a:lnTo>
                      <a:pt x="221" y="164"/>
                    </a:lnTo>
                    <a:lnTo>
                      <a:pt x="241" y="161"/>
                    </a:lnTo>
                    <a:lnTo>
                      <a:pt x="263" y="160"/>
                    </a:lnTo>
                    <a:lnTo>
                      <a:pt x="263" y="160"/>
                    </a:lnTo>
                    <a:lnTo>
                      <a:pt x="265" y="160"/>
                    </a:lnTo>
                    <a:lnTo>
                      <a:pt x="265" y="160"/>
                    </a:lnTo>
                    <a:lnTo>
                      <a:pt x="286" y="162"/>
                    </a:lnTo>
                    <a:lnTo>
                      <a:pt x="307" y="165"/>
                    </a:lnTo>
                    <a:lnTo>
                      <a:pt x="326" y="169"/>
                    </a:lnTo>
                    <a:lnTo>
                      <a:pt x="346" y="177"/>
                    </a:lnTo>
                    <a:lnTo>
                      <a:pt x="365" y="186"/>
                    </a:lnTo>
                    <a:lnTo>
                      <a:pt x="383" y="196"/>
                    </a:lnTo>
                    <a:lnTo>
                      <a:pt x="399" y="209"/>
                    </a:lnTo>
                    <a:lnTo>
                      <a:pt x="415" y="223"/>
                    </a:lnTo>
                    <a:lnTo>
                      <a:pt x="415" y="223"/>
                    </a:lnTo>
                    <a:lnTo>
                      <a:pt x="429" y="240"/>
                    </a:lnTo>
                    <a:lnTo>
                      <a:pt x="441" y="257"/>
                    </a:lnTo>
                    <a:lnTo>
                      <a:pt x="452" y="274"/>
                    </a:lnTo>
                    <a:lnTo>
                      <a:pt x="460" y="294"/>
                    </a:lnTo>
                    <a:lnTo>
                      <a:pt x="467" y="313"/>
                    </a:lnTo>
                    <a:lnTo>
                      <a:pt x="471" y="333"/>
                    </a:lnTo>
                    <a:lnTo>
                      <a:pt x="474" y="353"/>
                    </a:lnTo>
                    <a:lnTo>
                      <a:pt x="475" y="375"/>
                    </a:lnTo>
                    <a:lnTo>
                      <a:pt x="475" y="375"/>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21" name="Freeform 620"/>
              <p:cNvSpPr>
                <a:spLocks/>
              </p:cNvSpPr>
              <p:nvPr/>
            </p:nvSpPr>
            <p:spPr bwMode="auto">
              <a:xfrm>
                <a:off x="6502139" y="3538208"/>
                <a:ext cx="34917" cy="86362"/>
              </a:xfrm>
              <a:custGeom>
                <a:avLst/>
                <a:gdLst>
                  <a:gd name="T0" fmla="*/ 83 w 92"/>
                  <a:gd name="T1" fmla="*/ 1 h 233"/>
                  <a:gd name="T2" fmla="*/ 83 w 92"/>
                  <a:gd name="T3" fmla="*/ 1 h 233"/>
                  <a:gd name="T4" fmla="*/ 79 w 92"/>
                  <a:gd name="T5" fmla="*/ 0 h 233"/>
                  <a:gd name="T6" fmla="*/ 73 w 92"/>
                  <a:gd name="T7" fmla="*/ 1 h 233"/>
                  <a:gd name="T8" fmla="*/ 69 w 92"/>
                  <a:gd name="T9" fmla="*/ 4 h 233"/>
                  <a:gd name="T10" fmla="*/ 66 w 92"/>
                  <a:gd name="T11" fmla="*/ 9 h 233"/>
                  <a:gd name="T12" fmla="*/ 19 w 92"/>
                  <a:gd name="T13" fmla="*/ 120 h 233"/>
                  <a:gd name="T14" fmla="*/ 19 w 92"/>
                  <a:gd name="T15" fmla="*/ 120 h 233"/>
                  <a:gd name="T16" fmla="*/ 15 w 92"/>
                  <a:gd name="T17" fmla="*/ 121 h 233"/>
                  <a:gd name="T18" fmla="*/ 12 w 92"/>
                  <a:gd name="T19" fmla="*/ 123 h 233"/>
                  <a:gd name="T20" fmla="*/ 9 w 92"/>
                  <a:gd name="T21" fmla="*/ 125 h 233"/>
                  <a:gd name="T22" fmla="*/ 5 w 92"/>
                  <a:gd name="T23" fmla="*/ 127 h 233"/>
                  <a:gd name="T24" fmla="*/ 3 w 92"/>
                  <a:gd name="T25" fmla="*/ 132 h 233"/>
                  <a:gd name="T26" fmla="*/ 1 w 92"/>
                  <a:gd name="T27" fmla="*/ 135 h 233"/>
                  <a:gd name="T28" fmla="*/ 0 w 92"/>
                  <a:gd name="T29" fmla="*/ 139 h 233"/>
                  <a:gd name="T30" fmla="*/ 0 w 92"/>
                  <a:gd name="T31" fmla="*/ 144 h 233"/>
                  <a:gd name="T32" fmla="*/ 0 w 92"/>
                  <a:gd name="T33" fmla="*/ 144 h 233"/>
                  <a:gd name="T34" fmla="*/ 0 w 92"/>
                  <a:gd name="T35" fmla="*/ 148 h 233"/>
                  <a:gd name="T36" fmla="*/ 1 w 92"/>
                  <a:gd name="T37" fmla="*/ 152 h 233"/>
                  <a:gd name="T38" fmla="*/ 3 w 92"/>
                  <a:gd name="T39" fmla="*/ 155 h 233"/>
                  <a:gd name="T40" fmla="*/ 5 w 92"/>
                  <a:gd name="T41" fmla="*/ 160 h 233"/>
                  <a:gd name="T42" fmla="*/ 9 w 92"/>
                  <a:gd name="T43" fmla="*/ 162 h 233"/>
                  <a:gd name="T44" fmla="*/ 12 w 92"/>
                  <a:gd name="T45" fmla="*/ 165 h 233"/>
                  <a:gd name="T46" fmla="*/ 16 w 92"/>
                  <a:gd name="T47" fmla="*/ 166 h 233"/>
                  <a:gd name="T48" fmla="*/ 20 w 92"/>
                  <a:gd name="T49" fmla="*/ 167 h 233"/>
                  <a:gd name="T50" fmla="*/ 46 w 92"/>
                  <a:gd name="T51" fmla="*/ 226 h 233"/>
                  <a:gd name="T52" fmla="*/ 46 w 92"/>
                  <a:gd name="T53" fmla="*/ 226 h 233"/>
                  <a:gd name="T54" fmla="*/ 50 w 92"/>
                  <a:gd name="T55" fmla="*/ 230 h 233"/>
                  <a:gd name="T56" fmla="*/ 54 w 92"/>
                  <a:gd name="T57" fmla="*/ 232 h 233"/>
                  <a:gd name="T58" fmla="*/ 58 w 92"/>
                  <a:gd name="T59" fmla="*/ 233 h 233"/>
                  <a:gd name="T60" fmla="*/ 63 w 92"/>
                  <a:gd name="T61" fmla="*/ 232 h 233"/>
                  <a:gd name="T62" fmla="*/ 63 w 92"/>
                  <a:gd name="T63" fmla="*/ 232 h 233"/>
                  <a:gd name="T64" fmla="*/ 67 w 92"/>
                  <a:gd name="T65" fmla="*/ 229 h 233"/>
                  <a:gd name="T66" fmla="*/ 69 w 92"/>
                  <a:gd name="T67" fmla="*/ 226 h 233"/>
                  <a:gd name="T68" fmla="*/ 70 w 92"/>
                  <a:gd name="T69" fmla="*/ 220 h 233"/>
                  <a:gd name="T70" fmla="*/ 69 w 92"/>
                  <a:gd name="T71" fmla="*/ 216 h 233"/>
                  <a:gd name="T72" fmla="*/ 43 w 92"/>
                  <a:gd name="T73" fmla="*/ 159 h 233"/>
                  <a:gd name="T74" fmla="*/ 43 w 92"/>
                  <a:gd name="T75" fmla="*/ 159 h 233"/>
                  <a:gd name="T76" fmla="*/ 47 w 92"/>
                  <a:gd name="T77" fmla="*/ 151 h 233"/>
                  <a:gd name="T78" fmla="*/ 48 w 92"/>
                  <a:gd name="T79" fmla="*/ 148 h 233"/>
                  <a:gd name="T80" fmla="*/ 48 w 92"/>
                  <a:gd name="T81" fmla="*/ 144 h 233"/>
                  <a:gd name="T82" fmla="*/ 48 w 92"/>
                  <a:gd name="T83" fmla="*/ 144 h 233"/>
                  <a:gd name="T84" fmla="*/ 48 w 92"/>
                  <a:gd name="T85" fmla="*/ 139 h 233"/>
                  <a:gd name="T86" fmla="*/ 47 w 92"/>
                  <a:gd name="T87" fmla="*/ 136 h 233"/>
                  <a:gd name="T88" fmla="*/ 43 w 92"/>
                  <a:gd name="T89" fmla="*/ 129 h 233"/>
                  <a:gd name="T90" fmla="*/ 91 w 92"/>
                  <a:gd name="T91" fmla="*/ 18 h 233"/>
                  <a:gd name="T92" fmla="*/ 91 w 92"/>
                  <a:gd name="T93" fmla="*/ 18 h 233"/>
                  <a:gd name="T94" fmla="*/ 92 w 92"/>
                  <a:gd name="T95" fmla="*/ 13 h 233"/>
                  <a:gd name="T96" fmla="*/ 91 w 92"/>
                  <a:gd name="T97" fmla="*/ 9 h 233"/>
                  <a:gd name="T98" fmla="*/ 87 w 92"/>
                  <a:gd name="T99" fmla="*/ 4 h 233"/>
                  <a:gd name="T100" fmla="*/ 83 w 92"/>
                  <a:gd name="T101" fmla="*/ 1 h 233"/>
                  <a:gd name="T102" fmla="*/ 83 w 92"/>
                  <a:gd name="T103" fmla="*/ 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233">
                    <a:moveTo>
                      <a:pt x="83" y="1"/>
                    </a:moveTo>
                    <a:lnTo>
                      <a:pt x="83" y="1"/>
                    </a:lnTo>
                    <a:lnTo>
                      <a:pt x="79" y="0"/>
                    </a:lnTo>
                    <a:lnTo>
                      <a:pt x="73" y="1"/>
                    </a:lnTo>
                    <a:lnTo>
                      <a:pt x="69" y="4"/>
                    </a:lnTo>
                    <a:lnTo>
                      <a:pt x="66" y="9"/>
                    </a:lnTo>
                    <a:lnTo>
                      <a:pt x="19" y="120"/>
                    </a:lnTo>
                    <a:lnTo>
                      <a:pt x="19" y="120"/>
                    </a:lnTo>
                    <a:lnTo>
                      <a:pt x="15" y="121"/>
                    </a:lnTo>
                    <a:lnTo>
                      <a:pt x="12" y="123"/>
                    </a:lnTo>
                    <a:lnTo>
                      <a:pt x="9" y="125"/>
                    </a:lnTo>
                    <a:lnTo>
                      <a:pt x="5" y="127"/>
                    </a:lnTo>
                    <a:lnTo>
                      <a:pt x="3" y="132"/>
                    </a:lnTo>
                    <a:lnTo>
                      <a:pt x="1" y="135"/>
                    </a:lnTo>
                    <a:lnTo>
                      <a:pt x="0" y="139"/>
                    </a:lnTo>
                    <a:lnTo>
                      <a:pt x="0" y="144"/>
                    </a:lnTo>
                    <a:lnTo>
                      <a:pt x="0" y="144"/>
                    </a:lnTo>
                    <a:lnTo>
                      <a:pt x="0" y="148"/>
                    </a:lnTo>
                    <a:lnTo>
                      <a:pt x="1" y="152"/>
                    </a:lnTo>
                    <a:lnTo>
                      <a:pt x="3" y="155"/>
                    </a:lnTo>
                    <a:lnTo>
                      <a:pt x="5" y="160"/>
                    </a:lnTo>
                    <a:lnTo>
                      <a:pt x="9" y="162"/>
                    </a:lnTo>
                    <a:lnTo>
                      <a:pt x="12" y="165"/>
                    </a:lnTo>
                    <a:lnTo>
                      <a:pt x="16" y="166"/>
                    </a:lnTo>
                    <a:lnTo>
                      <a:pt x="20" y="167"/>
                    </a:lnTo>
                    <a:lnTo>
                      <a:pt x="46" y="226"/>
                    </a:lnTo>
                    <a:lnTo>
                      <a:pt x="46" y="226"/>
                    </a:lnTo>
                    <a:lnTo>
                      <a:pt x="50" y="230"/>
                    </a:lnTo>
                    <a:lnTo>
                      <a:pt x="54" y="232"/>
                    </a:lnTo>
                    <a:lnTo>
                      <a:pt x="58" y="233"/>
                    </a:lnTo>
                    <a:lnTo>
                      <a:pt x="63" y="232"/>
                    </a:lnTo>
                    <a:lnTo>
                      <a:pt x="63" y="232"/>
                    </a:lnTo>
                    <a:lnTo>
                      <a:pt x="67" y="229"/>
                    </a:lnTo>
                    <a:lnTo>
                      <a:pt x="69" y="226"/>
                    </a:lnTo>
                    <a:lnTo>
                      <a:pt x="70" y="220"/>
                    </a:lnTo>
                    <a:lnTo>
                      <a:pt x="69" y="216"/>
                    </a:lnTo>
                    <a:lnTo>
                      <a:pt x="43" y="159"/>
                    </a:lnTo>
                    <a:lnTo>
                      <a:pt x="43" y="159"/>
                    </a:lnTo>
                    <a:lnTo>
                      <a:pt x="47" y="151"/>
                    </a:lnTo>
                    <a:lnTo>
                      <a:pt x="48" y="148"/>
                    </a:lnTo>
                    <a:lnTo>
                      <a:pt x="48" y="144"/>
                    </a:lnTo>
                    <a:lnTo>
                      <a:pt x="48" y="144"/>
                    </a:lnTo>
                    <a:lnTo>
                      <a:pt x="48" y="139"/>
                    </a:lnTo>
                    <a:lnTo>
                      <a:pt x="47" y="136"/>
                    </a:lnTo>
                    <a:lnTo>
                      <a:pt x="43" y="129"/>
                    </a:lnTo>
                    <a:lnTo>
                      <a:pt x="91" y="18"/>
                    </a:lnTo>
                    <a:lnTo>
                      <a:pt x="91" y="18"/>
                    </a:lnTo>
                    <a:lnTo>
                      <a:pt x="92" y="13"/>
                    </a:lnTo>
                    <a:lnTo>
                      <a:pt x="91" y="9"/>
                    </a:lnTo>
                    <a:lnTo>
                      <a:pt x="87" y="4"/>
                    </a:lnTo>
                    <a:lnTo>
                      <a:pt x="83" y="1"/>
                    </a:lnTo>
                    <a:lnTo>
                      <a:pt x="83" y="1"/>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22" name="Freeform 621"/>
              <p:cNvSpPr>
                <a:spLocks/>
              </p:cNvSpPr>
              <p:nvPr/>
            </p:nvSpPr>
            <p:spPr bwMode="auto">
              <a:xfrm>
                <a:off x="6506694" y="3520341"/>
                <a:ext cx="7591" cy="16379"/>
              </a:xfrm>
              <a:custGeom>
                <a:avLst/>
                <a:gdLst>
                  <a:gd name="T0" fmla="*/ 10 w 19"/>
                  <a:gd name="T1" fmla="*/ 42 h 42"/>
                  <a:gd name="T2" fmla="*/ 10 w 19"/>
                  <a:gd name="T3" fmla="*/ 42 h 42"/>
                  <a:gd name="T4" fmla="*/ 14 w 19"/>
                  <a:gd name="T5" fmla="*/ 42 h 42"/>
                  <a:gd name="T6" fmla="*/ 16 w 19"/>
                  <a:gd name="T7" fmla="*/ 39 h 42"/>
                  <a:gd name="T8" fmla="*/ 18 w 19"/>
                  <a:gd name="T9" fmla="*/ 36 h 42"/>
                  <a:gd name="T10" fmla="*/ 19 w 19"/>
                  <a:gd name="T11" fmla="*/ 33 h 42"/>
                  <a:gd name="T12" fmla="*/ 19 w 19"/>
                  <a:gd name="T13" fmla="*/ 8 h 42"/>
                  <a:gd name="T14" fmla="*/ 19 w 19"/>
                  <a:gd name="T15" fmla="*/ 8 h 42"/>
                  <a:gd name="T16" fmla="*/ 18 w 19"/>
                  <a:gd name="T17" fmla="*/ 5 h 42"/>
                  <a:gd name="T18" fmla="*/ 16 w 19"/>
                  <a:gd name="T19" fmla="*/ 2 h 42"/>
                  <a:gd name="T20" fmla="*/ 14 w 19"/>
                  <a:gd name="T21" fmla="*/ 0 h 42"/>
                  <a:gd name="T22" fmla="*/ 10 w 19"/>
                  <a:gd name="T23" fmla="*/ 0 h 42"/>
                  <a:gd name="T24" fmla="*/ 10 w 19"/>
                  <a:gd name="T25" fmla="*/ 0 h 42"/>
                  <a:gd name="T26" fmla="*/ 6 w 19"/>
                  <a:gd name="T27" fmla="*/ 0 h 42"/>
                  <a:gd name="T28" fmla="*/ 3 w 19"/>
                  <a:gd name="T29" fmla="*/ 2 h 42"/>
                  <a:gd name="T30" fmla="*/ 1 w 19"/>
                  <a:gd name="T31" fmla="*/ 5 h 42"/>
                  <a:gd name="T32" fmla="*/ 0 w 19"/>
                  <a:gd name="T33" fmla="*/ 8 h 42"/>
                  <a:gd name="T34" fmla="*/ 0 w 19"/>
                  <a:gd name="T35" fmla="*/ 33 h 42"/>
                  <a:gd name="T36" fmla="*/ 0 w 19"/>
                  <a:gd name="T37" fmla="*/ 33 h 42"/>
                  <a:gd name="T38" fmla="*/ 1 w 19"/>
                  <a:gd name="T39" fmla="*/ 36 h 42"/>
                  <a:gd name="T40" fmla="*/ 3 w 19"/>
                  <a:gd name="T41" fmla="*/ 39 h 42"/>
                  <a:gd name="T42" fmla="*/ 6 w 19"/>
                  <a:gd name="T43" fmla="*/ 42 h 42"/>
                  <a:gd name="T44" fmla="*/ 10 w 19"/>
                  <a:gd name="T45" fmla="*/ 42 h 42"/>
                  <a:gd name="T46" fmla="*/ 10 w 19"/>
                  <a:gd name="T4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42">
                    <a:moveTo>
                      <a:pt x="10" y="42"/>
                    </a:moveTo>
                    <a:lnTo>
                      <a:pt x="10" y="42"/>
                    </a:lnTo>
                    <a:lnTo>
                      <a:pt x="14" y="42"/>
                    </a:lnTo>
                    <a:lnTo>
                      <a:pt x="16" y="39"/>
                    </a:lnTo>
                    <a:lnTo>
                      <a:pt x="18" y="36"/>
                    </a:lnTo>
                    <a:lnTo>
                      <a:pt x="19" y="33"/>
                    </a:lnTo>
                    <a:lnTo>
                      <a:pt x="19" y="8"/>
                    </a:lnTo>
                    <a:lnTo>
                      <a:pt x="19" y="8"/>
                    </a:lnTo>
                    <a:lnTo>
                      <a:pt x="18" y="5"/>
                    </a:lnTo>
                    <a:lnTo>
                      <a:pt x="16" y="2"/>
                    </a:lnTo>
                    <a:lnTo>
                      <a:pt x="14" y="0"/>
                    </a:lnTo>
                    <a:lnTo>
                      <a:pt x="10" y="0"/>
                    </a:lnTo>
                    <a:lnTo>
                      <a:pt x="10" y="0"/>
                    </a:lnTo>
                    <a:lnTo>
                      <a:pt x="6" y="0"/>
                    </a:lnTo>
                    <a:lnTo>
                      <a:pt x="3" y="2"/>
                    </a:lnTo>
                    <a:lnTo>
                      <a:pt x="1" y="5"/>
                    </a:lnTo>
                    <a:lnTo>
                      <a:pt x="0" y="8"/>
                    </a:lnTo>
                    <a:lnTo>
                      <a:pt x="0" y="33"/>
                    </a:lnTo>
                    <a:lnTo>
                      <a:pt x="0" y="33"/>
                    </a:lnTo>
                    <a:lnTo>
                      <a:pt x="1" y="36"/>
                    </a:lnTo>
                    <a:lnTo>
                      <a:pt x="3" y="39"/>
                    </a:lnTo>
                    <a:lnTo>
                      <a:pt x="6" y="42"/>
                    </a:lnTo>
                    <a:lnTo>
                      <a:pt x="10" y="42"/>
                    </a:lnTo>
                    <a:lnTo>
                      <a:pt x="10" y="42"/>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23" name="Freeform 622"/>
              <p:cNvSpPr>
                <a:spLocks/>
              </p:cNvSpPr>
              <p:nvPr/>
            </p:nvSpPr>
            <p:spPr bwMode="auto">
              <a:xfrm>
                <a:off x="6506694" y="3645415"/>
                <a:ext cx="7591" cy="16379"/>
              </a:xfrm>
              <a:custGeom>
                <a:avLst/>
                <a:gdLst>
                  <a:gd name="T0" fmla="*/ 10 w 19"/>
                  <a:gd name="T1" fmla="*/ 0 h 44"/>
                  <a:gd name="T2" fmla="*/ 10 w 19"/>
                  <a:gd name="T3" fmla="*/ 0 h 44"/>
                  <a:gd name="T4" fmla="*/ 6 w 19"/>
                  <a:gd name="T5" fmla="*/ 1 h 44"/>
                  <a:gd name="T6" fmla="*/ 3 w 19"/>
                  <a:gd name="T7" fmla="*/ 4 h 44"/>
                  <a:gd name="T8" fmla="*/ 1 w 19"/>
                  <a:gd name="T9" fmla="*/ 7 h 44"/>
                  <a:gd name="T10" fmla="*/ 0 w 19"/>
                  <a:gd name="T11" fmla="*/ 10 h 44"/>
                  <a:gd name="T12" fmla="*/ 0 w 19"/>
                  <a:gd name="T13" fmla="*/ 34 h 44"/>
                  <a:gd name="T14" fmla="*/ 0 w 19"/>
                  <a:gd name="T15" fmla="*/ 34 h 44"/>
                  <a:gd name="T16" fmla="*/ 1 w 19"/>
                  <a:gd name="T17" fmla="*/ 38 h 44"/>
                  <a:gd name="T18" fmla="*/ 3 w 19"/>
                  <a:gd name="T19" fmla="*/ 41 h 44"/>
                  <a:gd name="T20" fmla="*/ 6 w 19"/>
                  <a:gd name="T21" fmla="*/ 42 h 44"/>
                  <a:gd name="T22" fmla="*/ 10 w 19"/>
                  <a:gd name="T23" fmla="*/ 44 h 44"/>
                  <a:gd name="T24" fmla="*/ 10 w 19"/>
                  <a:gd name="T25" fmla="*/ 44 h 44"/>
                  <a:gd name="T26" fmla="*/ 14 w 19"/>
                  <a:gd name="T27" fmla="*/ 42 h 44"/>
                  <a:gd name="T28" fmla="*/ 16 w 19"/>
                  <a:gd name="T29" fmla="*/ 41 h 44"/>
                  <a:gd name="T30" fmla="*/ 18 w 19"/>
                  <a:gd name="T31" fmla="*/ 38 h 44"/>
                  <a:gd name="T32" fmla="*/ 19 w 19"/>
                  <a:gd name="T33" fmla="*/ 34 h 44"/>
                  <a:gd name="T34" fmla="*/ 19 w 19"/>
                  <a:gd name="T35" fmla="*/ 10 h 44"/>
                  <a:gd name="T36" fmla="*/ 19 w 19"/>
                  <a:gd name="T37" fmla="*/ 10 h 44"/>
                  <a:gd name="T38" fmla="*/ 18 w 19"/>
                  <a:gd name="T39" fmla="*/ 7 h 44"/>
                  <a:gd name="T40" fmla="*/ 16 w 19"/>
                  <a:gd name="T41" fmla="*/ 4 h 44"/>
                  <a:gd name="T42" fmla="*/ 14 w 19"/>
                  <a:gd name="T43" fmla="*/ 1 h 44"/>
                  <a:gd name="T44" fmla="*/ 10 w 19"/>
                  <a:gd name="T45" fmla="*/ 0 h 44"/>
                  <a:gd name="T46" fmla="*/ 10 w 19"/>
                  <a:gd name="T4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44">
                    <a:moveTo>
                      <a:pt x="10" y="0"/>
                    </a:moveTo>
                    <a:lnTo>
                      <a:pt x="10" y="0"/>
                    </a:lnTo>
                    <a:lnTo>
                      <a:pt x="6" y="1"/>
                    </a:lnTo>
                    <a:lnTo>
                      <a:pt x="3" y="4"/>
                    </a:lnTo>
                    <a:lnTo>
                      <a:pt x="1" y="7"/>
                    </a:lnTo>
                    <a:lnTo>
                      <a:pt x="0" y="10"/>
                    </a:lnTo>
                    <a:lnTo>
                      <a:pt x="0" y="34"/>
                    </a:lnTo>
                    <a:lnTo>
                      <a:pt x="0" y="34"/>
                    </a:lnTo>
                    <a:lnTo>
                      <a:pt x="1" y="38"/>
                    </a:lnTo>
                    <a:lnTo>
                      <a:pt x="3" y="41"/>
                    </a:lnTo>
                    <a:lnTo>
                      <a:pt x="6" y="42"/>
                    </a:lnTo>
                    <a:lnTo>
                      <a:pt x="10" y="44"/>
                    </a:lnTo>
                    <a:lnTo>
                      <a:pt x="10" y="44"/>
                    </a:lnTo>
                    <a:lnTo>
                      <a:pt x="14" y="42"/>
                    </a:lnTo>
                    <a:lnTo>
                      <a:pt x="16" y="41"/>
                    </a:lnTo>
                    <a:lnTo>
                      <a:pt x="18" y="38"/>
                    </a:lnTo>
                    <a:lnTo>
                      <a:pt x="19" y="34"/>
                    </a:lnTo>
                    <a:lnTo>
                      <a:pt x="19" y="10"/>
                    </a:lnTo>
                    <a:lnTo>
                      <a:pt x="19" y="10"/>
                    </a:lnTo>
                    <a:lnTo>
                      <a:pt x="18" y="7"/>
                    </a:lnTo>
                    <a:lnTo>
                      <a:pt x="16" y="4"/>
                    </a:lnTo>
                    <a:lnTo>
                      <a:pt x="14" y="1"/>
                    </a:lnTo>
                    <a:lnTo>
                      <a:pt x="10" y="0"/>
                    </a:lnTo>
                    <a:lnTo>
                      <a:pt x="10" y="0"/>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24" name="Freeform 623"/>
              <p:cNvSpPr>
                <a:spLocks/>
              </p:cNvSpPr>
              <p:nvPr/>
            </p:nvSpPr>
            <p:spPr bwMode="auto">
              <a:xfrm>
                <a:off x="6565902" y="3587345"/>
                <a:ext cx="16699" cy="7445"/>
              </a:xfrm>
              <a:custGeom>
                <a:avLst/>
                <a:gdLst>
                  <a:gd name="T0" fmla="*/ 0 w 43"/>
                  <a:gd name="T1" fmla="*/ 10 h 19"/>
                  <a:gd name="T2" fmla="*/ 0 w 43"/>
                  <a:gd name="T3" fmla="*/ 10 h 19"/>
                  <a:gd name="T4" fmla="*/ 0 w 43"/>
                  <a:gd name="T5" fmla="*/ 13 h 19"/>
                  <a:gd name="T6" fmla="*/ 3 w 43"/>
                  <a:gd name="T7" fmla="*/ 16 h 19"/>
                  <a:gd name="T8" fmla="*/ 6 w 43"/>
                  <a:gd name="T9" fmla="*/ 18 h 19"/>
                  <a:gd name="T10" fmla="*/ 9 w 43"/>
                  <a:gd name="T11" fmla="*/ 19 h 19"/>
                  <a:gd name="T12" fmla="*/ 34 w 43"/>
                  <a:gd name="T13" fmla="*/ 19 h 19"/>
                  <a:gd name="T14" fmla="*/ 34 w 43"/>
                  <a:gd name="T15" fmla="*/ 19 h 19"/>
                  <a:gd name="T16" fmla="*/ 37 w 43"/>
                  <a:gd name="T17" fmla="*/ 18 h 19"/>
                  <a:gd name="T18" fmla="*/ 40 w 43"/>
                  <a:gd name="T19" fmla="*/ 16 h 19"/>
                  <a:gd name="T20" fmla="*/ 43 w 43"/>
                  <a:gd name="T21" fmla="*/ 13 h 19"/>
                  <a:gd name="T22" fmla="*/ 43 w 43"/>
                  <a:gd name="T23" fmla="*/ 10 h 19"/>
                  <a:gd name="T24" fmla="*/ 43 w 43"/>
                  <a:gd name="T25" fmla="*/ 10 h 19"/>
                  <a:gd name="T26" fmla="*/ 43 w 43"/>
                  <a:gd name="T27" fmla="*/ 5 h 19"/>
                  <a:gd name="T28" fmla="*/ 40 w 43"/>
                  <a:gd name="T29" fmla="*/ 3 h 19"/>
                  <a:gd name="T30" fmla="*/ 37 w 43"/>
                  <a:gd name="T31" fmla="*/ 1 h 19"/>
                  <a:gd name="T32" fmla="*/ 34 w 43"/>
                  <a:gd name="T33" fmla="*/ 0 h 19"/>
                  <a:gd name="T34" fmla="*/ 9 w 43"/>
                  <a:gd name="T35" fmla="*/ 0 h 19"/>
                  <a:gd name="T36" fmla="*/ 9 w 43"/>
                  <a:gd name="T37" fmla="*/ 0 h 19"/>
                  <a:gd name="T38" fmla="*/ 6 w 43"/>
                  <a:gd name="T39" fmla="*/ 1 h 19"/>
                  <a:gd name="T40" fmla="*/ 3 w 43"/>
                  <a:gd name="T41" fmla="*/ 3 h 19"/>
                  <a:gd name="T42" fmla="*/ 0 w 43"/>
                  <a:gd name="T43" fmla="*/ 5 h 19"/>
                  <a:gd name="T44" fmla="*/ 0 w 43"/>
                  <a:gd name="T45" fmla="*/ 10 h 19"/>
                  <a:gd name="T46" fmla="*/ 0 w 43"/>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 h="19">
                    <a:moveTo>
                      <a:pt x="0" y="10"/>
                    </a:moveTo>
                    <a:lnTo>
                      <a:pt x="0" y="10"/>
                    </a:lnTo>
                    <a:lnTo>
                      <a:pt x="0" y="13"/>
                    </a:lnTo>
                    <a:lnTo>
                      <a:pt x="3" y="16"/>
                    </a:lnTo>
                    <a:lnTo>
                      <a:pt x="6" y="18"/>
                    </a:lnTo>
                    <a:lnTo>
                      <a:pt x="9" y="19"/>
                    </a:lnTo>
                    <a:lnTo>
                      <a:pt x="34" y="19"/>
                    </a:lnTo>
                    <a:lnTo>
                      <a:pt x="34" y="19"/>
                    </a:lnTo>
                    <a:lnTo>
                      <a:pt x="37" y="18"/>
                    </a:lnTo>
                    <a:lnTo>
                      <a:pt x="40" y="16"/>
                    </a:lnTo>
                    <a:lnTo>
                      <a:pt x="43" y="13"/>
                    </a:lnTo>
                    <a:lnTo>
                      <a:pt x="43" y="10"/>
                    </a:lnTo>
                    <a:lnTo>
                      <a:pt x="43" y="10"/>
                    </a:lnTo>
                    <a:lnTo>
                      <a:pt x="43" y="5"/>
                    </a:lnTo>
                    <a:lnTo>
                      <a:pt x="40" y="3"/>
                    </a:lnTo>
                    <a:lnTo>
                      <a:pt x="37" y="1"/>
                    </a:lnTo>
                    <a:lnTo>
                      <a:pt x="34" y="0"/>
                    </a:lnTo>
                    <a:lnTo>
                      <a:pt x="9" y="0"/>
                    </a:lnTo>
                    <a:lnTo>
                      <a:pt x="9" y="0"/>
                    </a:lnTo>
                    <a:lnTo>
                      <a:pt x="6" y="1"/>
                    </a:lnTo>
                    <a:lnTo>
                      <a:pt x="3" y="3"/>
                    </a:lnTo>
                    <a:lnTo>
                      <a:pt x="0" y="5"/>
                    </a:lnTo>
                    <a:lnTo>
                      <a:pt x="0" y="10"/>
                    </a:lnTo>
                    <a:lnTo>
                      <a:pt x="0" y="10"/>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25" name="Freeform 624"/>
              <p:cNvSpPr>
                <a:spLocks/>
              </p:cNvSpPr>
              <p:nvPr/>
            </p:nvSpPr>
            <p:spPr bwMode="auto">
              <a:xfrm>
                <a:off x="6438377" y="3587345"/>
                <a:ext cx="16699" cy="7445"/>
              </a:xfrm>
              <a:custGeom>
                <a:avLst/>
                <a:gdLst>
                  <a:gd name="T0" fmla="*/ 33 w 43"/>
                  <a:gd name="T1" fmla="*/ 0 h 19"/>
                  <a:gd name="T2" fmla="*/ 9 w 43"/>
                  <a:gd name="T3" fmla="*/ 0 h 19"/>
                  <a:gd name="T4" fmla="*/ 9 w 43"/>
                  <a:gd name="T5" fmla="*/ 0 h 19"/>
                  <a:gd name="T6" fmla="*/ 5 w 43"/>
                  <a:gd name="T7" fmla="*/ 1 h 19"/>
                  <a:gd name="T8" fmla="*/ 2 w 43"/>
                  <a:gd name="T9" fmla="*/ 3 h 19"/>
                  <a:gd name="T10" fmla="*/ 1 w 43"/>
                  <a:gd name="T11" fmla="*/ 5 h 19"/>
                  <a:gd name="T12" fmla="*/ 0 w 43"/>
                  <a:gd name="T13" fmla="*/ 10 h 19"/>
                  <a:gd name="T14" fmla="*/ 0 w 43"/>
                  <a:gd name="T15" fmla="*/ 10 h 19"/>
                  <a:gd name="T16" fmla="*/ 1 w 43"/>
                  <a:gd name="T17" fmla="*/ 13 h 19"/>
                  <a:gd name="T18" fmla="*/ 2 w 43"/>
                  <a:gd name="T19" fmla="*/ 16 h 19"/>
                  <a:gd name="T20" fmla="*/ 5 w 43"/>
                  <a:gd name="T21" fmla="*/ 18 h 19"/>
                  <a:gd name="T22" fmla="*/ 9 w 43"/>
                  <a:gd name="T23" fmla="*/ 19 h 19"/>
                  <a:gd name="T24" fmla="*/ 33 w 43"/>
                  <a:gd name="T25" fmla="*/ 19 h 19"/>
                  <a:gd name="T26" fmla="*/ 33 w 43"/>
                  <a:gd name="T27" fmla="*/ 19 h 19"/>
                  <a:gd name="T28" fmla="*/ 36 w 43"/>
                  <a:gd name="T29" fmla="*/ 18 h 19"/>
                  <a:gd name="T30" fmla="*/ 40 w 43"/>
                  <a:gd name="T31" fmla="*/ 16 h 19"/>
                  <a:gd name="T32" fmla="*/ 42 w 43"/>
                  <a:gd name="T33" fmla="*/ 13 h 19"/>
                  <a:gd name="T34" fmla="*/ 43 w 43"/>
                  <a:gd name="T35" fmla="*/ 10 h 19"/>
                  <a:gd name="T36" fmla="*/ 43 w 43"/>
                  <a:gd name="T37" fmla="*/ 10 h 19"/>
                  <a:gd name="T38" fmla="*/ 42 w 43"/>
                  <a:gd name="T39" fmla="*/ 5 h 19"/>
                  <a:gd name="T40" fmla="*/ 40 w 43"/>
                  <a:gd name="T41" fmla="*/ 3 h 19"/>
                  <a:gd name="T42" fmla="*/ 36 w 43"/>
                  <a:gd name="T43" fmla="*/ 1 h 19"/>
                  <a:gd name="T44" fmla="*/ 33 w 43"/>
                  <a:gd name="T45" fmla="*/ 0 h 19"/>
                  <a:gd name="T46" fmla="*/ 33 w 43"/>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 h="19">
                    <a:moveTo>
                      <a:pt x="33" y="0"/>
                    </a:moveTo>
                    <a:lnTo>
                      <a:pt x="9" y="0"/>
                    </a:lnTo>
                    <a:lnTo>
                      <a:pt x="9" y="0"/>
                    </a:lnTo>
                    <a:lnTo>
                      <a:pt x="5" y="1"/>
                    </a:lnTo>
                    <a:lnTo>
                      <a:pt x="2" y="3"/>
                    </a:lnTo>
                    <a:lnTo>
                      <a:pt x="1" y="5"/>
                    </a:lnTo>
                    <a:lnTo>
                      <a:pt x="0" y="10"/>
                    </a:lnTo>
                    <a:lnTo>
                      <a:pt x="0" y="10"/>
                    </a:lnTo>
                    <a:lnTo>
                      <a:pt x="1" y="13"/>
                    </a:lnTo>
                    <a:lnTo>
                      <a:pt x="2" y="16"/>
                    </a:lnTo>
                    <a:lnTo>
                      <a:pt x="5" y="18"/>
                    </a:lnTo>
                    <a:lnTo>
                      <a:pt x="9" y="19"/>
                    </a:lnTo>
                    <a:lnTo>
                      <a:pt x="33" y="19"/>
                    </a:lnTo>
                    <a:lnTo>
                      <a:pt x="33" y="19"/>
                    </a:lnTo>
                    <a:lnTo>
                      <a:pt x="36" y="18"/>
                    </a:lnTo>
                    <a:lnTo>
                      <a:pt x="40" y="16"/>
                    </a:lnTo>
                    <a:lnTo>
                      <a:pt x="42" y="13"/>
                    </a:lnTo>
                    <a:lnTo>
                      <a:pt x="43" y="10"/>
                    </a:lnTo>
                    <a:lnTo>
                      <a:pt x="43" y="10"/>
                    </a:lnTo>
                    <a:lnTo>
                      <a:pt x="42" y="5"/>
                    </a:lnTo>
                    <a:lnTo>
                      <a:pt x="40" y="3"/>
                    </a:lnTo>
                    <a:lnTo>
                      <a:pt x="36" y="1"/>
                    </a:lnTo>
                    <a:lnTo>
                      <a:pt x="33" y="0"/>
                    </a:lnTo>
                    <a:lnTo>
                      <a:pt x="33" y="0"/>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26" name="Freeform 625"/>
              <p:cNvSpPr>
                <a:spLocks/>
              </p:cNvSpPr>
              <p:nvPr/>
            </p:nvSpPr>
            <p:spPr bwMode="auto">
              <a:xfrm>
                <a:off x="6549201" y="3539697"/>
                <a:ext cx="13663" cy="14890"/>
              </a:xfrm>
              <a:custGeom>
                <a:avLst/>
                <a:gdLst>
                  <a:gd name="T0" fmla="*/ 21 w 37"/>
                  <a:gd name="T1" fmla="*/ 4 h 37"/>
                  <a:gd name="T2" fmla="*/ 3 w 37"/>
                  <a:gd name="T3" fmla="*/ 21 h 37"/>
                  <a:gd name="T4" fmla="*/ 3 w 37"/>
                  <a:gd name="T5" fmla="*/ 21 h 37"/>
                  <a:gd name="T6" fmla="*/ 1 w 37"/>
                  <a:gd name="T7" fmla="*/ 24 h 37"/>
                  <a:gd name="T8" fmla="*/ 0 w 37"/>
                  <a:gd name="T9" fmla="*/ 27 h 37"/>
                  <a:gd name="T10" fmla="*/ 1 w 37"/>
                  <a:gd name="T11" fmla="*/ 31 h 37"/>
                  <a:gd name="T12" fmla="*/ 3 w 37"/>
                  <a:gd name="T13" fmla="*/ 34 h 37"/>
                  <a:gd name="T14" fmla="*/ 3 w 37"/>
                  <a:gd name="T15" fmla="*/ 34 h 37"/>
                  <a:gd name="T16" fmla="*/ 6 w 37"/>
                  <a:gd name="T17" fmla="*/ 36 h 37"/>
                  <a:gd name="T18" fmla="*/ 10 w 37"/>
                  <a:gd name="T19" fmla="*/ 37 h 37"/>
                  <a:gd name="T20" fmla="*/ 13 w 37"/>
                  <a:gd name="T21" fmla="*/ 36 h 37"/>
                  <a:gd name="T22" fmla="*/ 16 w 37"/>
                  <a:gd name="T23" fmla="*/ 34 h 37"/>
                  <a:gd name="T24" fmla="*/ 33 w 37"/>
                  <a:gd name="T25" fmla="*/ 17 h 37"/>
                  <a:gd name="T26" fmla="*/ 33 w 37"/>
                  <a:gd name="T27" fmla="*/ 17 h 37"/>
                  <a:gd name="T28" fmla="*/ 36 w 37"/>
                  <a:gd name="T29" fmla="*/ 14 h 37"/>
                  <a:gd name="T30" fmla="*/ 37 w 37"/>
                  <a:gd name="T31" fmla="*/ 10 h 37"/>
                  <a:gd name="T32" fmla="*/ 36 w 37"/>
                  <a:gd name="T33" fmla="*/ 7 h 37"/>
                  <a:gd name="T34" fmla="*/ 33 w 37"/>
                  <a:gd name="T35" fmla="*/ 4 h 37"/>
                  <a:gd name="T36" fmla="*/ 33 w 37"/>
                  <a:gd name="T37" fmla="*/ 4 h 37"/>
                  <a:gd name="T38" fmla="*/ 30 w 37"/>
                  <a:gd name="T39" fmla="*/ 1 h 37"/>
                  <a:gd name="T40" fmla="*/ 27 w 37"/>
                  <a:gd name="T41" fmla="*/ 0 h 37"/>
                  <a:gd name="T42" fmla="*/ 23 w 37"/>
                  <a:gd name="T43" fmla="*/ 1 h 37"/>
                  <a:gd name="T44" fmla="*/ 21 w 37"/>
                  <a:gd name="T45" fmla="*/ 4 h 37"/>
                  <a:gd name="T46" fmla="*/ 21 w 37"/>
                  <a:gd name="T47" fmla="*/ 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 h="37">
                    <a:moveTo>
                      <a:pt x="21" y="4"/>
                    </a:moveTo>
                    <a:lnTo>
                      <a:pt x="3" y="21"/>
                    </a:lnTo>
                    <a:lnTo>
                      <a:pt x="3" y="21"/>
                    </a:lnTo>
                    <a:lnTo>
                      <a:pt x="1" y="24"/>
                    </a:lnTo>
                    <a:lnTo>
                      <a:pt x="0" y="27"/>
                    </a:lnTo>
                    <a:lnTo>
                      <a:pt x="1" y="31"/>
                    </a:lnTo>
                    <a:lnTo>
                      <a:pt x="3" y="34"/>
                    </a:lnTo>
                    <a:lnTo>
                      <a:pt x="3" y="34"/>
                    </a:lnTo>
                    <a:lnTo>
                      <a:pt x="6" y="36"/>
                    </a:lnTo>
                    <a:lnTo>
                      <a:pt x="10" y="37"/>
                    </a:lnTo>
                    <a:lnTo>
                      <a:pt x="13" y="36"/>
                    </a:lnTo>
                    <a:lnTo>
                      <a:pt x="16" y="34"/>
                    </a:lnTo>
                    <a:lnTo>
                      <a:pt x="33" y="17"/>
                    </a:lnTo>
                    <a:lnTo>
                      <a:pt x="33" y="17"/>
                    </a:lnTo>
                    <a:lnTo>
                      <a:pt x="36" y="14"/>
                    </a:lnTo>
                    <a:lnTo>
                      <a:pt x="37" y="10"/>
                    </a:lnTo>
                    <a:lnTo>
                      <a:pt x="36" y="7"/>
                    </a:lnTo>
                    <a:lnTo>
                      <a:pt x="33" y="4"/>
                    </a:lnTo>
                    <a:lnTo>
                      <a:pt x="33" y="4"/>
                    </a:lnTo>
                    <a:lnTo>
                      <a:pt x="30" y="1"/>
                    </a:lnTo>
                    <a:lnTo>
                      <a:pt x="27" y="0"/>
                    </a:lnTo>
                    <a:lnTo>
                      <a:pt x="23" y="1"/>
                    </a:lnTo>
                    <a:lnTo>
                      <a:pt x="21" y="4"/>
                    </a:lnTo>
                    <a:lnTo>
                      <a:pt x="21" y="4"/>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27" name="Freeform 626"/>
              <p:cNvSpPr>
                <a:spLocks/>
              </p:cNvSpPr>
              <p:nvPr/>
            </p:nvSpPr>
            <p:spPr bwMode="auto">
              <a:xfrm>
                <a:off x="6459632" y="3629036"/>
                <a:ext cx="13663" cy="13401"/>
              </a:xfrm>
              <a:custGeom>
                <a:avLst/>
                <a:gdLst>
                  <a:gd name="T0" fmla="*/ 20 w 36"/>
                  <a:gd name="T1" fmla="*/ 3 h 36"/>
                  <a:gd name="T2" fmla="*/ 3 w 36"/>
                  <a:gd name="T3" fmla="*/ 19 h 36"/>
                  <a:gd name="T4" fmla="*/ 3 w 36"/>
                  <a:gd name="T5" fmla="*/ 19 h 36"/>
                  <a:gd name="T6" fmla="*/ 0 w 36"/>
                  <a:gd name="T7" fmla="*/ 23 h 36"/>
                  <a:gd name="T8" fmla="*/ 0 w 36"/>
                  <a:gd name="T9" fmla="*/ 27 h 36"/>
                  <a:gd name="T10" fmla="*/ 0 w 36"/>
                  <a:gd name="T11" fmla="*/ 30 h 36"/>
                  <a:gd name="T12" fmla="*/ 3 w 36"/>
                  <a:gd name="T13" fmla="*/ 33 h 36"/>
                  <a:gd name="T14" fmla="*/ 3 w 36"/>
                  <a:gd name="T15" fmla="*/ 33 h 36"/>
                  <a:gd name="T16" fmla="*/ 6 w 36"/>
                  <a:gd name="T17" fmla="*/ 36 h 36"/>
                  <a:gd name="T18" fmla="*/ 9 w 36"/>
                  <a:gd name="T19" fmla="*/ 36 h 36"/>
                  <a:gd name="T20" fmla="*/ 13 w 36"/>
                  <a:gd name="T21" fmla="*/ 36 h 36"/>
                  <a:gd name="T22" fmla="*/ 17 w 36"/>
                  <a:gd name="T23" fmla="*/ 33 h 36"/>
                  <a:gd name="T24" fmla="*/ 33 w 36"/>
                  <a:gd name="T25" fmla="*/ 16 h 36"/>
                  <a:gd name="T26" fmla="*/ 33 w 36"/>
                  <a:gd name="T27" fmla="*/ 16 h 36"/>
                  <a:gd name="T28" fmla="*/ 35 w 36"/>
                  <a:gd name="T29" fmla="*/ 13 h 36"/>
                  <a:gd name="T30" fmla="*/ 36 w 36"/>
                  <a:gd name="T31" fmla="*/ 10 h 36"/>
                  <a:gd name="T32" fmla="*/ 35 w 36"/>
                  <a:gd name="T33" fmla="*/ 6 h 36"/>
                  <a:gd name="T34" fmla="*/ 33 w 36"/>
                  <a:gd name="T35" fmla="*/ 3 h 36"/>
                  <a:gd name="T36" fmla="*/ 33 w 36"/>
                  <a:gd name="T37" fmla="*/ 3 h 36"/>
                  <a:gd name="T38" fmla="*/ 30 w 36"/>
                  <a:gd name="T39" fmla="*/ 1 h 36"/>
                  <a:gd name="T40" fmla="*/ 26 w 36"/>
                  <a:gd name="T41" fmla="*/ 0 h 36"/>
                  <a:gd name="T42" fmla="*/ 23 w 36"/>
                  <a:gd name="T43" fmla="*/ 1 h 36"/>
                  <a:gd name="T44" fmla="*/ 20 w 36"/>
                  <a:gd name="T45" fmla="*/ 3 h 36"/>
                  <a:gd name="T46" fmla="*/ 20 w 36"/>
                  <a:gd name="T47"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36">
                    <a:moveTo>
                      <a:pt x="20" y="3"/>
                    </a:moveTo>
                    <a:lnTo>
                      <a:pt x="3" y="19"/>
                    </a:lnTo>
                    <a:lnTo>
                      <a:pt x="3" y="19"/>
                    </a:lnTo>
                    <a:lnTo>
                      <a:pt x="0" y="23"/>
                    </a:lnTo>
                    <a:lnTo>
                      <a:pt x="0" y="27"/>
                    </a:lnTo>
                    <a:lnTo>
                      <a:pt x="0" y="30"/>
                    </a:lnTo>
                    <a:lnTo>
                      <a:pt x="3" y="33"/>
                    </a:lnTo>
                    <a:lnTo>
                      <a:pt x="3" y="33"/>
                    </a:lnTo>
                    <a:lnTo>
                      <a:pt x="6" y="36"/>
                    </a:lnTo>
                    <a:lnTo>
                      <a:pt x="9" y="36"/>
                    </a:lnTo>
                    <a:lnTo>
                      <a:pt x="13" y="36"/>
                    </a:lnTo>
                    <a:lnTo>
                      <a:pt x="17" y="33"/>
                    </a:lnTo>
                    <a:lnTo>
                      <a:pt x="33" y="16"/>
                    </a:lnTo>
                    <a:lnTo>
                      <a:pt x="33" y="16"/>
                    </a:lnTo>
                    <a:lnTo>
                      <a:pt x="35" y="13"/>
                    </a:lnTo>
                    <a:lnTo>
                      <a:pt x="36" y="10"/>
                    </a:lnTo>
                    <a:lnTo>
                      <a:pt x="35" y="6"/>
                    </a:lnTo>
                    <a:lnTo>
                      <a:pt x="33" y="3"/>
                    </a:lnTo>
                    <a:lnTo>
                      <a:pt x="33" y="3"/>
                    </a:lnTo>
                    <a:lnTo>
                      <a:pt x="30" y="1"/>
                    </a:lnTo>
                    <a:lnTo>
                      <a:pt x="26" y="0"/>
                    </a:lnTo>
                    <a:lnTo>
                      <a:pt x="23" y="1"/>
                    </a:lnTo>
                    <a:lnTo>
                      <a:pt x="20" y="3"/>
                    </a:lnTo>
                    <a:lnTo>
                      <a:pt x="20" y="3"/>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28" name="Freeform 627"/>
              <p:cNvSpPr>
                <a:spLocks/>
              </p:cNvSpPr>
              <p:nvPr/>
            </p:nvSpPr>
            <p:spPr bwMode="auto">
              <a:xfrm>
                <a:off x="6549201" y="3629036"/>
                <a:ext cx="13663" cy="13401"/>
              </a:xfrm>
              <a:custGeom>
                <a:avLst/>
                <a:gdLst>
                  <a:gd name="T0" fmla="*/ 16 w 37"/>
                  <a:gd name="T1" fmla="*/ 3 h 36"/>
                  <a:gd name="T2" fmla="*/ 16 w 37"/>
                  <a:gd name="T3" fmla="*/ 3 h 36"/>
                  <a:gd name="T4" fmla="*/ 13 w 37"/>
                  <a:gd name="T5" fmla="*/ 1 h 36"/>
                  <a:gd name="T6" fmla="*/ 10 w 37"/>
                  <a:gd name="T7" fmla="*/ 0 h 36"/>
                  <a:gd name="T8" fmla="*/ 6 w 37"/>
                  <a:gd name="T9" fmla="*/ 1 h 36"/>
                  <a:gd name="T10" fmla="*/ 3 w 37"/>
                  <a:gd name="T11" fmla="*/ 3 h 36"/>
                  <a:gd name="T12" fmla="*/ 3 w 37"/>
                  <a:gd name="T13" fmla="*/ 3 h 36"/>
                  <a:gd name="T14" fmla="*/ 1 w 37"/>
                  <a:gd name="T15" fmla="*/ 6 h 36"/>
                  <a:gd name="T16" fmla="*/ 0 w 37"/>
                  <a:gd name="T17" fmla="*/ 10 h 36"/>
                  <a:gd name="T18" fmla="*/ 1 w 37"/>
                  <a:gd name="T19" fmla="*/ 13 h 36"/>
                  <a:gd name="T20" fmla="*/ 3 w 37"/>
                  <a:gd name="T21" fmla="*/ 16 h 36"/>
                  <a:gd name="T22" fmla="*/ 21 w 37"/>
                  <a:gd name="T23" fmla="*/ 33 h 36"/>
                  <a:gd name="T24" fmla="*/ 21 w 37"/>
                  <a:gd name="T25" fmla="*/ 33 h 36"/>
                  <a:gd name="T26" fmla="*/ 23 w 37"/>
                  <a:gd name="T27" fmla="*/ 36 h 36"/>
                  <a:gd name="T28" fmla="*/ 27 w 37"/>
                  <a:gd name="T29" fmla="*/ 36 h 36"/>
                  <a:gd name="T30" fmla="*/ 30 w 37"/>
                  <a:gd name="T31" fmla="*/ 36 h 36"/>
                  <a:gd name="T32" fmla="*/ 33 w 37"/>
                  <a:gd name="T33" fmla="*/ 33 h 36"/>
                  <a:gd name="T34" fmla="*/ 33 w 37"/>
                  <a:gd name="T35" fmla="*/ 33 h 36"/>
                  <a:gd name="T36" fmla="*/ 36 w 37"/>
                  <a:gd name="T37" fmla="*/ 30 h 36"/>
                  <a:gd name="T38" fmla="*/ 37 w 37"/>
                  <a:gd name="T39" fmla="*/ 27 h 36"/>
                  <a:gd name="T40" fmla="*/ 36 w 37"/>
                  <a:gd name="T41" fmla="*/ 23 h 36"/>
                  <a:gd name="T42" fmla="*/ 33 w 37"/>
                  <a:gd name="T43" fmla="*/ 19 h 36"/>
                  <a:gd name="T44" fmla="*/ 16 w 37"/>
                  <a:gd name="T45"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 h="36">
                    <a:moveTo>
                      <a:pt x="16" y="3"/>
                    </a:moveTo>
                    <a:lnTo>
                      <a:pt x="16" y="3"/>
                    </a:lnTo>
                    <a:lnTo>
                      <a:pt x="13" y="1"/>
                    </a:lnTo>
                    <a:lnTo>
                      <a:pt x="10" y="0"/>
                    </a:lnTo>
                    <a:lnTo>
                      <a:pt x="6" y="1"/>
                    </a:lnTo>
                    <a:lnTo>
                      <a:pt x="3" y="3"/>
                    </a:lnTo>
                    <a:lnTo>
                      <a:pt x="3" y="3"/>
                    </a:lnTo>
                    <a:lnTo>
                      <a:pt x="1" y="6"/>
                    </a:lnTo>
                    <a:lnTo>
                      <a:pt x="0" y="10"/>
                    </a:lnTo>
                    <a:lnTo>
                      <a:pt x="1" y="13"/>
                    </a:lnTo>
                    <a:lnTo>
                      <a:pt x="3" y="16"/>
                    </a:lnTo>
                    <a:lnTo>
                      <a:pt x="21" y="33"/>
                    </a:lnTo>
                    <a:lnTo>
                      <a:pt x="21" y="33"/>
                    </a:lnTo>
                    <a:lnTo>
                      <a:pt x="23" y="36"/>
                    </a:lnTo>
                    <a:lnTo>
                      <a:pt x="27" y="36"/>
                    </a:lnTo>
                    <a:lnTo>
                      <a:pt x="30" y="36"/>
                    </a:lnTo>
                    <a:lnTo>
                      <a:pt x="33" y="33"/>
                    </a:lnTo>
                    <a:lnTo>
                      <a:pt x="33" y="33"/>
                    </a:lnTo>
                    <a:lnTo>
                      <a:pt x="36" y="30"/>
                    </a:lnTo>
                    <a:lnTo>
                      <a:pt x="37" y="27"/>
                    </a:lnTo>
                    <a:lnTo>
                      <a:pt x="36" y="23"/>
                    </a:lnTo>
                    <a:lnTo>
                      <a:pt x="33" y="19"/>
                    </a:lnTo>
                    <a:lnTo>
                      <a:pt x="16" y="3"/>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29" name="Freeform 628"/>
              <p:cNvSpPr>
                <a:spLocks/>
              </p:cNvSpPr>
              <p:nvPr/>
            </p:nvSpPr>
            <p:spPr bwMode="auto">
              <a:xfrm>
                <a:off x="6459632" y="3539697"/>
                <a:ext cx="13663" cy="14890"/>
              </a:xfrm>
              <a:custGeom>
                <a:avLst/>
                <a:gdLst>
                  <a:gd name="T0" fmla="*/ 17 w 36"/>
                  <a:gd name="T1" fmla="*/ 4 h 37"/>
                  <a:gd name="T2" fmla="*/ 17 w 36"/>
                  <a:gd name="T3" fmla="*/ 4 h 37"/>
                  <a:gd name="T4" fmla="*/ 13 w 36"/>
                  <a:gd name="T5" fmla="*/ 1 h 37"/>
                  <a:gd name="T6" fmla="*/ 9 w 36"/>
                  <a:gd name="T7" fmla="*/ 0 h 37"/>
                  <a:gd name="T8" fmla="*/ 6 w 36"/>
                  <a:gd name="T9" fmla="*/ 1 h 37"/>
                  <a:gd name="T10" fmla="*/ 3 w 36"/>
                  <a:gd name="T11" fmla="*/ 4 h 37"/>
                  <a:gd name="T12" fmla="*/ 3 w 36"/>
                  <a:gd name="T13" fmla="*/ 4 h 37"/>
                  <a:gd name="T14" fmla="*/ 0 w 36"/>
                  <a:gd name="T15" fmla="*/ 7 h 37"/>
                  <a:gd name="T16" fmla="*/ 0 w 36"/>
                  <a:gd name="T17" fmla="*/ 10 h 37"/>
                  <a:gd name="T18" fmla="*/ 0 w 36"/>
                  <a:gd name="T19" fmla="*/ 14 h 37"/>
                  <a:gd name="T20" fmla="*/ 3 w 36"/>
                  <a:gd name="T21" fmla="*/ 17 h 37"/>
                  <a:gd name="T22" fmla="*/ 20 w 36"/>
                  <a:gd name="T23" fmla="*/ 34 h 37"/>
                  <a:gd name="T24" fmla="*/ 20 w 36"/>
                  <a:gd name="T25" fmla="*/ 34 h 37"/>
                  <a:gd name="T26" fmla="*/ 23 w 36"/>
                  <a:gd name="T27" fmla="*/ 36 h 37"/>
                  <a:gd name="T28" fmla="*/ 26 w 36"/>
                  <a:gd name="T29" fmla="*/ 37 h 37"/>
                  <a:gd name="T30" fmla="*/ 30 w 36"/>
                  <a:gd name="T31" fmla="*/ 36 h 37"/>
                  <a:gd name="T32" fmla="*/ 33 w 36"/>
                  <a:gd name="T33" fmla="*/ 34 h 37"/>
                  <a:gd name="T34" fmla="*/ 33 w 36"/>
                  <a:gd name="T35" fmla="*/ 34 h 37"/>
                  <a:gd name="T36" fmla="*/ 35 w 36"/>
                  <a:gd name="T37" fmla="*/ 31 h 37"/>
                  <a:gd name="T38" fmla="*/ 36 w 36"/>
                  <a:gd name="T39" fmla="*/ 27 h 37"/>
                  <a:gd name="T40" fmla="*/ 35 w 36"/>
                  <a:gd name="T41" fmla="*/ 24 h 37"/>
                  <a:gd name="T42" fmla="*/ 33 w 36"/>
                  <a:gd name="T43" fmla="*/ 21 h 37"/>
                  <a:gd name="T44" fmla="*/ 17 w 36"/>
                  <a:gd name="T45" fmla="*/ 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37">
                    <a:moveTo>
                      <a:pt x="17" y="4"/>
                    </a:moveTo>
                    <a:lnTo>
                      <a:pt x="17" y="4"/>
                    </a:lnTo>
                    <a:lnTo>
                      <a:pt x="13" y="1"/>
                    </a:lnTo>
                    <a:lnTo>
                      <a:pt x="9" y="0"/>
                    </a:lnTo>
                    <a:lnTo>
                      <a:pt x="6" y="1"/>
                    </a:lnTo>
                    <a:lnTo>
                      <a:pt x="3" y="4"/>
                    </a:lnTo>
                    <a:lnTo>
                      <a:pt x="3" y="4"/>
                    </a:lnTo>
                    <a:lnTo>
                      <a:pt x="0" y="7"/>
                    </a:lnTo>
                    <a:lnTo>
                      <a:pt x="0" y="10"/>
                    </a:lnTo>
                    <a:lnTo>
                      <a:pt x="0" y="14"/>
                    </a:lnTo>
                    <a:lnTo>
                      <a:pt x="3" y="17"/>
                    </a:lnTo>
                    <a:lnTo>
                      <a:pt x="20" y="34"/>
                    </a:lnTo>
                    <a:lnTo>
                      <a:pt x="20" y="34"/>
                    </a:lnTo>
                    <a:lnTo>
                      <a:pt x="23" y="36"/>
                    </a:lnTo>
                    <a:lnTo>
                      <a:pt x="26" y="37"/>
                    </a:lnTo>
                    <a:lnTo>
                      <a:pt x="30" y="36"/>
                    </a:lnTo>
                    <a:lnTo>
                      <a:pt x="33" y="34"/>
                    </a:lnTo>
                    <a:lnTo>
                      <a:pt x="33" y="34"/>
                    </a:lnTo>
                    <a:lnTo>
                      <a:pt x="35" y="31"/>
                    </a:lnTo>
                    <a:lnTo>
                      <a:pt x="36" y="27"/>
                    </a:lnTo>
                    <a:lnTo>
                      <a:pt x="35" y="24"/>
                    </a:lnTo>
                    <a:lnTo>
                      <a:pt x="33" y="21"/>
                    </a:lnTo>
                    <a:lnTo>
                      <a:pt x="17" y="4"/>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grpSp>
          <p:nvGrpSpPr>
            <p:cNvPr id="607" name="Group 606"/>
            <p:cNvGrpSpPr/>
            <p:nvPr/>
          </p:nvGrpSpPr>
          <p:grpSpPr>
            <a:xfrm>
              <a:off x="6936669" y="3364902"/>
              <a:ext cx="235676" cy="273329"/>
              <a:chOff x="6647401" y="3365486"/>
              <a:chExt cx="207986" cy="241217"/>
            </a:xfrm>
          </p:grpSpPr>
          <p:sp>
            <p:nvSpPr>
              <p:cNvPr id="617" name="Freeform 616"/>
              <p:cNvSpPr>
                <a:spLocks/>
              </p:cNvSpPr>
              <p:nvPr/>
            </p:nvSpPr>
            <p:spPr bwMode="auto">
              <a:xfrm>
                <a:off x="6647401" y="3527786"/>
                <a:ext cx="207986" cy="78917"/>
              </a:xfrm>
              <a:custGeom>
                <a:avLst/>
                <a:gdLst>
                  <a:gd name="T0" fmla="*/ 486 w 547"/>
                  <a:gd name="T1" fmla="*/ 65 h 212"/>
                  <a:gd name="T2" fmla="*/ 440 w 547"/>
                  <a:gd name="T3" fmla="*/ 94 h 212"/>
                  <a:gd name="T4" fmla="*/ 388 w 547"/>
                  <a:gd name="T5" fmla="*/ 116 h 212"/>
                  <a:gd name="T6" fmla="*/ 333 w 547"/>
                  <a:gd name="T7" fmla="*/ 129 h 212"/>
                  <a:gd name="T8" fmla="*/ 273 w 547"/>
                  <a:gd name="T9" fmla="*/ 134 h 212"/>
                  <a:gd name="T10" fmla="*/ 243 w 547"/>
                  <a:gd name="T11" fmla="*/ 132 h 212"/>
                  <a:gd name="T12" fmla="*/ 186 w 547"/>
                  <a:gd name="T13" fmla="*/ 124 h 212"/>
                  <a:gd name="T14" fmla="*/ 132 w 547"/>
                  <a:gd name="T15" fmla="*/ 106 h 212"/>
                  <a:gd name="T16" fmla="*/ 83 w 547"/>
                  <a:gd name="T17" fmla="*/ 81 h 212"/>
                  <a:gd name="T18" fmla="*/ 61 w 547"/>
                  <a:gd name="T19" fmla="*/ 65 h 212"/>
                  <a:gd name="T20" fmla="*/ 27 w 547"/>
                  <a:gd name="T21" fmla="*/ 35 h 212"/>
                  <a:gd name="T22" fmla="*/ 0 w 547"/>
                  <a:gd name="T23" fmla="*/ 0 h 212"/>
                  <a:gd name="T24" fmla="*/ 0 w 547"/>
                  <a:gd name="T25" fmla="*/ 2 h 212"/>
                  <a:gd name="T26" fmla="*/ 1 w 547"/>
                  <a:gd name="T27" fmla="*/ 12 h 212"/>
                  <a:gd name="T28" fmla="*/ 3 w 547"/>
                  <a:gd name="T29" fmla="*/ 34 h 212"/>
                  <a:gd name="T30" fmla="*/ 9 w 547"/>
                  <a:gd name="T31" fmla="*/ 54 h 212"/>
                  <a:gd name="T32" fmla="*/ 22 w 547"/>
                  <a:gd name="T33" fmla="*/ 84 h 212"/>
                  <a:gd name="T34" fmla="*/ 47 w 547"/>
                  <a:gd name="T35" fmla="*/ 119 h 212"/>
                  <a:gd name="T36" fmla="*/ 80 w 547"/>
                  <a:gd name="T37" fmla="*/ 151 h 212"/>
                  <a:gd name="T38" fmla="*/ 121 w 547"/>
                  <a:gd name="T39" fmla="*/ 177 h 212"/>
                  <a:gd name="T40" fmla="*/ 168 w 547"/>
                  <a:gd name="T41" fmla="*/ 196 h 212"/>
                  <a:gd name="T42" fmla="*/ 218 w 547"/>
                  <a:gd name="T43" fmla="*/ 208 h 212"/>
                  <a:gd name="T44" fmla="*/ 273 w 547"/>
                  <a:gd name="T45" fmla="*/ 212 h 212"/>
                  <a:gd name="T46" fmla="*/ 301 w 547"/>
                  <a:gd name="T47" fmla="*/ 211 h 212"/>
                  <a:gd name="T48" fmla="*/ 354 w 547"/>
                  <a:gd name="T49" fmla="*/ 202 h 212"/>
                  <a:gd name="T50" fmla="*/ 404 w 547"/>
                  <a:gd name="T51" fmla="*/ 186 h 212"/>
                  <a:gd name="T52" fmla="*/ 447 w 547"/>
                  <a:gd name="T53" fmla="*/ 164 h 212"/>
                  <a:gd name="T54" fmla="*/ 484 w 547"/>
                  <a:gd name="T55" fmla="*/ 135 h 212"/>
                  <a:gd name="T56" fmla="*/ 513 w 547"/>
                  <a:gd name="T57" fmla="*/ 102 h 212"/>
                  <a:gd name="T58" fmla="*/ 534 w 547"/>
                  <a:gd name="T59" fmla="*/ 64 h 212"/>
                  <a:gd name="T60" fmla="*/ 541 w 547"/>
                  <a:gd name="T61" fmla="*/ 44 h 212"/>
                  <a:gd name="T62" fmla="*/ 546 w 547"/>
                  <a:gd name="T63" fmla="*/ 23 h 212"/>
                  <a:gd name="T64" fmla="*/ 547 w 547"/>
                  <a:gd name="T65" fmla="*/ 2 h 212"/>
                  <a:gd name="T66" fmla="*/ 547 w 547"/>
                  <a:gd name="T67" fmla="*/ 0 h 212"/>
                  <a:gd name="T68" fmla="*/ 534 w 547"/>
                  <a:gd name="T69" fmla="*/ 18 h 212"/>
                  <a:gd name="T70" fmla="*/ 503 w 547"/>
                  <a:gd name="T71" fmla="*/ 50 h 212"/>
                  <a:gd name="T72" fmla="*/ 486 w 547"/>
                  <a:gd name="T73" fmla="*/ 6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47" h="212">
                    <a:moveTo>
                      <a:pt x="486" y="65"/>
                    </a:moveTo>
                    <a:lnTo>
                      <a:pt x="486" y="65"/>
                    </a:lnTo>
                    <a:lnTo>
                      <a:pt x="463" y="81"/>
                    </a:lnTo>
                    <a:lnTo>
                      <a:pt x="440" y="94"/>
                    </a:lnTo>
                    <a:lnTo>
                      <a:pt x="415" y="106"/>
                    </a:lnTo>
                    <a:lnTo>
                      <a:pt x="388" y="116"/>
                    </a:lnTo>
                    <a:lnTo>
                      <a:pt x="361" y="124"/>
                    </a:lnTo>
                    <a:lnTo>
                      <a:pt x="333" y="129"/>
                    </a:lnTo>
                    <a:lnTo>
                      <a:pt x="304" y="132"/>
                    </a:lnTo>
                    <a:lnTo>
                      <a:pt x="273" y="134"/>
                    </a:lnTo>
                    <a:lnTo>
                      <a:pt x="273" y="134"/>
                    </a:lnTo>
                    <a:lnTo>
                      <a:pt x="243" y="132"/>
                    </a:lnTo>
                    <a:lnTo>
                      <a:pt x="214" y="129"/>
                    </a:lnTo>
                    <a:lnTo>
                      <a:pt x="186" y="124"/>
                    </a:lnTo>
                    <a:lnTo>
                      <a:pt x="159" y="116"/>
                    </a:lnTo>
                    <a:lnTo>
                      <a:pt x="132" y="106"/>
                    </a:lnTo>
                    <a:lnTo>
                      <a:pt x="107" y="94"/>
                    </a:lnTo>
                    <a:lnTo>
                      <a:pt x="83" y="81"/>
                    </a:lnTo>
                    <a:lnTo>
                      <a:pt x="61" y="65"/>
                    </a:lnTo>
                    <a:lnTo>
                      <a:pt x="61" y="65"/>
                    </a:lnTo>
                    <a:lnTo>
                      <a:pt x="43" y="50"/>
                    </a:lnTo>
                    <a:lnTo>
                      <a:pt x="27" y="35"/>
                    </a:lnTo>
                    <a:lnTo>
                      <a:pt x="13" y="18"/>
                    </a:lnTo>
                    <a:lnTo>
                      <a:pt x="0" y="0"/>
                    </a:lnTo>
                    <a:lnTo>
                      <a:pt x="0" y="0"/>
                    </a:lnTo>
                    <a:lnTo>
                      <a:pt x="0" y="2"/>
                    </a:lnTo>
                    <a:lnTo>
                      <a:pt x="0" y="2"/>
                    </a:lnTo>
                    <a:lnTo>
                      <a:pt x="1" y="12"/>
                    </a:lnTo>
                    <a:lnTo>
                      <a:pt x="1" y="23"/>
                    </a:lnTo>
                    <a:lnTo>
                      <a:pt x="3" y="34"/>
                    </a:lnTo>
                    <a:lnTo>
                      <a:pt x="6" y="44"/>
                    </a:lnTo>
                    <a:lnTo>
                      <a:pt x="9" y="54"/>
                    </a:lnTo>
                    <a:lnTo>
                      <a:pt x="13" y="64"/>
                    </a:lnTo>
                    <a:lnTo>
                      <a:pt x="22" y="84"/>
                    </a:lnTo>
                    <a:lnTo>
                      <a:pt x="34" y="102"/>
                    </a:lnTo>
                    <a:lnTo>
                      <a:pt x="47" y="119"/>
                    </a:lnTo>
                    <a:lnTo>
                      <a:pt x="63" y="135"/>
                    </a:lnTo>
                    <a:lnTo>
                      <a:pt x="80" y="151"/>
                    </a:lnTo>
                    <a:lnTo>
                      <a:pt x="100" y="164"/>
                    </a:lnTo>
                    <a:lnTo>
                      <a:pt x="121" y="177"/>
                    </a:lnTo>
                    <a:lnTo>
                      <a:pt x="143" y="186"/>
                    </a:lnTo>
                    <a:lnTo>
                      <a:pt x="168" y="196"/>
                    </a:lnTo>
                    <a:lnTo>
                      <a:pt x="192" y="202"/>
                    </a:lnTo>
                    <a:lnTo>
                      <a:pt x="218" y="208"/>
                    </a:lnTo>
                    <a:lnTo>
                      <a:pt x="245" y="211"/>
                    </a:lnTo>
                    <a:lnTo>
                      <a:pt x="273" y="212"/>
                    </a:lnTo>
                    <a:lnTo>
                      <a:pt x="273" y="212"/>
                    </a:lnTo>
                    <a:lnTo>
                      <a:pt x="301" y="211"/>
                    </a:lnTo>
                    <a:lnTo>
                      <a:pt x="328" y="208"/>
                    </a:lnTo>
                    <a:lnTo>
                      <a:pt x="354" y="202"/>
                    </a:lnTo>
                    <a:lnTo>
                      <a:pt x="379" y="196"/>
                    </a:lnTo>
                    <a:lnTo>
                      <a:pt x="404" y="186"/>
                    </a:lnTo>
                    <a:lnTo>
                      <a:pt x="426" y="177"/>
                    </a:lnTo>
                    <a:lnTo>
                      <a:pt x="447" y="164"/>
                    </a:lnTo>
                    <a:lnTo>
                      <a:pt x="467" y="151"/>
                    </a:lnTo>
                    <a:lnTo>
                      <a:pt x="484" y="135"/>
                    </a:lnTo>
                    <a:lnTo>
                      <a:pt x="500" y="119"/>
                    </a:lnTo>
                    <a:lnTo>
                      <a:pt x="513" y="102"/>
                    </a:lnTo>
                    <a:lnTo>
                      <a:pt x="525" y="84"/>
                    </a:lnTo>
                    <a:lnTo>
                      <a:pt x="534" y="64"/>
                    </a:lnTo>
                    <a:lnTo>
                      <a:pt x="538" y="54"/>
                    </a:lnTo>
                    <a:lnTo>
                      <a:pt x="541" y="44"/>
                    </a:lnTo>
                    <a:lnTo>
                      <a:pt x="543" y="34"/>
                    </a:lnTo>
                    <a:lnTo>
                      <a:pt x="546" y="23"/>
                    </a:lnTo>
                    <a:lnTo>
                      <a:pt x="547" y="12"/>
                    </a:lnTo>
                    <a:lnTo>
                      <a:pt x="547" y="2"/>
                    </a:lnTo>
                    <a:lnTo>
                      <a:pt x="547" y="2"/>
                    </a:lnTo>
                    <a:lnTo>
                      <a:pt x="547" y="0"/>
                    </a:lnTo>
                    <a:lnTo>
                      <a:pt x="547" y="0"/>
                    </a:lnTo>
                    <a:lnTo>
                      <a:pt x="534" y="18"/>
                    </a:lnTo>
                    <a:lnTo>
                      <a:pt x="520" y="35"/>
                    </a:lnTo>
                    <a:lnTo>
                      <a:pt x="503" y="50"/>
                    </a:lnTo>
                    <a:lnTo>
                      <a:pt x="486" y="65"/>
                    </a:lnTo>
                    <a:lnTo>
                      <a:pt x="486" y="65"/>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18" name="Freeform 617"/>
              <p:cNvSpPr>
                <a:spLocks/>
              </p:cNvSpPr>
              <p:nvPr/>
            </p:nvSpPr>
            <p:spPr bwMode="auto">
              <a:xfrm>
                <a:off x="6647401" y="3486094"/>
                <a:ext cx="207986" cy="78917"/>
              </a:xfrm>
              <a:custGeom>
                <a:avLst/>
                <a:gdLst>
                  <a:gd name="T0" fmla="*/ 546 w 547"/>
                  <a:gd name="T1" fmla="*/ 1 h 212"/>
                  <a:gd name="T2" fmla="*/ 525 w 547"/>
                  <a:gd name="T3" fmla="*/ 28 h 212"/>
                  <a:gd name="T4" fmla="*/ 516 w 547"/>
                  <a:gd name="T5" fmla="*/ 38 h 212"/>
                  <a:gd name="T6" fmla="*/ 497 w 547"/>
                  <a:gd name="T7" fmla="*/ 56 h 212"/>
                  <a:gd name="T8" fmla="*/ 486 w 547"/>
                  <a:gd name="T9" fmla="*/ 65 h 212"/>
                  <a:gd name="T10" fmla="*/ 440 w 547"/>
                  <a:gd name="T11" fmla="*/ 94 h 212"/>
                  <a:gd name="T12" fmla="*/ 388 w 547"/>
                  <a:gd name="T13" fmla="*/ 116 h 212"/>
                  <a:gd name="T14" fmla="*/ 333 w 547"/>
                  <a:gd name="T15" fmla="*/ 129 h 212"/>
                  <a:gd name="T16" fmla="*/ 273 w 547"/>
                  <a:gd name="T17" fmla="*/ 134 h 212"/>
                  <a:gd name="T18" fmla="*/ 243 w 547"/>
                  <a:gd name="T19" fmla="*/ 132 h 212"/>
                  <a:gd name="T20" fmla="*/ 186 w 547"/>
                  <a:gd name="T21" fmla="*/ 123 h 212"/>
                  <a:gd name="T22" fmla="*/ 132 w 547"/>
                  <a:gd name="T23" fmla="*/ 106 h 212"/>
                  <a:gd name="T24" fmla="*/ 83 w 547"/>
                  <a:gd name="T25" fmla="*/ 81 h 212"/>
                  <a:gd name="T26" fmla="*/ 61 w 547"/>
                  <a:gd name="T27" fmla="*/ 65 h 212"/>
                  <a:gd name="T28" fmla="*/ 40 w 547"/>
                  <a:gd name="T29" fmla="*/ 48 h 212"/>
                  <a:gd name="T30" fmla="*/ 22 w 547"/>
                  <a:gd name="T31" fmla="*/ 28 h 212"/>
                  <a:gd name="T32" fmla="*/ 11 w 547"/>
                  <a:gd name="T33" fmla="*/ 15 h 212"/>
                  <a:gd name="T34" fmla="*/ 1 w 547"/>
                  <a:gd name="T35" fmla="*/ 1 h 212"/>
                  <a:gd name="T36" fmla="*/ 0 w 547"/>
                  <a:gd name="T37" fmla="*/ 0 h 212"/>
                  <a:gd name="T38" fmla="*/ 0 w 547"/>
                  <a:gd name="T39" fmla="*/ 1 h 212"/>
                  <a:gd name="T40" fmla="*/ 0 w 547"/>
                  <a:gd name="T41" fmla="*/ 2 h 212"/>
                  <a:gd name="T42" fmla="*/ 3 w 547"/>
                  <a:gd name="T43" fmla="*/ 29 h 212"/>
                  <a:gd name="T44" fmla="*/ 10 w 547"/>
                  <a:gd name="T45" fmla="*/ 56 h 212"/>
                  <a:gd name="T46" fmla="*/ 16 w 547"/>
                  <a:gd name="T47" fmla="*/ 73 h 212"/>
                  <a:gd name="T48" fmla="*/ 35 w 547"/>
                  <a:gd name="T49" fmla="*/ 104 h 212"/>
                  <a:gd name="T50" fmla="*/ 60 w 547"/>
                  <a:gd name="T51" fmla="*/ 132 h 212"/>
                  <a:gd name="T52" fmla="*/ 90 w 547"/>
                  <a:gd name="T53" fmla="*/ 157 h 212"/>
                  <a:gd name="T54" fmla="*/ 124 w 547"/>
                  <a:gd name="T55" fmla="*/ 177 h 212"/>
                  <a:gd name="T56" fmla="*/ 163 w 547"/>
                  <a:gd name="T57" fmla="*/ 194 h 212"/>
                  <a:gd name="T58" fmla="*/ 205 w 547"/>
                  <a:gd name="T59" fmla="*/ 206 h 212"/>
                  <a:gd name="T60" fmla="*/ 250 w 547"/>
                  <a:gd name="T61" fmla="*/ 211 h 212"/>
                  <a:gd name="T62" fmla="*/ 273 w 547"/>
                  <a:gd name="T63" fmla="*/ 212 h 212"/>
                  <a:gd name="T64" fmla="*/ 320 w 547"/>
                  <a:gd name="T65" fmla="*/ 209 h 212"/>
                  <a:gd name="T66" fmla="*/ 363 w 547"/>
                  <a:gd name="T67" fmla="*/ 200 h 212"/>
                  <a:gd name="T68" fmla="*/ 404 w 547"/>
                  <a:gd name="T69" fmla="*/ 186 h 212"/>
                  <a:gd name="T70" fmla="*/ 441 w 547"/>
                  <a:gd name="T71" fmla="*/ 168 h 212"/>
                  <a:gd name="T72" fmla="*/ 473 w 547"/>
                  <a:gd name="T73" fmla="*/ 145 h 212"/>
                  <a:gd name="T74" fmla="*/ 500 w 547"/>
                  <a:gd name="T75" fmla="*/ 118 h 212"/>
                  <a:gd name="T76" fmla="*/ 522 w 547"/>
                  <a:gd name="T77" fmla="*/ 89 h 212"/>
                  <a:gd name="T78" fmla="*/ 537 w 547"/>
                  <a:gd name="T79" fmla="*/ 56 h 212"/>
                  <a:gd name="T80" fmla="*/ 541 w 547"/>
                  <a:gd name="T81" fmla="*/ 44 h 212"/>
                  <a:gd name="T82" fmla="*/ 546 w 547"/>
                  <a:gd name="T83" fmla="*/ 17 h 212"/>
                  <a:gd name="T84" fmla="*/ 547 w 547"/>
                  <a:gd name="T85" fmla="*/ 2 h 212"/>
                  <a:gd name="T86" fmla="*/ 547 w 547"/>
                  <a:gd name="T87" fmla="*/ 1 h 212"/>
                  <a:gd name="T88" fmla="*/ 547 w 547"/>
                  <a:gd name="T89" fmla="*/ 0 h 212"/>
                  <a:gd name="T90" fmla="*/ 546 w 547"/>
                  <a:gd name="T91" fmla="*/ 1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47" h="212">
                    <a:moveTo>
                      <a:pt x="546" y="1"/>
                    </a:moveTo>
                    <a:lnTo>
                      <a:pt x="546" y="1"/>
                    </a:lnTo>
                    <a:lnTo>
                      <a:pt x="536" y="15"/>
                    </a:lnTo>
                    <a:lnTo>
                      <a:pt x="525" y="28"/>
                    </a:lnTo>
                    <a:lnTo>
                      <a:pt x="525" y="28"/>
                    </a:lnTo>
                    <a:lnTo>
                      <a:pt x="516" y="38"/>
                    </a:lnTo>
                    <a:lnTo>
                      <a:pt x="507" y="48"/>
                    </a:lnTo>
                    <a:lnTo>
                      <a:pt x="497" y="56"/>
                    </a:lnTo>
                    <a:lnTo>
                      <a:pt x="486" y="65"/>
                    </a:lnTo>
                    <a:lnTo>
                      <a:pt x="486" y="65"/>
                    </a:lnTo>
                    <a:lnTo>
                      <a:pt x="463" y="81"/>
                    </a:lnTo>
                    <a:lnTo>
                      <a:pt x="440" y="94"/>
                    </a:lnTo>
                    <a:lnTo>
                      <a:pt x="415" y="106"/>
                    </a:lnTo>
                    <a:lnTo>
                      <a:pt x="388" y="116"/>
                    </a:lnTo>
                    <a:lnTo>
                      <a:pt x="361" y="123"/>
                    </a:lnTo>
                    <a:lnTo>
                      <a:pt x="333" y="129"/>
                    </a:lnTo>
                    <a:lnTo>
                      <a:pt x="304" y="132"/>
                    </a:lnTo>
                    <a:lnTo>
                      <a:pt x="273" y="134"/>
                    </a:lnTo>
                    <a:lnTo>
                      <a:pt x="273" y="134"/>
                    </a:lnTo>
                    <a:lnTo>
                      <a:pt x="243" y="132"/>
                    </a:lnTo>
                    <a:lnTo>
                      <a:pt x="214" y="129"/>
                    </a:lnTo>
                    <a:lnTo>
                      <a:pt x="186" y="123"/>
                    </a:lnTo>
                    <a:lnTo>
                      <a:pt x="159" y="116"/>
                    </a:lnTo>
                    <a:lnTo>
                      <a:pt x="132" y="106"/>
                    </a:lnTo>
                    <a:lnTo>
                      <a:pt x="107" y="94"/>
                    </a:lnTo>
                    <a:lnTo>
                      <a:pt x="83" y="81"/>
                    </a:lnTo>
                    <a:lnTo>
                      <a:pt x="61" y="65"/>
                    </a:lnTo>
                    <a:lnTo>
                      <a:pt x="61" y="65"/>
                    </a:lnTo>
                    <a:lnTo>
                      <a:pt x="50" y="56"/>
                    </a:lnTo>
                    <a:lnTo>
                      <a:pt x="40" y="48"/>
                    </a:lnTo>
                    <a:lnTo>
                      <a:pt x="30" y="38"/>
                    </a:lnTo>
                    <a:lnTo>
                      <a:pt x="22" y="28"/>
                    </a:lnTo>
                    <a:lnTo>
                      <a:pt x="22" y="28"/>
                    </a:lnTo>
                    <a:lnTo>
                      <a:pt x="11" y="15"/>
                    </a:lnTo>
                    <a:lnTo>
                      <a:pt x="1" y="1"/>
                    </a:lnTo>
                    <a:lnTo>
                      <a:pt x="1" y="1"/>
                    </a:lnTo>
                    <a:lnTo>
                      <a:pt x="0" y="0"/>
                    </a:lnTo>
                    <a:lnTo>
                      <a:pt x="0" y="0"/>
                    </a:lnTo>
                    <a:lnTo>
                      <a:pt x="0" y="1"/>
                    </a:lnTo>
                    <a:lnTo>
                      <a:pt x="0" y="1"/>
                    </a:lnTo>
                    <a:lnTo>
                      <a:pt x="0" y="2"/>
                    </a:lnTo>
                    <a:lnTo>
                      <a:pt x="0" y="2"/>
                    </a:lnTo>
                    <a:lnTo>
                      <a:pt x="1" y="17"/>
                    </a:lnTo>
                    <a:lnTo>
                      <a:pt x="3" y="29"/>
                    </a:lnTo>
                    <a:lnTo>
                      <a:pt x="6" y="44"/>
                    </a:lnTo>
                    <a:lnTo>
                      <a:pt x="10" y="56"/>
                    </a:lnTo>
                    <a:lnTo>
                      <a:pt x="10" y="56"/>
                    </a:lnTo>
                    <a:lnTo>
                      <a:pt x="16" y="73"/>
                    </a:lnTo>
                    <a:lnTo>
                      <a:pt x="25" y="89"/>
                    </a:lnTo>
                    <a:lnTo>
                      <a:pt x="35" y="104"/>
                    </a:lnTo>
                    <a:lnTo>
                      <a:pt x="47" y="118"/>
                    </a:lnTo>
                    <a:lnTo>
                      <a:pt x="60" y="132"/>
                    </a:lnTo>
                    <a:lnTo>
                      <a:pt x="74" y="145"/>
                    </a:lnTo>
                    <a:lnTo>
                      <a:pt x="90" y="157"/>
                    </a:lnTo>
                    <a:lnTo>
                      <a:pt x="106" y="168"/>
                    </a:lnTo>
                    <a:lnTo>
                      <a:pt x="124" y="177"/>
                    </a:lnTo>
                    <a:lnTo>
                      <a:pt x="143" y="186"/>
                    </a:lnTo>
                    <a:lnTo>
                      <a:pt x="163" y="194"/>
                    </a:lnTo>
                    <a:lnTo>
                      <a:pt x="184" y="200"/>
                    </a:lnTo>
                    <a:lnTo>
                      <a:pt x="205" y="206"/>
                    </a:lnTo>
                    <a:lnTo>
                      <a:pt x="227" y="209"/>
                    </a:lnTo>
                    <a:lnTo>
                      <a:pt x="250" y="211"/>
                    </a:lnTo>
                    <a:lnTo>
                      <a:pt x="273" y="212"/>
                    </a:lnTo>
                    <a:lnTo>
                      <a:pt x="273" y="212"/>
                    </a:lnTo>
                    <a:lnTo>
                      <a:pt x="297" y="211"/>
                    </a:lnTo>
                    <a:lnTo>
                      <a:pt x="320" y="209"/>
                    </a:lnTo>
                    <a:lnTo>
                      <a:pt x="341" y="206"/>
                    </a:lnTo>
                    <a:lnTo>
                      <a:pt x="363" y="200"/>
                    </a:lnTo>
                    <a:lnTo>
                      <a:pt x="385" y="194"/>
                    </a:lnTo>
                    <a:lnTo>
                      <a:pt x="404" y="186"/>
                    </a:lnTo>
                    <a:lnTo>
                      <a:pt x="422" y="177"/>
                    </a:lnTo>
                    <a:lnTo>
                      <a:pt x="441" y="168"/>
                    </a:lnTo>
                    <a:lnTo>
                      <a:pt x="457" y="157"/>
                    </a:lnTo>
                    <a:lnTo>
                      <a:pt x="473" y="145"/>
                    </a:lnTo>
                    <a:lnTo>
                      <a:pt x="487" y="132"/>
                    </a:lnTo>
                    <a:lnTo>
                      <a:pt x="500" y="118"/>
                    </a:lnTo>
                    <a:lnTo>
                      <a:pt x="512" y="104"/>
                    </a:lnTo>
                    <a:lnTo>
                      <a:pt x="522" y="89"/>
                    </a:lnTo>
                    <a:lnTo>
                      <a:pt x="530" y="73"/>
                    </a:lnTo>
                    <a:lnTo>
                      <a:pt x="537" y="56"/>
                    </a:lnTo>
                    <a:lnTo>
                      <a:pt x="537" y="56"/>
                    </a:lnTo>
                    <a:lnTo>
                      <a:pt x="541" y="44"/>
                    </a:lnTo>
                    <a:lnTo>
                      <a:pt x="543" y="29"/>
                    </a:lnTo>
                    <a:lnTo>
                      <a:pt x="546" y="17"/>
                    </a:lnTo>
                    <a:lnTo>
                      <a:pt x="547" y="2"/>
                    </a:lnTo>
                    <a:lnTo>
                      <a:pt x="547" y="2"/>
                    </a:lnTo>
                    <a:lnTo>
                      <a:pt x="547" y="1"/>
                    </a:lnTo>
                    <a:lnTo>
                      <a:pt x="547" y="1"/>
                    </a:lnTo>
                    <a:lnTo>
                      <a:pt x="547" y="0"/>
                    </a:lnTo>
                    <a:lnTo>
                      <a:pt x="547" y="0"/>
                    </a:lnTo>
                    <a:lnTo>
                      <a:pt x="546" y="1"/>
                    </a:lnTo>
                    <a:lnTo>
                      <a:pt x="546" y="1"/>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19" name="Freeform 618"/>
              <p:cNvSpPr>
                <a:spLocks noEditPoints="1"/>
              </p:cNvSpPr>
              <p:nvPr/>
            </p:nvSpPr>
            <p:spPr bwMode="auto">
              <a:xfrm>
                <a:off x="6647401" y="3365486"/>
                <a:ext cx="207986" cy="156343"/>
              </a:xfrm>
              <a:custGeom>
                <a:avLst/>
                <a:gdLst>
                  <a:gd name="T0" fmla="*/ 10 w 547"/>
                  <a:gd name="T1" fmla="*/ 266 h 421"/>
                  <a:gd name="T2" fmla="*/ 22 w 547"/>
                  <a:gd name="T3" fmla="*/ 293 h 421"/>
                  <a:gd name="T4" fmla="*/ 30 w 547"/>
                  <a:gd name="T5" fmla="*/ 307 h 421"/>
                  <a:gd name="T6" fmla="*/ 40 w 547"/>
                  <a:gd name="T7" fmla="*/ 321 h 421"/>
                  <a:gd name="T8" fmla="*/ 61 w 547"/>
                  <a:gd name="T9" fmla="*/ 343 h 421"/>
                  <a:gd name="T10" fmla="*/ 83 w 547"/>
                  <a:gd name="T11" fmla="*/ 362 h 421"/>
                  <a:gd name="T12" fmla="*/ 109 w 547"/>
                  <a:gd name="T13" fmla="*/ 379 h 421"/>
                  <a:gd name="T14" fmla="*/ 138 w 547"/>
                  <a:gd name="T15" fmla="*/ 393 h 421"/>
                  <a:gd name="T16" fmla="*/ 169 w 547"/>
                  <a:gd name="T17" fmla="*/ 405 h 421"/>
                  <a:gd name="T18" fmla="*/ 202 w 547"/>
                  <a:gd name="T19" fmla="*/ 414 h 421"/>
                  <a:gd name="T20" fmla="*/ 237 w 547"/>
                  <a:gd name="T21" fmla="*/ 419 h 421"/>
                  <a:gd name="T22" fmla="*/ 273 w 547"/>
                  <a:gd name="T23" fmla="*/ 421 h 421"/>
                  <a:gd name="T24" fmla="*/ 292 w 547"/>
                  <a:gd name="T25" fmla="*/ 420 h 421"/>
                  <a:gd name="T26" fmla="*/ 327 w 547"/>
                  <a:gd name="T27" fmla="*/ 417 h 421"/>
                  <a:gd name="T28" fmla="*/ 361 w 547"/>
                  <a:gd name="T29" fmla="*/ 409 h 421"/>
                  <a:gd name="T30" fmla="*/ 393 w 547"/>
                  <a:gd name="T31" fmla="*/ 400 h 421"/>
                  <a:gd name="T32" fmla="*/ 424 w 547"/>
                  <a:gd name="T33" fmla="*/ 387 h 421"/>
                  <a:gd name="T34" fmla="*/ 451 w 547"/>
                  <a:gd name="T35" fmla="*/ 371 h 421"/>
                  <a:gd name="T36" fmla="*/ 475 w 547"/>
                  <a:gd name="T37" fmla="*/ 352 h 421"/>
                  <a:gd name="T38" fmla="*/ 497 w 547"/>
                  <a:gd name="T39" fmla="*/ 332 h 421"/>
                  <a:gd name="T40" fmla="*/ 507 w 547"/>
                  <a:gd name="T41" fmla="*/ 321 h 421"/>
                  <a:gd name="T42" fmla="*/ 525 w 547"/>
                  <a:gd name="T43" fmla="*/ 293 h 421"/>
                  <a:gd name="T44" fmla="*/ 532 w 547"/>
                  <a:gd name="T45" fmla="*/ 280 h 421"/>
                  <a:gd name="T46" fmla="*/ 537 w 547"/>
                  <a:gd name="T47" fmla="*/ 266 h 421"/>
                  <a:gd name="T48" fmla="*/ 543 w 547"/>
                  <a:gd name="T49" fmla="*/ 239 h 421"/>
                  <a:gd name="T50" fmla="*/ 547 w 547"/>
                  <a:gd name="T51" fmla="*/ 212 h 421"/>
                  <a:gd name="T52" fmla="*/ 547 w 547"/>
                  <a:gd name="T53" fmla="*/ 211 h 421"/>
                  <a:gd name="T54" fmla="*/ 547 w 547"/>
                  <a:gd name="T55" fmla="*/ 200 h 421"/>
                  <a:gd name="T56" fmla="*/ 543 w 547"/>
                  <a:gd name="T57" fmla="*/ 178 h 421"/>
                  <a:gd name="T58" fmla="*/ 538 w 547"/>
                  <a:gd name="T59" fmla="*/ 158 h 421"/>
                  <a:gd name="T60" fmla="*/ 525 w 547"/>
                  <a:gd name="T61" fmla="*/ 129 h 421"/>
                  <a:gd name="T62" fmla="*/ 500 w 547"/>
                  <a:gd name="T63" fmla="*/ 93 h 421"/>
                  <a:gd name="T64" fmla="*/ 467 w 547"/>
                  <a:gd name="T65" fmla="*/ 62 h 421"/>
                  <a:gd name="T66" fmla="*/ 426 w 547"/>
                  <a:gd name="T67" fmla="*/ 36 h 421"/>
                  <a:gd name="T68" fmla="*/ 379 w 547"/>
                  <a:gd name="T69" fmla="*/ 16 h 421"/>
                  <a:gd name="T70" fmla="*/ 328 w 547"/>
                  <a:gd name="T71" fmla="*/ 3 h 421"/>
                  <a:gd name="T72" fmla="*/ 273 w 547"/>
                  <a:gd name="T73" fmla="*/ 0 h 421"/>
                  <a:gd name="T74" fmla="*/ 245 w 547"/>
                  <a:gd name="T75" fmla="*/ 1 h 421"/>
                  <a:gd name="T76" fmla="*/ 192 w 547"/>
                  <a:gd name="T77" fmla="*/ 9 h 421"/>
                  <a:gd name="T78" fmla="*/ 143 w 547"/>
                  <a:gd name="T79" fmla="*/ 25 h 421"/>
                  <a:gd name="T80" fmla="*/ 100 w 547"/>
                  <a:gd name="T81" fmla="*/ 48 h 421"/>
                  <a:gd name="T82" fmla="*/ 63 w 547"/>
                  <a:gd name="T83" fmla="*/ 77 h 421"/>
                  <a:gd name="T84" fmla="*/ 34 w 547"/>
                  <a:gd name="T85" fmla="*/ 110 h 421"/>
                  <a:gd name="T86" fmla="*/ 13 w 547"/>
                  <a:gd name="T87" fmla="*/ 148 h 421"/>
                  <a:gd name="T88" fmla="*/ 6 w 547"/>
                  <a:gd name="T89" fmla="*/ 168 h 421"/>
                  <a:gd name="T90" fmla="*/ 1 w 547"/>
                  <a:gd name="T91" fmla="*/ 189 h 421"/>
                  <a:gd name="T92" fmla="*/ 0 w 547"/>
                  <a:gd name="T93" fmla="*/ 211 h 421"/>
                  <a:gd name="T94" fmla="*/ 0 w 547"/>
                  <a:gd name="T95" fmla="*/ 212 h 421"/>
                  <a:gd name="T96" fmla="*/ 1 w 547"/>
                  <a:gd name="T97" fmla="*/ 226 h 421"/>
                  <a:gd name="T98" fmla="*/ 6 w 547"/>
                  <a:gd name="T99" fmla="*/ 253 h 421"/>
                  <a:gd name="T100" fmla="*/ 10 w 547"/>
                  <a:gd name="T101" fmla="*/ 266 h 421"/>
                  <a:gd name="T102" fmla="*/ 388 w 547"/>
                  <a:gd name="T103" fmla="*/ 232 h 421"/>
                  <a:gd name="T104" fmla="*/ 335 w 547"/>
                  <a:gd name="T105" fmla="*/ 330 h 421"/>
                  <a:gd name="T106" fmla="*/ 212 w 547"/>
                  <a:gd name="T107" fmla="*/ 232 h 421"/>
                  <a:gd name="T108" fmla="*/ 273 w 547"/>
                  <a:gd name="T109" fmla="*/ 107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7" h="421">
                    <a:moveTo>
                      <a:pt x="10" y="266"/>
                    </a:moveTo>
                    <a:lnTo>
                      <a:pt x="10" y="266"/>
                    </a:lnTo>
                    <a:lnTo>
                      <a:pt x="15" y="280"/>
                    </a:lnTo>
                    <a:lnTo>
                      <a:pt x="22" y="293"/>
                    </a:lnTo>
                    <a:lnTo>
                      <a:pt x="22" y="293"/>
                    </a:lnTo>
                    <a:lnTo>
                      <a:pt x="30" y="307"/>
                    </a:lnTo>
                    <a:lnTo>
                      <a:pt x="40" y="321"/>
                    </a:lnTo>
                    <a:lnTo>
                      <a:pt x="40" y="321"/>
                    </a:lnTo>
                    <a:lnTo>
                      <a:pt x="50" y="332"/>
                    </a:lnTo>
                    <a:lnTo>
                      <a:pt x="61" y="343"/>
                    </a:lnTo>
                    <a:lnTo>
                      <a:pt x="71" y="352"/>
                    </a:lnTo>
                    <a:lnTo>
                      <a:pt x="83" y="362"/>
                    </a:lnTo>
                    <a:lnTo>
                      <a:pt x="96" y="371"/>
                    </a:lnTo>
                    <a:lnTo>
                      <a:pt x="109" y="379"/>
                    </a:lnTo>
                    <a:lnTo>
                      <a:pt x="123" y="387"/>
                    </a:lnTo>
                    <a:lnTo>
                      <a:pt x="138" y="393"/>
                    </a:lnTo>
                    <a:lnTo>
                      <a:pt x="154" y="400"/>
                    </a:lnTo>
                    <a:lnTo>
                      <a:pt x="169" y="405"/>
                    </a:lnTo>
                    <a:lnTo>
                      <a:pt x="186" y="409"/>
                    </a:lnTo>
                    <a:lnTo>
                      <a:pt x="202" y="414"/>
                    </a:lnTo>
                    <a:lnTo>
                      <a:pt x="219" y="417"/>
                    </a:lnTo>
                    <a:lnTo>
                      <a:pt x="237" y="419"/>
                    </a:lnTo>
                    <a:lnTo>
                      <a:pt x="255" y="420"/>
                    </a:lnTo>
                    <a:lnTo>
                      <a:pt x="273" y="421"/>
                    </a:lnTo>
                    <a:lnTo>
                      <a:pt x="273" y="421"/>
                    </a:lnTo>
                    <a:lnTo>
                      <a:pt x="292" y="420"/>
                    </a:lnTo>
                    <a:lnTo>
                      <a:pt x="310" y="419"/>
                    </a:lnTo>
                    <a:lnTo>
                      <a:pt x="327" y="417"/>
                    </a:lnTo>
                    <a:lnTo>
                      <a:pt x="345" y="414"/>
                    </a:lnTo>
                    <a:lnTo>
                      <a:pt x="361" y="409"/>
                    </a:lnTo>
                    <a:lnTo>
                      <a:pt x="378" y="405"/>
                    </a:lnTo>
                    <a:lnTo>
                      <a:pt x="393" y="400"/>
                    </a:lnTo>
                    <a:lnTo>
                      <a:pt x="408" y="393"/>
                    </a:lnTo>
                    <a:lnTo>
                      <a:pt x="424" y="387"/>
                    </a:lnTo>
                    <a:lnTo>
                      <a:pt x="438" y="379"/>
                    </a:lnTo>
                    <a:lnTo>
                      <a:pt x="451" y="371"/>
                    </a:lnTo>
                    <a:lnTo>
                      <a:pt x="463" y="362"/>
                    </a:lnTo>
                    <a:lnTo>
                      <a:pt x="475" y="352"/>
                    </a:lnTo>
                    <a:lnTo>
                      <a:pt x="486" y="343"/>
                    </a:lnTo>
                    <a:lnTo>
                      <a:pt x="497" y="332"/>
                    </a:lnTo>
                    <a:lnTo>
                      <a:pt x="507" y="321"/>
                    </a:lnTo>
                    <a:lnTo>
                      <a:pt x="507" y="321"/>
                    </a:lnTo>
                    <a:lnTo>
                      <a:pt x="516" y="307"/>
                    </a:lnTo>
                    <a:lnTo>
                      <a:pt x="525" y="293"/>
                    </a:lnTo>
                    <a:lnTo>
                      <a:pt x="525" y="293"/>
                    </a:lnTo>
                    <a:lnTo>
                      <a:pt x="532" y="280"/>
                    </a:lnTo>
                    <a:lnTo>
                      <a:pt x="537" y="266"/>
                    </a:lnTo>
                    <a:lnTo>
                      <a:pt x="537" y="266"/>
                    </a:lnTo>
                    <a:lnTo>
                      <a:pt x="541" y="253"/>
                    </a:lnTo>
                    <a:lnTo>
                      <a:pt x="543" y="239"/>
                    </a:lnTo>
                    <a:lnTo>
                      <a:pt x="546" y="226"/>
                    </a:lnTo>
                    <a:lnTo>
                      <a:pt x="547" y="212"/>
                    </a:lnTo>
                    <a:lnTo>
                      <a:pt x="547" y="212"/>
                    </a:lnTo>
                    <a:lnTo>
                      <a:pt x="547" y="211"/>
                    </a:lnTo>
                    <a:lnTo>
                      <a:pt x="547" y="211"/>
                    </a:lnTo>
                    <a:lnTo>
                      <a:pt x="547" y="200"/>
                    </a:lnTo>
                    <a:lnTo>
                      <a:pt x="546" y="189"/>
                    </a:lnTo>
                    <a:lnTo>
                      <a:pt x="543" y="178"/>
                    </a:lnTo>
                    <a:lnTo>
                      <a:pt x="541" y="168"/>
                    </a:lnTo>
                    <a:lnTo>
                      <a:pt x="538" y="158"/>
                    </a:lnTo>
                    <a:lnTo>
                      <a:pt x="534" y="148"/>
                    </a:lnTo>
                    <a:lnTo>
                      <a:pt x="525" y="129"/>
                    </a:lnTo>
                    <a:lnTo>
                      <a:pt x="513" y="110"/>
                    </a:lnTo>
                    <a:lnTo>
                      <a:pt x="500" y="93"/>
                    </a:lnTo>
                    <a:lnTo>
                      <a:pt x="484" y="77"/>
                    </a:lnTo>
                    <a:lnTo>
                      <a:pt x="467" y="62"/>
                    </a:lnTo>
                    <a:lnTo>
                      <a:pt x="447" y="48"/>
                    </a:lnTo>
                    <a:lnTo>
                      <a:pt x="426" y="36"/>
                    </a:lnTo>
                    <a:lnTo>
                      <a:pt x="404" y="25"/>
                    </a:lnTo>
                    <a:lnTo>
                      <a:pt x="379" y="16"/>
                    </a:lnTo>
                    <a:lnTo>
                      <a:pt x="354" y="9"/>
                    </a:lnTo>
                    <a:lnTo>
                      <a:pt x="328" y="3"/>
                    </a:lnTo>
                    <a:lnTo>
                      <a:pt x="301" y="1"/>
                    </a:lnTo>
                    <a:lnTo>
                      <a:pt x="273" y="0"/>
                    </a:lnTo>
                    <a:lnTo>
                      <a:pt x="273" y="0"/>
                    </a:lnTo>
                    <a:lnTo>
                      <a:pt x="245" y="1"/>
                    </a:lnTo>
                    <a:lnTo>
                      <a:pt x="218" y="3"/>
                    </a:lnTo>
                    <a:lnTo>
                      <a:pt x="192" y="9"/>
                    </a:lnTo>
                    <a:lnTo>
                      <a:pt x="168" y="16"/>
                    </a:lnTo>
                    <a:lnTo>
                      <a:pt x="143" y="25"/>
                    </a:lnTo>
                    <a:lnTo>
                      <a:pt x="121" y="36"/>
                    </a:lnTo>
                    <a:lnTo>
                      <a:pt x="100" y="48"/>
                    </a:lnTo>
                    <a:lnTo>
                      <a:pt x="80" y="62"/>
                    </a:lnTo>
                    <a:lnTo>
                      <a:pt x="63" y="77"/>
                    </a:lnTo>
                    <a:lnTo>
                      <a:pt x="47" y="93"/>
                    </a:lnTo>
                    <a:lnTo>
                      <a:pt x="34" y="110"/>
                    </a:lnTo>
                    <a:lnTo>
                      <a:pt x="22" y="129"/>
                    </a:lnTo>
                    <a:lnTo>
                      <a:pt x="13" y="148"/>
                    </a:lnTo>
                    <a:lnTo>
                      <a:pt x="9" y="158"/>
                    </a:lnTo>
                    <a:lnTo>
                      <a:pt x="6" y="168"/>
                    </a:lnTo>
                    <a:lnTo>
                      <a:pt x="3" y="178"/>
                    </a:lnTo>
                    <a:lnTo>
                      <a:pt x="1" y="189"/>
                    </a:lnTo>
                    <a:lnTo>
                      <a:pt x="1" y="200"/>
                    </a:lnTo>
                    <a:lnTo>
                      <a:pt x="0" y="211"/>
                    </a:lnTo>
                    <a:lnTo>
                      <a:pt x="0" y="211"/>
                    </a:lnTo>
                    <a:lnTo>
                      <a:pt x="0" y="212"/>
                    </a:lnTo>
                    <a:lnTo>
                      <a:pt x="0" y="212"/>
                    </a:lnTo>
                    <a:lnTo>
                      <a:pt x="1" y="226"/>
                    </a:lnTo>
                    <a:lnTo>
                      <a:pt x="3" y="239"/>
                    </a:lnTo>
                    <a:lnTo>
                      <a:pt x="6" y="253"/>
                    </a:lnTo>
                    <a:lnTo>
                      <a:pt x="10" y="266"/>
                    </a:lnTo>
                    <a:lnTo>
                      <a:pt x="10" y="266"/>
                    </a:lnTo>
                    <a:close/>
                    <a:moveTo>
                      <a:pt x="273" y="107"/>
                    </a:moveTo>
                    <a:lnTo>
                      <a:pt x="388" y="232"/>
                    </a:lnTo>
                    <a:lnTo>
                      <a:pt x="335" y="232"/>
                    </a:lnTo>
                    <a:lnTo>
                      <a:pt x="335" y="330"/>
                    </a:lnTo>
                    <a:lnTo>
                      <a:pt x="212" y="330"/>
                    </a:lnTo>
                    <a:lnTo>
                      <a:pt x="212" y="232"/>
                    </a:lnTo>
                    <a:lnTo>
                      <a:pt x="159" y="232"/>
                    </a:lnTo>
                    <a:lnTo>
                      <a:pt x="273" y="107"/>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grpSp>
        <p:sp>
          <p:nvSpPr>
            <p:cNvPr id="608" name="Freeform 607"/>
            <p:cNvSpPr>
              <a:spLocks/>
            </p:cNvSpPr>
            <p:nvPr/>
          </p:nvSpPr>
          <p:spPr bwMode="auto">
            <a:xfrm>
              <a:off x="6378565" y="3866794"/>
              <a:ext cx="159985" cy="151849"/>
            </a:xfrm>
            <a:custGeom>
              <a:avLst/>
              <a:gdLst>
                <a:gd name="T0" fmla="*/ 368 w 368"/>
                <a:gd name="T1" fmla="*/ 0 h 361"/>
                <a:gd name="T2" fmla="*/ 95 w 368"/>
                <a:gd name="T3" fmla="*/ 32 h 361"/>
                <a:gd name="T4" fmla="*/ 141 w 368"/>
                <a:gd name="T5" fmla="*/ 81 h 361"/>
                <a:gd name="T6" fmla="*/ 0 w 368"/>
                <a:gd name="T7" fmla="*/ 214 h 361"/>
                <a:gd name="T8" fmla="*/ 137 w 368"/>
                <a:gd name="T9" fmla="*/ 361 h 361"/>
                <a:gd name="T10" fmla="*/ 278 w 368"/>
                <a:gd name="T11" fmla="*/ 227 h 361"/>
                <a:gd name="T12" fmla="*/ 323 w 368"/>
                <a:gd name="T13" fmla="*/ 275 h 361"/>
                <a:gd name="T14" fmla="*/ 368 w 368"/>
                <a:gd name="T15" fmla="*/ 0 h 3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361">
                  <a:moveTo>
                    <a:pt x="368" y="0"/>
                  </a:moveTo>
                  <a:lnTo>
                    <a:pt x="95" y="32"/>
                  </a:lnTo>
                  <a:lnTo>
                    <a:pt x="141" y="81"/>
                  </a:lnTo>
                  <a:lnTo>
                    <a:pt x="0" y="214"/>
                  </a:lnTo>
                  <a:lnTo>
                    <a:pt x="137" y="361"/>
                  </a:lnTo>
                  <a:lnTo>
                    <a:pt x="278" y="227"/>
                  </a:lnTo>
                  <a:lnTo>
                    <a:pt x="323" y="275"/>
                  </a:lnTo>
                  <a:lnTo>
                    <a:pt x="368" y="0"/>
                  </a:lnTo>
                  <a:close/>
                </a:path>
              </a:pathLst>
            </a:custGeom>
            <a:solidFill>
              <a:sysClr val="window" lastClr="FFFFFF">
                <a:lumMod val="65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09" name="Freeform 608"/>
            <p:cNvSpPr>
              <a:spLocks noEditPoints="1"/>
            </p:cNvSpPr>
            <p:nvPr/>
          </p:nvSpPr>
          <p:spPr bwMode="auto">
            <a:xfrm>
              <a:off x="6675875" y="3736299"/>
              <a:ext cx="278679" cy="280079"/>
            </a:xfrm>
            <a:custGeom>
              <a:avLst/>
              <a:gdLst>
                <a:gd name="T0" fmla="*/ 592 w 650"/>
                <a:gd name="T1" fmla="*/ 22 h 663"/>
                <a:gd name="T2" fmla="*/ 545 w 650"/>
                <a:gd name="T3" fmla="*/ 2 h 663"/>
                <a:gd name="T4" fmla="*/ 155 w 650"/>
                <a:gd name="T5" fmla="*/ 0 h 663"/>
                <a:gd name="T6" fmla="*/ 106 w 650"/>
                <a:gd name="T7" fmla="*/ 10 h 663"/>
                <a:gd name="T8" fmla="*/ 62 w 650"/>
                <a:gd name="T9" fmla="*/ 39 h 663"/>
                <a:gd name="T10" fmla="*/ 40 w 650"/>
                <a:gd name="T11" fmla="*/ 69 h 663"/>
                <a:gd name="T12" fmla="*/ 25 w 650"/>
                <a:gd name="T13" fmla="*/ 118 h 663"/>
                <a:gd name="T14" fmla="*/ 25 w 650"/>
                <a:gd name="T15" fmla="*/ 457 h 663"/>
                <a:gd name="T16" fmla="*/ 40 w 650"/>
                <a:gd name="T17" fmla="*/ 505 h 663"/>
                <a:gd name="T18" fmla="*/ 62 w 650"/>
                <a:gd name="T19" fmla="*/ 536 h 663"/>
                <a:gd name="T20" fmla="*/ 48 w 650"/>
                <a:gd name="T21" fmla="*/ 588 h 663"/>
                <a:gd name="T22" fmla="*/ 22 w 650"/>
                <a:gd name="T23" fmla="*/ 636 h 663"/>
                <a:gd name="T24" fmla="*/ 0 w 650"/>
                <a:gd name="T25" fmla="*/ 663 h 663"/>
                <a:gd name="T26" fmla="*/ 83 w 650"/>
                <a:gd name="T27" fmla="*/ 634 h 663"/>
                <a:gd name="T28" fmla="*/ 150 w 650"/>
                <a:gd name="T29" fmla="*/ 575 h 663"/>
                <a:gd name="T30" fmla="*/ 519 w 650"/>
                <a:gd name="T31" fmla="*/ 575 h 663"/>
                <a:gd name="T32" fmla="*/ 558 w 650"/>
                <a:gd name="T33" fmla="*/ 569 h 663"/>
                <a:gd name="T34" fmla="*/ 602 w 650"/>
                <a:gd name="T35" fmla="*/ 546 h 663"/>
                <a:gd name="T36" fmla="*/ 628 w 650"/>
                <a:gd name="T37" fmla="*/ 517 h 663"/>
                <a:gd name="T38" fmla="*/ 648 w 650"/>
                <a:gd name="T39" fmla="*/ 470 h 663"/>
                <a:gd name="T40" fmla="*/ 650 w 650"/>
                <a:gd name="T41" fmla="*/ 131 h 663"/>
                <a:gd name="T42" fmla="*/ 640 w 650"/>
                <a:gd name="T43" fmla="*/ 81 h 663"/>
                <a:gd name="T44" fmla="*/ 612 w 650"/>
                <a:gd name="T45" fmla="*/ 39 h 663"/>
                <a:gd name="T46" fmla="*/ 207 w 650"/>
                <a:gd name="T47" fmla="*/ 465 h 663"/>
                <a:gd name="T48" fmla="*/ 194 w 650"/>
                <a:gd name="T49" fmla="*/ 459 h 663"/>
                <a:gd name="T50" fmla="*/ 189 w 650"/>
                <a:gd name="T51" fmla="*/ 446 h 663"/>
                <a:gd name="T52" fmla="*/ 192 w 650"/>
                <a:gd name="T53" fmla="*/ 436 h 663"/>
                <a:gd name="T54" fmla="*/ 203 w 650"/>
                <a:gd name="T55" fmla="*/ 428 h 663"/>
                <a:gd name="T56" fmla="*/ 308 w 650"/>
                <a:gd name="T57" fmla="*/ 421 h 663"/>
                <a:gd name="T58" fmla="*/ 161 w 650"/>
                <a:gd name="T59" fmla="*/ 414 h 663"/>
                <a:gd name="T60" fmla="*/ 143 w 650"/>
                <a:gd name="T61" fmla="*/ 406 h 663"/>
                <a:gd name="T62" fmla="*/ 137 w 650"/>
                <a:gd name="T63" fmla="*/ 389 h 663"/>
                <a:gd name="T64" fmla="*/ 141 w 650"/>
                <a:gd name="T65" fmla="*/ 375 h 663"/>
                <a:gd name="T66" fmla="*/ 155 w 650"/>
                <a:gd name="T67" fmla="*/ 365 h 663"/>
                <a:gd name="T68" fmla="*/ 135 w 650"/>
                <a:gd name="T69" fmla="*/ 346 h 663"/>
                <a:gd name="T70" fmla="*/ 120 w 650"/>
                <a:gd name="T71" fmla="*/ 342 h 663"/>
                <a:gd name="T72" fmla="*/ 108 w 650"/>
                <a:gd name="T73" fmla="*/ 324 h 663"/>
                <a:gd name="T74" fmla="*/ 110 w 650"/>
                <a:gd name="T75" fmla="*/ 308 h 663"/>
                <a:gd name="T76" fmla="*/ 124 w 650"/>
                <a:gd name="T77" fmla="*/ 293 h 663"/>
                <a:gd name="T78" fmla="*/ 308 w 650"/>
                <a:gd name="T79" fmla="*/ 271 h 663"/>
                <a:gd name="T80" fmla="*/ 147 w 650"/>
                <a:gd name="T81" fmla="*/ 269 h 663"/>
                <a:gd name="T82" fmla="*/ 133 w 650"/>
                <a:gd name="T83" fmla="*/ 256 h 663"/>
                <a:gd name="T84" fmla="*/ 131 w 650"/>
                <a:gd name="T85" fmla="*/ 241 h 663"/>
                <a:gd name="T86" fmla="*/ 142 w 650"/>
                <a:gd name="T87" fmla="*/ 225 h 663"/>
                <a:gd name="T88" fmla="*/ 444 w 650"/>
                <a:gd name="T89" fmla="*/ 221 h 663"/>
                <a:gd name="T90" fmla="*/ 383 w 650"/>
                <a:gd name="T91" fmla="*/ 157 h 663"/>
                <a:gd name="T92" fmla="*/ 382 w 650"/>
                <a:gd name="T93" fmla="*/ 133 h 663"/>
                <a:gd name="T94" fmla="*/ 393 w 650"/>
                <a:gd name="T95" fmla="*/ 119 h 663"/>
                <a:gd name="T96" fmla="*/ 417 w 650"/>
                <a:gd name="T97" fmla="*/ 116 h 663"/>
                <a:gd name="T98" fmla="*/ 433 w 650"/>
                <a:gd name="T99" fmla="*/ 124 h 663"/>
                <a:gd name="T100" fmla="*/ 543 w 650"/>
                <a:gd name="T101" fmla="*/ 237 h 663"/>
                <a:gd name="T102" fmla="*/ 559 w 650"/>
                <a:gd name="T103" fmla="*/ 271 h 663"/>
                <a:gd name="T104" fmla="*/ 554 w 650"/>
                <a:gd name="T105" fmla="*/ 434 h 663"/>
                <a:gd name="T106" fmla="*/ 522 w 650"/>
                <a:gd name="T107" fmla="*/ 461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0" h="663">
                  <a:moveTo>
                    <a:pt x="612" y="39"/>
                  </a:moveTo>
                  <a:lnTo>
                    <a:pt x="612" y="39"/>
                  </a:lnTo>
                  <a:lnTo>
                    <a:pt x="602" y="31"/>
                  </a:lnTo>
                  <a:lnTo>
                    <a:pt x="592" y="22"/>
                  </a:lnTo>
                  <a:lnTo>
                    <a:pt x="581" y="15"/>
                  </a:lnTo>
                  <a:lnTo>
                    <a:pt x="569" y="10"/>
                  </a:lnTo>
                  <a:lnTo>
                    <a:pt x="557" y="6"/>
                  </a:lnTo>
                  <a:lnTo>
                    <a:pt x="545" y="2"/>
                  </a:lnTo>
                  <a:lnTo>
                    <a:pt x="532" y="1"/>
                  </a:lnTo>
                  <a:lnTo>
                    <a:pt x="519" y="0"/>
                  </a:lnTo>
                  <a:lnTo>
                    <a:pt x="155" y="0"/>
                  </a:lnTo>
                  <a:lnTo>
                    <a:pt x="155" y="0"/>
                  </a:lnTo>
                  <a:lnTo>
                    <a:pt x="142" y="1"/>
                  </a:lnTo>
                  <a:lnTo>
                    <a:pt x="129" y="2"/>
                  </a:lnTo>
                  <a:lnTo>
                    <a:pt x="117" y="6"/>
                  </a:lnTo>
                  <a:lnTo>
                    <a:pt x="106" y="10"/>
                  </a:lnTo>
                  <a:lnTo>
                    <a:pt x="94" y="15"/>
                  </a:lnTo>
                  <a:lnTo>
                    <a:pt x="83" y="22"/>
                  </a:lnTo>
                  <a:lnTo>
                    <a:pt x="72" y="31"/>
                  </a:lnTo>
                  <a:lnTo>
                    <a:pt x="62" y="39"/>
                  </a:lnTo>
                  <a:lnTo>
                    <a:pt x="62" y="39"/>
                  </a:lnTo>
                  <a:lnTo>
                    <a:pt x="54" y="49"/>
                  </a:lnTo>
                  <a:lnTo>
                    <a:pt x="46" y="59"/>
                  </a:lnTo>
                  <a:lnTo>
                    <a:pt x="40" y="69"/>
                  </a:lnTo>
                  <a:lnTo>
                    <a:pt x="34" y="81"/>
                  </a:lnTo>
                  <a:lnTo>
                    <a:pt x="30" y="93"/>
                  </a:lnTo>
                  <a:lnTo>
                    <a:pt x="27" y="106"/>
                  </a:lnTo>
                  <a:lnTo>
                    <a:pt x="25" y="118"/>
                  </a:lnTo>
                  <a:lnTo>
                    <a:pt x="25" y="131"/>
                  </a:lnTo>
                  <a:lnTo>
                    <a:pt x="25" y="444"/>
                  </a:lnTo>
                  <a:lnTo>
                    <a:pt x="25" y="444"/>
                  </a:lnTo>
                  <a:lnTo>
                    <a:pt x="25" y="457"/>
                  </a:lnTo>
                  <a:lnTo>
                    <a:pt x="27" y="469"/>
                  </a:lnTo>
                  <a:lnTo>
                    <a:pt x="30" y="482"/>
                  </a:lnTo>
                  <a:lnTo>
                    <a:pt x="34" y="494"/>
                  </a:lnTo>
                  <a:lnTo>
                    <a:pt x="40" y="505"/>
                  </a:lnTo>
                  <a:lnTo>
                    <a:pt x="46" y="515"/>
                  </a:lnTo>
                  <a:lnTo>
                    <a:pt x="54" y="526"/>
                  </a:lnTo>
                  <a:lnTo>
                    <a:pt x="62" y="536"/>
                  </a:lnTo>
                  <a:lnTo>
                    <a:pt x="62" y="536"/>
                  </a:lnTo>
                  <a:lnTo>
                    <a:pt x="60" y="549"/>
                  </a:lnTo>
                  <a:lnTo>
                    <a:pt x="57" y="562"/>
                  </a:lnTo>
                  <a:lnTo>
                    <a:pt x="53" y="575"/>
                  </a:lnTo>
                  <a:lnTo>
                    <a:pt x="48" y="588"/>
                  </a:lnTo>
                  <a:lnTo>
                    <a:pt x="43" y="600"/>
                  </a:lnTo>
                  <a:lnTo>
                    <a:pt x="36" y="613"/>
                  </a:lnTo>
                  <a:lnTo>
                    <a:pt x="30" y="625"/>
                  </a:lnTo>
                  <a:lnTo>
                    <a:pt x="22" y="636"/>
                  </a:lnTo>
                  <a:lnTo>
                    <a:pt x="22" y="636"/>
                  </a:lnTo>
                  <a:lnTo>
                    <a:pt x="12" y="650"/>
                  </a:lnTo>
                  <a:lnTo>
                    <a:pt x="0" y="663"/>
                  </a:lnTo>
                  <a:lnTo>
                    <a:pt x="0" y="663"/>
                  </a:lnTo>
                  <a:lnTo>
                    <a:pt x="21" y="659"/>
                  </a:lnTo>
                  <a:lnTo>
                    <a:pt x="42" y="653"/>
                  </a:lnTo>
                  <a:lnTo>
                    <a:pt x="62" y="645"/>
                  </a:lnTo>
                  <a:lnTo>
                    <a:pt x="83" y="634"/>
                  </a:lnTo>
                  <a:lnTo>
                    <a:pt x="101" y="622"/>
                  </a:lnTo>
                  <a:lnTo>
                    <a:pt x="119" y="608"/>
                  </a:lnTo>
                  <a:lnTo>
                    <a:pt x="135" y="592"/>
                  </a:lnTo>
                  <a:lnTo>
                    <a:pt x="150" y="575"/>
                  </a:lnTo>
                  <a:lnTo>
                    <a:pt x="150" y="575"/>
                  </a:lnTo>
                  <a:lnTo>
                    <a:pt x="155" y="575"/>
                  </a:lnTo>
                  <a:lnTo>
                    <a:pt x="519" y="575"/>
                  </a:lnTo>
                  <a:lnTo>
                    <a:pt x="519" y="575"/>
                  </a:lnTo>
                  <a:lnTo>
                    <a:pt x="519" y="575"/>
                  </a:lnTo>
                  <a:lnTo>
                    <a:pt x="532" y="575"/>
                  </a:lnTo>
                  <a:lnTo>
                    <a:pt x="545" y="573"/>
                  </a:lnTo>
                  <a:lnTo>
                    <a:pt x="558" y="569"/>
                  </a:lnTo>
                  <a:lnTo>
                    <a:pt x="570" y="565"/>
                  </a:lnTo>
                  <a:lnTo>
                    <a:pt x="581" y="560"/>
                  </a:lnTo>
                  <a:lnTo>
                    <a:pt x="592" y="553"/>
                  </a:lnTo>
                  <a:lnTo>
                    <a:pt x="602" y="546"/>
                  </a:lnTo>
                  <a:lnTo>
                    <a:pt x="612" y="536"/>
                  </a:lnTo>
                  <a:lnTo>
                    <a:pt x="612" y="536"/>
                  </a:lnTo>
                  <a:lnTo>
                    <a:pt x="621" y="527"/>
                  </a:lnTo>
                  <a:lnTo>
                    <a:pt x="628" y="517"/>
                  </a:lnTo>
                  <a:lnTo>
                    <a:pt x="635" y="506"/>
                  </a:lnTo>
                  <a:lnTo>
                    <a:pt x="640" y="494"/>
                  </a:lnTo>
                  <a:lnTo>
                    <a:pt x="644" y="482"/>
                  </a:lnTo>
                  <a:lnTo>
                    <a:pt x="648" y="470"/>
                  </a:lnTo>
                  <a:lnTo>
                    <a:pt x="650" y="457"/>
                  </a:lnTo>
                  <a:lnTo>
                    <a:pt x="650" y="444"/>
                  </a:lnTo>
                  <a:lnTo>
                    <a:pt x="650" y="131"/>
                  </a:lnTo>
                  <a:lnTo>
                    <a:pt x="650" y="131"/>
                  </a:lnTo>
                  <a:lnTo>
                    <a:pt x="650" y="118"/>
                  </a:lnTo>
                  <a:lnTo>
                    <a:pt x="648" y="106"/>
                  </a:lnTo>
                  <a:lnTo>
                    <a:pt x="644" y="93"/>
                  </a:lnTo>
                  <a:lnTo>
                    <a:pt x="640" y="81"/>
                  </a:lnTo>
                  <a:lnTo>
                    <a:pt x="635" y="69"/>
                  </a:lnTo>
                  <a:lnTo>
                    <a:pt x="628" y="59"/>
                  </a:lnTo>
                  <a:lnTo>
                    <a:pt x="621" y="49"/>
                  </a:lnTo>
                  <a:lnTo>
                    <a:pt x="612" y="39"/>
                  </a:lnTo>
                  <a:lnTo>
                    <a:pt x="612" y="39"/>
                  </a:lnTo>
                  <a:close/>
                  <a:moveTo>
                    <a:pt x="499" y="465"/>
                  </a:moveTo>
                  <a:lnTo>
                    <a:pt x="207" y="465"/>
                  </a:lnTo>
                  <a:lnTo>
                    <a:pt x="207" y="465"/>
                  </a:lnTo>
                  <a:lnTo>
                    <a:pt x="203" y="465"/>
                  </a:lnTo>
                  <a:lnTo>
                    <a:pt x="200" y="464"/>
                  </a:lnTo>
                  <a:lnTo>
                    <a:pt x="196" y="463"/>
                  </a:lnTo>
                  <a:lnTo>
                    <a:pt x="194" y="459"/>
                  </a:lnTo>
                  <a:lnTo>
                    <a:pt x="192" y="457"/>
                  </a:lnTo>
                  <a:lnTo>
                    <a:pt x="190" y="454"/>
                  </a:lnTo>
                  <a:lnTo>
                    <a:pt x="189" y="451"/>
                  </a:lnTo>
                  <a:lnTo>
                    <a:pt x="189" y="446"/>
                  </a:lnTo>
                  <a:lnTo>
                    <a:pt x="189" y="446"/>
                  </a:lnTo>
                  <a:lnTo>
                    <a:pt x="189" y="443"/>
                  </a:lnTo>
                  <a:lnTo>
                    <a:pt x="190" y="439"/>
                  </a:lnTo>
                  <a:lnTo>
                    <a:pt x="192" y="436"/>
                  </a:lnTo>
                  <a:lnTo>
                    <a:pt x="194" y="433"/>
                  </a:lnTo>
                  <a:lnTo>
                    <a:pt x="196" y="431"/>
                  </a:lnTo>
                  <a:lnTo>
                    <a:pt x="200" y="429"/>
                  </a:lnTo>
                  <a:lnTo>
                    <a:pt x="203" y="428"/>
                  </a:lnTo>
                  <a:lnTo>
                    <a:pt x="207" y="428"/>
                  </a:lnTo>
                  <a:lnTo>
                    <a:pt x="309" y="428"/>
                  </a:lnTo>
                  <a:lnTo>
                    <a:pt x="309" y="428"/>
                  </a:lnTo>
                  <a:lnTo>
                    <a:pt x="308" y="421"/>
                  </a:lnTo>
                  <a:lnTo>
                    <a:pt x="306" y="414"/>
                  </a:lnTo>
                  <a:lnTo>
                    <a:pt x="306" y="414"/>
                  </a:lnTo>
                  <a:lnTo>
                    <a:pt x="161" y="414"/>
                  </a:lnTo>
                  <a:lnTo>
                    <a:pt x="161" y="414"/>
                  </a:lnTo>
                  <a:lnTo>
                    <a:pt x="155" y="414"/>
                  </a:lnTo>
                  <a:lnTo>
                    <a:pt x="151" y="412"/>
                  </a:lnTo>
                  <a:lnTo>
                    <a:pt x="147" y="410"/>
                  </a:lnTo>
                  <a:lnTo>
                    <a:pt x="143" y="406"/>
                  </a:lnTo>
                  <a:lnTo>
                    <a:pt x="141" y="403"/>
                  </a:lnTo>
                  <a:lnTo>
                    <a:pt x="139" y="399"/>
                  </a:lnTo>
                  <a:lnTo>
                    <a:pt x="137" y="393"/>
                  </a:lnTo>
                  <a:lnTo>
                    <a:pt x="137" y="389"/>
                  </a:lnTo>
                  <a:lnTo>
                    <a:pt x="137" y="389"/>
                  </a:lnTo>
                  <a:lnTo>
                    <a:pt x="137" y="384"/>
                  </a:lnTo>
                  <a:lnTo>
                    <a:pt x="139" y="379"/>
                  </a:lnTo>
                  <a:lnTo>
                    <a:pt x="141" y="375"/>
                  </a:lnTo>
                  <a:lnTo>
                    <a:pt x="143" y="372"/>
                  </a:lnTo>
                  <a:lnTo>
                    <a:pt x="148" y="369"/>
                  </a:lnTo>
                  <a:lnTo>
                    <a:pt x="151" y="366"/>
                  </a:lnTo>
                  <a:lnTo>
                    <a:pt x="155" y="365"/>
                  </a:lnTo>
                  <a:lnTo>
                    <a:pt x="161" y="365"/>
                  </a:lnTo>
                  <a:lnTo>
                    <a:pt x="308" y="365"/>
                  </a:lnTo>
                  <a:lnTo>
                    <a:pt x="308" y="347"/>
                  </a:lnTo>
                  <a:lnTo>
                    <a:pt x="135" y="346"/>
                  </a:lnTo>
                  <a:lnTo>
                    <a:pt x="135" y="346"/>
                  </a:lnTo>
                  <a:lnTo>
                    <a:pt x="129" y="346"/>
                  </a:lnTo>
                  <a:lnTo>
                    <a:pt x="124" y="344"/>
                  </a:lnTo>
                  <a:lnTo>
                    <a:pt x="120" y="342"/>
                  </a:lnTo>
                  <a:lnTo>
                    <a:pt x="115" y="338"/>
                  </a:lnTo>
                  <a:lnTo>
                    <a:pt x="112" y="334"/>
                  </a:lnTo>
                  <a:lnTo>
                    <a:pt x="110" y="330"/>
                  </a:lnTo>
                  <a:lnTo>
                    <a:pt x="108" y="324"/>
                  </a:lnTo>
                  <a:lnTo>
                    <a:pt x="108" y="319"/>
                  </a:lnTo>
                  <a:lnTo>
                    <a:pt x="108" y="319"/>
                  </a:lnTo>
                  <a:lnTo>
                    <a:pt x="109" y="313"/>
                  </a:lnTo>
                  <a:lnTo>
                    <a:pt x="110" y="308"/>
                  </a:lnTo>
                  <a:lnTo>
                    <a:pt x="112" y="304"/>
                  </a:lnTo>
                  <a:lnTo>
                    <a:pt x="115" y="299"/>
                  </a:lnTo>
                  <a:lnTo>
                    <a:pt x="120" y="296"/>
                  </a:lnTo>
                  <a:lnTo>
                    <a:pt x="124" y="293"/>
                  </a:lnTo>
                  <a:lnTo>
                    <a:pt x="129" y="292"/>
                  </a:lnTo>
                  <a:lnTo>
                    <a:pt x="135" y="291"/>
                  </a:lnTo>
                  <a:lnTo>
                    <a:pt x="308" y="291"/>
                  </a:lnTo>
                  <a:lnTo>
                    <a:pt x="308" y="271"/>
                  </a:lnTo>
                  <a:lnTo>
                    <a:pt x="156" y="271"/>
                  </a:lnTo>
                  <a:lnTo>
                    <a:pt x="156" y="271"/>
                  </a:lnTo>
                  <a:lnTo>
                    <a:pt x="151" y="271"/>
                  </a:lnTo>
                  <a:lnTo>
                    <a:pt x="147" y="269"/>
                  </a:lnTo>
                  <a:lnTo>
                    <a:pt x="142" y="267"/>
                  </a:lnTo>
                  <a:lnTo>
                    <a:pt x="138" y="264"/>
                  </a:lnTo>
                  <a:lnTo>
                    <a:pt x="136" y="261"/>
                  </a:lnTo>
                  <a:lnTo>
                    <a:pt x="133" y="256"/>
                  </a:lnTo>
                  <a:lnTo>
                    <a:pt x="131" y="251"/>
                  </a:lnTo>
                  <a:lnTo>
                    <a:pt x="131" y="245"/>
                  </a:lnTo>
                  <a:lnTo>
                    <a:pt x="131" y="245"/>
                  </a:lnTo>
                  <a:lnTo>
                    <a:pt x="131" y="241"/>
                  </a:lnTo>
                  <a:lnTo>
                    <a:pt x="133" y="236"/>
                  </a:lnTo>
                  <a:lnTo>
                    <a:pt x="136" y="231"/>
                  </a:lnTo>
                  <a:lnTo>
                    <a:pt x="138" y="228"/>
                  </a:lnTo>
                  <a:lnTo>
                    <a:pt x="142" y="225"/>
                  </a:lnTo>
                  <a:lnTo>
                    <a:pt x="147" y="222"/>
                  </a:lnTo>
                  <a:lnTo>
                    <a:pt x="151" y="221"/>
                  </a:lnTo>
                  <a:lnTo>
                    <a:pt x="156" y="221"/>
                  </a:lnTo>
                  <a:lnTo>
                    <a:pt x="444" y="221"/>
                  </a:lnTo>
                  <a:lnTo>
                    <a:pt x="390" y="167"/>
                  </a:lnTo>
                  <a:lnTo>
                    <a:pt x="390" y="167"/>
                  </a:lnTo>
                  <a:lnTo>
                    <a:pt x="386" y="162"/>
                  </a:lnTo>
                  <a:lnTo>
                    <a:pt x="383" y="157"/>
                  </a:lnTo>
                  <a:lnTo>
                    <a:pt x="381" y="150"/>
                  </a:lnTo>
                  <a:lnTo>
                    <a:pt x="380" y="145"/>
                  </a:lnTo>
                  <a:lnTo>
                    <a:pt x="380" y="139"/>
                  </a:lnTo>
                  <a:lnTo>
                    <a:pt x="382" y="133"/>
                  </a:lnTo>
                  <a:lnTo>
                    <a:pt x="384" y="128"/>
                  </a:lnTo>
                  <a:lnTo>
                    <a:pt x="389" y="122"/>
                  </a:lnTo>
                  <a:lnTo>
                    <a:pt x="389" y="122"/>
                  </a:lnTo>
                  <a:lnTo>
                    <a:pt x="393" y="119"/>
                  </a:lnTo>
                  <a:lnTo>
                    <a:pt x="398" y="117"/>
                  </a:lnTo>
                  <a:lnTo>
                    <a:pt x="405" y="115"/>
                  </a:lnTo>
                  <a:lnTo>
                    <a:pt x="410" y="115"/>
                  </a:lnTo>
                  <a:lnTo>
                    <a:pt x="417" y="116"/>
                  </a:lnTo>
                  <a:lnTo>
                    <a:pt x="422" y="117"/>
                  </a:lnTo>
                  <a:lnTo>
                    <a:pt x="427" y="120"/>
                  </a:lnTo>
                  <a:lnTo>
                    <a:pt x="433" y="124"/>
                  </a:lnTo>
                  <a:lnTo>
                    <a:pt x="433" y="124"/>
                  </a:lnTo>
                  <a:lnTo>
                    <a:pt x="487" y="180"/>
                  </a:lnTo>
                  <a:lnTo>
                    <a:pt x="525" y="217"/>
                  </a:lnTo>
                  <a:lnTo>
                    <a:pt x="543" y="237"/>
                  </a:lnTo>
                  <a:lnTo>
                    <a:pt x="543" y="237"/>
                  </a:lnTo>
                  <a:lnTo>
                    <a:pt x="549" y="244"/>
                  </a:lnTo>
                  <a:lnTo>
                    <a:pt x="555" y="253"/>
                  </a:lnTo>
                  <a:lnTo>
                    <a:pt x="558" y="262"/>
                  </a:lnTo>
                  <a:lnTo>
                    <a:pt x="559" y="271"/>
                  </a:lnTo>
                  <a:lnTo>
                    <a:pt x="559" y="415"/>
                  </a:lnTo>
                  <a:lnTo>
                    <a:pt x="559" y="415"/>
                  </a:lnTo>
                  <a:lnTo>
                    <a:pt x="558" y="425"/>
                  </a:lnTo>
                  <a:lnTo>
                    <a:pt x="554" y="434"/>
                  </a:lnTo>
                  <a:lnTo>
                    <a:pt x="548" y="443"/>
                  </a:lnTo>
                  <a:lnTo>
                    <a:pt x="541" y="451"/>
                  </a:lnTo>
                  <a:lnTo>
                    <a:pt x="532" y="457"/>
                  </a:lnTo>
                  <a:lnTo>
                    <a:pt x="522" y="461"/>
                  </a:lnTo>
                  <a:lnTo>
                    <a:pt x="511" y="465"/>
                  </a:lnTo>
                  <a:lnTo>
                    <a:pt x="499" y="465"/>
                  </a:lnTo>
                  <a:lnTo>
                    <a:pt x="499" y="465"/>
                  </a:lnTo>
                  <a:close/>
                </a:path>
              </a:pathLst>
            </a:custGeom>
            <a:solidFill>
              <a:srgbClr val="E5E8E8">
                <a:lumMod val="9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10" name="Freeform 609"/>
            <p:cNvSpPr>
              <a:spLocks/>
            </p:cNvSpPr>
            <p:nvPr/>
          </p:nvSpPr>
          <p:spPr bwMode="auto">
            <a:xfrm>
              <a:off x="3275729" y="337046"/>
              <a:ext cx="218473" cy="204154"/>
            </a:xfrm>
            <a:custGeom>
              <a:avLst/>
              <a:gdLst>
                <a:gd name="T0" fmla="*/ 334 w 509"/>
                <a:gd name="T1" fmla="*/ 159 h 484"/>
                <a:gd name="T2" fmla="*/ 255 w 509"/>
                <a:gd name="T3" fmla="*/ 0 h 484"/>
                <a:gd name="T4" fmla="*/ 177 w 509"/>
                <a:gd name="T5" fmla="*/ 159 h 484"/>
                <a:gd name="T6" fmla="*/ 0 w 509"/>
                <a:gd name="T7" fmla="*/ 184 h 484"/>
                <a:gd name="T8" fmla="*/ 128 w 509"/>
                <a:gd name="T9" fmla="*/ 308 h 484"/>
                <a:gd name="T10" fmla="*/ 98 w 509"/>
                <a:gd name="T11" fmla="*/ 484 h 484"/>
                <a:gd name="T12" fmla="*/ 255 w 509"/>
                <a:gd name="T13" fmla="*/ 400 h 484"/>
                <a:gd name="T14" fmla="*/ 412 w 509"/>
                <a:gd name="T15" fmla="*/ 484 h 484"/>
                <a:gd name="T16" fmla="*/ 383 w 509"/>
                <a:gd name="T17" fmla="*/ 308 h 484"/>
                <a:gd name="T18" fmla="*/ 509 w 509"/>
                <a:gd name="T19" fmla="*/ 184 h 484"/>
                <a:gd name="T20" fmla="*/ 334 w 509"/>
                <a:gd name="T21" fmla="*/ 159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9" h="484">
                  <a:moveTo>
                    <a:pt x="334" y="159"/>
                  </a:moveTo>
                  <a:lnTo>
                    <a:pt x="255" y="0"/>
                  </a:lnTo>
                  <a:lnTo>
                    <a:pt x="177" y="159"/>
                  </a:lnTo>
                  <a:lnTo>
                    <a:pt x="0" y="184"/>
                  </a:lnTo>
                  <a:lnTo>
                    <a:pt x="128" y="308"/>
                  </a:lnTo>
                  <a:lnTo>
                    <a:pt x="98" y="484"/>
                  </a:lnTo>
                  <a:lnTo>
                    <a:pt x="255" y="400"/>
                  </a:lnTo>
                  <a:lnTo>
                    <a:pt x="412" y="484"/>
                  </a:lnTo>
                  <a:lnTo>
                    <a:pt x="383" y="308"/>
                  </a:lnTo>
                  <a:lnTo>
                    <a:pt x="509" y="184"/>
                  </a:lnTo>
                  <a:lnTo>
                    <a:pt x="334" y="159"/>
                  </a:lnTo>
                  <a:close/>
                </a:path>
              </a:pathLst>
            </a:custGeom>
            <a:solidFill>
              <a:srgbClr val="8789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11" name="Freeform 610"/>
            <p:cNvSpPr>
              <a:spLocks/>
            </p:cNvSpPr>
            <p:nvPr/>
          </p:nvSpPr>
          <p:spPr bwMode="auto">
            <a:xfrm>
              <a:off x="5722983" y="891885"/>
              <a:ext cx="435226" cy="342510"/>
            </a:xfrm>
            <a:custGeom>
              <a:avLst/>
              <a:gdLst>
                <a:gd name="T0" fmla="*/ 949 w 1011"/>
                <a:gd name="T1" fmla="*/ 143 h 812"/>
                <a:gd name="T2" fmla="*/ 949 w 1011"/>
                <a:gd name="T3" fmla="*/ 143 h 812"/>
                <a:gd name="T4" fmla="*/ 814 w 1011"/>
                <a:gd name="T5" fmla="*/ 36 h 812"/>
                <a:gd name="T6" fmla="*/ 814 w 1011"/>
                <a:gd name="T7" fmla="*/ 36 h 812"/>
                <a:gd name="T8" fmla="*/ 802 w 1011"/>
                <a:gd name="T9" fmla="*/ 27 h 812"/>
                <a:gd name="T10" fmla="*/ 789 w 1011"/>
                <a:gd name="T11" fmla="*/ 21 h 812"/>
                <a:gd name="T12" fmla="*/ 776 w 1011"/>
                <a:gd name="T13" fmla="*/ 14 h 812"/>
                <a:gd name="T14" fmla="*/ 763 w 1011"/>
                <a:gd name="T15" fmla="*/ 9 h 812"/>
                <a:gd name="T16" fmla="*/ 749 w 1011"/>
                <a:gd name="T17" fmla="*/ 4 h 812"/>
                <a:gd name="T18" fmla="*/ 734 w 1011"/>
                <a:gd name="T19" fmla="*/ 2 h 812"/>
                <a:gd name="T20" fmla="*/ 720 w 1011"/>
                <a:gd name="T21" fmla="*/ 0 h 812"/>
                <a:gd name="T22" fmla="*/ 706 w 1011"/>
                <a:gd name="T23" fmla="*/ 0 h 812"/>
                <a:gd name="T24" fmla="*/ 691 w 1011"/>
                <a:gd name="T25" fmla="*/ 1 h 812"/>
                <a:gd name="T26" fmla="*/ 677 w 1011"/>
                <a:gd name="T27" fmla="*/ 3 h 812"/>
                <a:gd name="T28" fmla="*/ 663 w 1011"/>
                <a:gd name="T29" fmla="*/ 6 h 812"/>
                <a:gd name="T30" fmla="*/ 649 w 1011"/>
                <a:gd name="T31" fmla="*/ 11 h 812"/>
                <a:gd name="T32" fmla="*/ 636 w 1011"/>
                <a:gd name="T33" fmla="*/ 16 h 812"/>
                <a:gd name="T34" fmla="*/ 623 w 1011"/>
                <a:gd name="T35" fmla="*/ 24 h 812"/>
                <a:gd name="T36" fmla="*/ 611 w 1011"/>
                <a:gd name="T37" fmla="*/ 32 h 812"/>
                <a:gd name="T38" fmla="*/ 599 w 1011"/>
                <a:gd name="T39" fmla="*/ 41 h 812"/>
                <a:gd name="T40" fmla="*/ 599 w 1011"/>
                <a:gd name="T41" fmla="*/ 41 h 812"/>
                <a:gd name="T42" fmla="*/ 589 w 1011"/>
                <a:gd name="T43" fmla="*/ 52 h 812"/>
                <a:gd name="T44" fmla="*/ 580 w 1011"/>
                <a:gd name="T45" fmla="*/ 63 h 812"/>
                <a:gd name="T46" fmla="*/ 561 w 1011"/>
                <a:gd name="T47" fmla="*/ 84 h 812"/>
                <a:gd name="T48" fmla="*/ 0 w 1011"/>
                <a:gd name="T49" fmla="*/ 801 h 812"/>
                <a:gd name="T50" fmla="*/ 15 w 1011"/>
                <a:gd name="T51" fmla="*/ 812 h 812"/>
                <a:gd name="T52" fmla="*/ 593 w 1011"/>
                <a:gd name="T53" fmla="*/ 75 h 812"/>
                <a:gd name="T54" fmla="*/ 593 w 1011"/>
                <a:gd name="T55" fmla="*/ 75 h 812"/>
                <a:gd name="T56" fmla="*/ 603 w 1011"/>
                <a:gd name="T57" fmla="*/ 63 h 812"/>
                <a:gd name="T58" fmla="*/ 614 w 1011"/>
                <a:gd name="T59" fmla="*/ 53 h 812"/>
                <a:gd name="T60" fmla="*/ 626 w 1011"/>
                <a:gd name="T61" fmla="*/ 44 h 812"/>
                <a:gd name="T62" fmla="*/ 638 w 1011"/>
                <a:gd name="T63" fmla="*/ 37 h 812"/>
                <a:gd name="T64" fmla="*/ 652 w 1011"/>
                <a:gd name="T65" fmla="*/ 30 h 812"/>
                <a:gd name="T66" fmla="*/ 665 w 1011"/>
                <a:gd name="T67" fmla="*/ 25 h 812"/>
                <a:gd name="T68" fmla="*/ 679 w 1011"/>
                <a:gd name="T69" fmla="*/ 22 h 812"/>
                <a:gd name="T70" fmla="*/ 693 w 1011"/>
                <a:gd name="T71" fmla="*/ 19 h 812"/>
                <a:gd name="T72" fmla="*/ 707 w 1011"/>
                <a:gd name="T73" fmla="*/ 18 h 812"/>
                <a:gd name="T74" fmla="*/ 722 w 1011"/>
                <a:gd name="T75" fmla="*/ 18 h 812"/>
                <a:gd name="T76" fmla="*/ 736 w 1011"/>
                <a:gd name="T77" fmla="*/ 21 h 812"/>
                <a:gd name="T78" fmla="*/ 750 w 1011"/>
                <a:gd name="T79" fmla="*/ 24 h 812"/>
                <a:gd name="T80" fmla="*/ 764 w 1011"/>
                <a:gd name="T81" fmla="*/ 28 h 812"/>
                <a:gd name="T82" fmla="*/ 778 w 1011"/>
                <a:gd name="T83" fmla="*/ 35 h 812"/>
                <a:gd name="T84" fmla="*/ 791 w 1011"/>
                <a:gd name="T85" fmla="*/ 42 h 812"/>
                <a:gd name="T86" fmla="*/ 803 w 1011"/>
                <a:gd name="T87" fmla="*/ 51 h 812"/>
                <a:gd name="T88" fmla="*/ 803 w 1011"/>
                <a:gd name="T89" fmla="*/ 51 h 812"/>
                <a:gd name="T90" fmla="*/ 848 w 1011"/>
                <a:gd name="T91" fmla="*/ 85 h 812"/>
                <a:gd name="T92" fmla="*/ 848 w 1011"/>
                <a:gd name="T93" fmla="*/ 85 h 812"/>
                <a:gd name="T94" fmla="*/ 864 w 1011"/>
                <a:gd name="T95" fmla="*/ 97 h 812"/>
                <a:gd name="T96" fmla="*/ 829 w 1011"/>
                <a:gd name="T97" fmla="*/ 141 h 812"/>
                <a:gd name="T98" fmla="*/ 965 w 1011"/>
                <a:gd name="T99" fmla="*/ 247 h 812"/>
                <a:gd name="T100" fmla="*/ 999 w 1011"/>
                <a:gd name="T101" fmla="*/ 204 h 812"/>
                <a:gd name="T102" fmla="*/ 1007 w 1011"/>
                <a:gd name="T103" fmla="*/ 194 h 812"/>
                <a:gd name="T104" fmla="*/ 1011 w 1011"/>
                <a:gd name="T105" fmla="*/ 190 h 812"/>
                <a:gd name="T106" fmla="*/ 1011 w 1011"/>
                <a:gd name="T107" fmla="*/ 190 h 812"/>
                <a:gd name="T108" fmla="*/ 949 w 1011"/>
                <a:gd name="T109" fmla="*/ 143 h 812"/>
                <a:gd name="T110" fmla="*/ 949 w 1011"/>
                <a:gd name="T111" fmla="*/ 14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11" h="812">
                  <a:moveTo>
                    <a:pt x="949" y="143"/>
                  </a:moveTo>
                  <a:lnTo>
                    <a:pt x="949" y="143"/>
                  </a:lnTo>
                  <a:lnTo>
                    <a:pt x="814" y="36"/>
                  </a:lnTo>
                  <a:lnTo>
                    <a:pt x="814" y="36"/>
                  </a:lnTo>
                  <a:lnTo>
                    <a:pt x="802" y="27"/>
                  </a:lnTo>
                  <a:lnTo>
                    <a:pt x="789" y="21"/>
                  </a:lnTo>
                  <a:lnTo>
                    <a:pt x="776" y="14"/>
                  </a:lnTo>
                  <a:lnTo>
                    <a:pt x="763" y="9"/>
                  </a:lnTo>
                  <a:lnTo>
                    <a:pt x="749" y="4"/>
                  </a:lnTo>
                  <a:lnTo>
                    <a:pt x="734" y="2"/>
                  </a:lnTo>
                  <a:lnTo>
                    <a:pt x="720" y="0"/>
                  </a:lnTo>
                  <a:lnTo>
                    <a:pt x="706" y="0"/>
                  </a:lnTo>
                  <a:lnTo>
                    <a:pt x="691" y="1"/>
                  </a:lnTo>
                  <a:lnTo>
                    <a:pt x="677" y="3"/>
                  </a:lnTo>
                  <a:lnTo>
                    <a:pt x="663" y="6"/>
                  </a:lnTo>
                  <a:lnTo>
                    <a:pt x="649" y="11"/>
                  </a:lnTo>
                  <a:lnTo>
                    <a:pt x="636" y="16"/>
                  </a:lnTo>
                  <a:lnTo>
                    <a:pt x="623" y="24"/>
                  </a:lnTo>
                  <a:lnTo>
                    <a:pt x="611" y="32"/>
                  </a:lnTo>
                  <a:lnTo>
                    <a:pt x="599" y="41"/>
                  </a:lnTo>
                  <a:lnTo>
                    <a:pt x="599" y="41"/>
                  </a:lnTo>
                  <a:lnTo>
                    <a:pt x="589" y="52"/>
                  </a:lnTo>
                  <a:lnTo>
                    <a:pt x="580" y="63"/>
                  </a:lnTo>
                  <a:lnTo>
                    <a:pt x="561" y="84"/>
                  </a:lnTo>
                  <a:lnTo>
                    <a:pt x="0" y="801"/>
                  </a:lnTo>
                  <a:lnTo>
                    <a:pt x="15" y="812"/>
                  </a:lnTo>
                  <a:lnTo>
                    <a:pt x="593" y="75"/>
                  </a:lnTo>
                  <a:lnTo>
                    <a:pt x="593" y="75"/>
                  </a:lnTo>
                  <a:lnTo>
                    <a:pt x="603" y="63"/>
                  </a:lnTo>
                  <a:lnTo>
                    <a:pt x="614" y="53"/>
                  </a:lnTo>
                  <a:lnTo>
                    <a:pt x="626" y="44"/>
                  </a:lnTo>
                  <a:lnTo>
                    <a:pt x="638" y="37"/>
                  </a:lnTo>
                  <a:lnTo>
                    <a:pt x="652" y="30"/>
                  </a:lnTo>
                  <a:lnTo>
                    <a:pt x="665" y="25"/>
                  </a:lnTo>
                  <a:lnTo>
                    <a:pt x="679" y="22"/>
                  </a:lnTo>
                  <a:lnTo>
                    <a:pt x="693" y="19"/>
                  </a:lnTo>
                  <a:lnTo>
                    <a:pt x="707" y="18"/>
                  </a:lnTo>
                  <a:lnTo>
                    <a:pt x="722" y="18"/>
                  </a:lnTo>
                  <a:lnTo>
                    <a:pt x="736" y="21"/>
                  </a:lnTo>
                  <a:lnTo>
                    <a:pt x="750" y="24"/>
                  </a:lnTo>
                  <a:lnTo>
                    <a:pt x="764" y="28"/>
                  </a:lnTo>
                  <a:lnTo>
                    <a:pt x="778" y="35"/>
                  </a:lnTo>
                  <a:lnTo>
                    <a:pt x="791" y="42"/>
                  </a:lnTo>
                  <a:lnTo>
                    <a:pt x="803" y="51"/>
                  </a:lnTo>
                  <a:lnTo>
                    <a:pt x="803" y="51"/>
                  </a:lnTo>
                  <a:lnTo>
                    <a:pt x="848" y="85"/>
                  </a:lnTo>
                  <a:lnTo>
                    <a:pt x="848" y="85"/>
                  </a:lnTo>
                  <a:lnTo>
                    <a:pt x="864" y="97"/>
                  </a:lnTo>
                  <a:lnTo>
                    <a:pt x="829" y="141"/>
                  </a:lnTo>
                  <a:lnTo>
                    <a:pt x="965" y="247"/>
                  </a:lnTo>
                  <a:lnTo>
                    <a:pt x="999" y="204"/>
                  </a:lnTo>
                  <a:lnTo>
                    <a:pt x="1007" y="194"/>
                  </a:lnTo>
                  <a:lnTo>
                    <a:pt x="1011" y="190"/>
                  </a:lnTo>
                  <a:lnTo>
                    <a:pt x="1011" y="190"/>
                  </a:lnTo>
                  <a:lnTo>
                    <a:pt x="949" y="143"/>
                  </a:lnTo>
                  <a:lnTo>
                    <a:pt x="949" y="143"/>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12" name="Freeform 611"/>
            <p:cNvSpPr>
              <a:spLocks/>
            </p:cNvSpPr>
            <p:nvPr/>
          </p:nvSpPr>
          <p:spPr bwMode="auto">
            <a:xfrm>
              <a:off x="3131795" y="4276994"/>
              <a:ext cx="383619" cy="388065"/>
            </a:xfrm>
            <a:custGeom>
              <a:avLst/>
              <a:gdLst>
                <a:gd name="T0" fmla="*/ 68 w 891"/>
                <a:gd name="T1" fmla="*/ 821 h 921"/>
                <a:gd name="T2" fmla="*/ 68 w 891"/>
                <a:gd name="T3" fmla="*/ 821 h 921"/>
                <a:gd name="T4" fmla="*/ 220 w 891"/>
                <a:gd name="T5" fmla="*/ 902 h 921"/>
                <a:gd name="T6" fmla="*/ 220 w 891"/>
                <a:gd name="T7" fmla="*/ 902 h 921"/>
                <a:gd name="T8" fmla="*/ 233 w 891"/>
                <a:gd name="T9" fmla="*/ 908 h 921"/>
                <a:gd name="T10" fmla="*/ 247 w 891"/>
                <a:gd name="T11" fmla="*/ 914 h 921"/>
                <a:gd name="T12" fmla="*/ 261 w 891"/>
                <a:gd name="T13" fmla="*/ 917 h 921"/>
                <a:gd name="T14" fmla="*/ 276 w 891"/>
                <a:gd name="T15" fmla="*/ 920 h 921"/>
                <a:gd name="T16" fmla="*/ 290 w 891"/>
                <a:gd name="T17" fmla="*/ 921 h 921"/>
                <a:gd name="T18" fmla="*/ 304 w 891"/>
                <a:gd name="T19" fmla="*/ 921 h 921"/>
                <a:gd name="T20" fmla="*/ 319 w 891"/>
                <a:gd name="T21" fmla="*/ 920 h 921"/>
                <a:gd name="T22" fmla="*/ 333 w 891"/>
                <a:gd name="T23" fmla="*/ 919 h 921"/>
                <a:gd name="T24" fmla="*/ 347 w 891"/>
                <a:gd name="T25" fmla="*/ 915 h 921"/>
                <a:gd name="T26" fmla="*/ 361 w 891"/>
                <a:gd name="T27" fmla="*/ 911 h 921"/>
                <a:gd name="T28" fmla="*/ 374 w 891"/>
                <a:gd name="T29" fmla="*/ 905 h 921"/>
                <a:gd name="T30" fmla="*/ 387 w 891"/>
                <a:gd name="T31" fmla="*/ 899 h 921"/>
                <a:gd name="T32" fmla="*/ 399 w 891"/>
                <a:gd name="T33" fmla="*/ 890 h 921"/>
                <a:gd name="T34" fmla="*/ 411 w 891"/>
                <a:gd name="T35" fmla="*/ 881 h 921"/>
                <a:gd name="T36" fmla="*/ 421 w 891"/>
                <a:gd name="T37" fmla="*/ 871 h 921"/>
                <a:gd name="T38" fmla="*/ 430 w 891"/>
                <a:gd name="T39" fmla="*/ 860 h 921"/>
                <a:gd name="T40" fmla="*/ 430 w 891"/>
                <a:gd name="T41" fmla="*/ 860 h 921"/>
                <a:gd name="T42" fmla="*/ 439 w 891"/>
                <a:gd name="T43" fmla="*/ 848 h 921"/>
                <a:gd name="T44" fmla="*/ 446 w 891"/>
                <a:gd name="T45" fmla="*/ 836 h 921"/>
                <a:gd name="T46" fmla="*/ 461 w 891"/>
                <a:gd name="T47" fmla="*/ 810 h 921"/>
                <a:gd name="T48" fmla="*/ 891 w 891"/>
                <a:gd name="T49" fmla="*/ 9 h 921"/>
                <a:gd name="T50" fmla="*/ 875 w 891"/>
                <a:gd name="T51" fmla="*/ 0 h 921"/>
                <a:gd name="T52" fmla="*/ 431 w 891"/>
                <a:gd name="T53" fmla="*/ 826 h 921"/>
                <a:gd name="T54" fmla="*/ 431 w 891"/>
                <a:gd name="T55" fmla="*/ 826 h 921"/>
                <a:gd name="T56" fmla="*/ 424 w 891"/>
                <a:gd name="T57" fmla="*/ 839 h 921"/>
                <a:gd name="T58" fmla="*/ 414 w 891"/>
                <a:gd name="T59" fmla="*/ 851 h 921"/>
                <a:gd name="T60" fmla="*/ 404 w 891"/>
                <a:gd name="T61" fmla="*/ 862 h 921"/>
                <a:gd name="T62" fmla="*/ 392 w 891"/>
                <a:gd name="T63" fmla="*/ 872 h 921"/>
                <a:gd name="T64" fmla="*/ 382 w 891"/>
                <a:gd name="T65" fmla="*/ 879 h 921"/>
                <a:gd name="T66" fmla="*/ 369 w 891"/>
                <a:gd name="T67" fmla="*/ 887 h 921"/>
                <a:gd name="T68" fmla="*/ 356 w 891"/>
                <a:gd name="T69" fmla="*/ 893 h 921"/>
                <a:gd name="T70" fmla="*/ 342 w 891"/>
                <a:gd name="T71" fmla="*/ 898 h 921"/>
                <a:gd name="T72" fmla="*/ 328 w 891"/>
                <a:gd name="T73" fmla="*/ 901 h 921"/>
                <a:gd name="T74" fmla="*/ 314 w 891"/>
                <a:gd name="T75" fmla="*/ 903 h 921"/>
                <a:gd name="T76" fmla="*/ 300 w 891"/>
                <a:gd name="T77" fmla="*/ 903 h 921"/>
                <a:gd name="T78" fmla="*/ 284 w 891"/>
                <a:gd name="T79" fmla="*/ 903 h 921"/>
                <a:gd name="T80" fmla="*/ 270 w 891"/>
                <a:gd name="T81" fmla="*/ 901 h 921"/>
                <a:gd name="T82" fmla="*/ 256 w 891"/>
                <a:gd name="T83" fmla="*/ 897 h 921"/>
                <a:gd name="T84" fmla="*/ 241 w 891"/>
                <a:gd name="T85" fmla="*/ 892 h 921"/>
                <a:gd name="T86" fmla="*/ 228 w 891"/>
                <a:gd name="T87" fmla="*/ 886 h 921"/>
                <a:gd name="T88" fmla="*/ 228 w 891"/>
                <a:gd name="T89" fmla="*/ 886 h 921"/>
                <a:gd name="T90" fmla="*/ 179 w 891"/>
                <a:gd name="T91" fmla="*/ 859 h 921"/>
                <a:gd name="T92" fmla="*/ 179 w 891"/>
                <a:gd name="T93" fmla="*/ 859 h 921"/>
                <a:gd name="T94" fmla="*/ 161 w 891"/>
                <a:gd name="T95" fmla="*/ 849 h 921"/>
                <a:gd name="T96" fmla="*/ 187 w 891"/>
                <a:gd name="T97" fmla="*/ 800 h 921"/>
                <a:gd name="T98" fmla="*/ 35 w 891"/>
                <a:gd name="T99" fmla="*/ 719 h 921"/>
                <a:gd name="T100" fmla="*/ 9 w 891"/>
                <a:gd name="T101" fmla="*/ 768 h 921"/>
                <a:gd name="T102" fmla="*/ 3 w 891"/>
                <a:gd name="T103" fmla="*/ 779 h 921"/>
                <a:gd name="T104" fmla="*/ 0 w 891"/>
                <a:gd name="T105" fmla="*/ 784 h 921"/>
                <a:gd name="T106" fmla="*/ 0 w 891"/>
                <a:gd name="T107" fmla="*/ 784 h 921"/>
                <a:gd name="T108" fmla="*/ 68 w 891"/>
                <a:gd name="T109" fmla="*/ 821 h 921"/>
                <a:gd name="T110" fmla="*/ 68 w 891"/>
                <a:gd name="T111" fmla="*/ 821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1" h="921">
                  <a:moveTo>
                    <a:pt x="68" y="821"/>
                  </a:moveTo>
                  <a:lnTo>
                    <a:pt x="68" y="821"/>
                  </a:lnTo>
                  <a:lnTo>
                    <a:pt x="220" y="902"/>
                  </a:lnTo>
                  <a:lnTo>
                    <a:pt x="220" y="902"/>
                  </a:lnTo>
                  <a:lnTo>
                    <a:pt x="233" y="908"/>
                  </a:lnTo>
                  <a:lnTo>
                    <a:pt x="247" y="914"/>
                  </a:lnTo>
                  <a:lnTo>
                    <a:pt x="261" y="917"/>
                  </a:lnTo>
                  <a:lnTo>
                    <a:pt x="276" y="920"/>
                  </a:lnTo>
                  <a:lnTo>
                    <a:pt x="290" y="921"/>
                  </a:lnTo>
                  <a:lnTo>
                    <a:pt x="304" y="921"/>
                  </a:lnTo>
                  <a:lnTo>
                    <a:pt x="319" y="920"/>
                  </a:lnTo>
                  <a:lnTo>
                    <a:pt x="333" y="919"/>
                  </a:lnTo>
                  <a:lnTo>
                    <a:pt x="347" y="915"/>
                  </a:lnTo>
                  <a:lnTo>
                    <a:pt x="361" y="911"/>
                  </a:lnTo>
                  <a:lnTo>
                    <a:pt x="374" y="905"/>
                  </a:lnTo>
                  <a:lnTo>
                    <a:pt x="387" y="899"/>
                  </a:lnTo>
                  <a:lnTo>
                    <a:pt x="399" y="890"/>
                  </a:lnTo>
                  <a:lnTo>
                    <a:pt x="411" y="881"/>
                  </a:lnTo>
                  <a:lnTo>
                    <a:pt x="421" y="871"/>
                  </a:lnTo>
                  <a:lnTo>
                    <a:pt x="430" y="860"/>
                  </a:lnTo>
                  <a:lnTo>
                    <a:pt x="430" y="860"/>
                  </a:lnTo>
                  <a:lnTo>
                    <a:pt x="439" y="848"/>
                  </a:lnTo>
                  <a:lnTo>
                    <a:pt x="446" y="836"/>
                  </a:lnTo>
                  <a:lnTo>
                    <a:pt x="461" y="810"/>
                  </a:lnTo>
                  <a:lnTo>
                    <a:pt x="891" y="9"/>
                  </a:lnTo>
                  <a:lnTo>
                    <a:pt x="875" y="0"/>
                  </a:lnTo>
                  <a:lnTo>
                    <a:pt x="431" y="826"/>
                  </a:lnTo>
                  <a:lnTo>
                    <a:pt x="431" y="826"/>
                  </a:lnTo>
                  <a:lnTo>
                    <a:pt x="424" y="839"/>
                  </a:lnTo>
                  <a:lnTo>
                    <a:pt x="414" y="851"/>
                  </a:lnTo>
                  <a:lnTo>
                    <a:pt x="404" y="862"/>
                  </a:lnTo>
                  <a:lnTo>
                    <a:pt x="392" y="872"/>
                  </a:lnTo>
                  <a:lnTo>
                    <a:pt x="382" y="879"/>
                  </a:lnTo>
                  <a:lnTo>
                    <a:pt x="369" y="887"/>
                  </a:lnTo>
                  <a:lnTo>
                    <a:pt x="356" y="893"/>
                  </a:lnTo>
                  <a:lnTo>
                    <a:pt x="342" y="898"/>
                  </a:lnTo>
                  <a:lnTo>
                    <a:pt x="328" y="901"/>
                  </a:lnTo>
                  <a:lnTo>
                    <a:pt x="314" y="903"/>
                  </a:lnTo>
                  <a:lnTo>
                    <a:pt x="300" y="903"/>
                  </a:lnTo>
                  <a:lnTo>
                    <a:pt x="284" y="903"/>
                  </a:lnTo>
                  <a:lnTo>
                    <a:pt x="270" y="901"/>
                  </a:lnTo>
                  <a:lnTo>
                    <a:pt x="256" y="897"/>
                  </a:lnTo>
                  <a:lnTo>
                    <a:pt x="241" y="892"/>
                  </a:lnTo>
                  <a:lnTo>
                    <a:pt x="228" y="886"/>
                  </a:lnTo>
                  <a:lnTo>
                    <a:pt x="228" y="886"/>
                  </a:lnTo>
                  <a:lnTo>
                    <a:pt x="179" y="859"/>
                  </a:lnTo>
                  <a:lnTo>
                    <a:pt x="179" y="859"/>
                  </a:lnTo>
                  <a:lnTo>
                    <a:pt x="161" y="849"/>
                  </a:lnTo>
                  <a:lnTo>
                    <a:pt x="187" y="800"/>
                  </a:lnTo>
                  <a:lnTo>
                    <a:pt x="35" y="719"/>
                  </a:lnTo>
                  <a:lnTo>
                    <a:pt x="9" y="768"/>
                  </a:lnTo>
                  <a:lnTo>
                    <a:pt x="3" y="779"/>
                  </a:lnTo>
                  <a:lnTo>
                    <a:pt x="0" y="784"/>
                  </a:lnTo>
                  <a:lnTo>
                    <a:pt x="0" y="784"/>
                  </a:lnTo>
                  <a:lnTo>
                    <a:pt x="68" y="821"/>
                  </a:lnTo>
                  <a:lnTo>
                    <a:pt x="68" y="821"/>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13" name="Freeform 612"/>
            <p:cNvSpPr/>
            <p:nvPr/>
          </p:nvSpPr>
          <p:spPr>
            <a:xfrm>
              <a:off x="6320451" y="2250907"/>
              <a:ext cx="1703" cy="19059"/>
            </a:xfrm>
            <a:custGeom>
              <a:avLst/>
              <a:gdLst>
                <a:gd name="connsiteX0" fmla="*/ 265 w 1554"/>
                <a:gd name="connsiteY0" fmla="*/ 0 h 18288"/>
                <a:gd name="connsiteX1" fmla="*/ 1554 w 1554"/>
                <a:gd name="connsiteY1" fmla="*/ 0 h 18288"/>
                <a:gd name="connsiteX2" fmla="*/ 1554 w 1554"/>
                <a:gd name="connsiteY2" fmla="*/ 18288 h 18288"/>
                <a:gd name="connsiteX3" fmla="*/ 0 w 1554"/>
                <a:gd name="connsiteY3" fmla="*/ 18288 h 18288"/>
                <a:gd name="connsiteX4" fmla="*/ 265 w 1554"/>
                <a:gd name="connsiteY4" fmla="*/ 0 h 18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4" h="18288">
                  <a:moveTo>
                    <a:pt x="265" y="0"/>
                  </a:moveTo>
                  <a:lnTo>
                    <a:pt x="1554" y="0"/>
                  </a:lnTo>
                  <a:lnTo>
                    <a:pt x="1554" y="18288"/>
                  </a:lnTo>
                  <a:lnTo>
                    <a:pt x="0" y="18288"/>
                  </a:lnTo>
                  <a:lnTo>
                    <a:pt x="265" y="0"/>
                  </a:lnTo>
                  <a:close/>
                </a:path>
              </a:pathLst>
            </a:custGeom>
            <a:solidFill>
              <a:srgbClr val="822980">
                <a:lumMod val="40000"/>
                <a:lumOff val="60000"/>
              </a:srgbClr>
            </a:solidFill>
            <a:ln w="9525" cap="flat" cmpd="sng" algn="ctr">
              <a:noFill/>
              <a:prstDash val="solid"/>
            </a:ln>
            <a:effectLst/>
          </p:spPr>
          <p:txBody>
            <a:bodyPr rtlCol="0" anchor="ctr"/>
            <a:lstStyle>
              <a:defPPr>
                <a:defRPr lang="en-US"/>
              </a:defPPr>
              <a:lvl1pPr marL="0" algn="l" defTabSz="457134" rtl="0" eaLnBrk="1" latinLnBrk="0" hangingPunct="1">
                <a:defRPr sz="1800" kern="1200">
                  <a:solidFill>
                    <a:schemeClr val="lt1"/>
                  </a:solidFill>
                  <a:latin typeface="+mn-lt"/>
                  <a:ea typeface="+mn-ea"/>
                  <a:cs typeface="+mn-cs"/>
                </a:defRPr>
              </a:lvl1pPr>
              <a:lvl2pPr marL="457134" algn="l" defTabSz="457134" rtl="0" eaLnBrk="1" latinLnBrk="0" hangingPunct="1">
                <a:defRPr sz="1800" kern="1200">
                  <a:solidFill>
                    <a:schemeClr val="lt1"/>
                  </a:solidFill>
                  <a:latin typeface="+mn-lt"/>
                  <a:ea typeface="+mn-ea"/>
                  <a:cs typeface="+mn-cs"/>
                </a:defRPr>
              </a:lvl2pPr>
              <a:lvl3pPr marL="914268" algn="l" defTabSz="457134" rtl="0" eaLnBrk="1" latinLnBrk="0" hangingPunct="1">
                <a:defRPr sz="1800" kern="1200">
                  <a:solidFill>
                    <a:schemeClr val="lt1"/>
                  </a:solidFill>
                  <a:latin typeface="+mn-lt"/>
                  <a:ea typeface="+mn-ea"/>
                  <a:cs typeface="+mn-cs"/>
                </a:defRPr>
              </a:lvl3pPr>
              <a:lvl4pPr marL="1371402" algn="l" defTabSz="457134" rtl="0" eaLnBrk="1" latinLnBrk="0" hangingPunct="1">
                <a:defRPr sz="1800" kern="1200">
                  <a:solidFill>
                    <a:schemeClr val="lt1"/>
                  </a:solidFill>
                  <a:latin typeface="+mn-lt"/>
                  <a:ea typeface="+mn-ea"/>
                  <a:cs typeface="+mn-cs"/>
                </a:defRPr>
              </a:lvl4pPr>
              <a:lvl5pPr marL="1828537" algn="l" defTabSz="457134" rtl="0" eaLnBrk="1" latinLnBrk="0" hangingPunct="1">
                <a:defRPr sz="1800" kern="1200">
                  <a:solidFill>
                    <a:schemeClr val="lt1"/>
                  </a:solidFill>
                  <a:latin typeface="+mn-lt"/>
                  <a:ea typeface="+mn-ea"/>
                  <a:cs typeface="+mn-cs"/>
                </a:defRPr>
              </a:lvl5pPr>
              <a:lvl6pPr marL="2285671" algn="l" defTabSz="457134" rtl="0" eaLnBrk="1" latinLnBrk="0" hangingPunct="1">
                <a:defRPr sz="1800" kern="1200">
                  <a:solidFill>
                    <a:schemeClr val="lt1"/>
                  </a:solidFill>
                  <a:latin typeface="+mn-lt"/>
                  <a:ea typeface="+mn-ea"/>
                  <a:cs typeface="+mn-cs"/>
                </a:defRPr>
              </a:lvl6pPr>
              <a:lvl7pPr marL="2742805" algn="l" defTabSz="457134" rtl="0" eaLnBrk="1" latinLnBrk="0" hangingPunct="1">
                <a:defRPr sz="1800" kern="1200">
                  <a:solidFill>
                    <a:schemeClr val="lt1"/>
                  </a:solidFill>
                  <a:latin typeface="+mn-lt"/>
                  <a:ea typeface="+mn-ea"/>
                  <a:cs typeface="+mn-cs"/>
                </a:defRPr>
              </a:lvl7pPr>
              <a:lvl8pPr marL="3199939" algn="l" defTabSz="457134" rtl="0" eaLnBrk="1" latinLnBrk="0" hangingPunct="1">
                <a:defRPr sz="1800" kern="1200">
                  <a:solidFill>
                    <a:schemeClr val="lt1"/>
                  </a:solidFill>
                  <a:latin typeface="+mn-lt"/>
                  <a:ea typeface="+mn-ea"/>
                  <a:cs typeface="+mn-cs"/>
                </a:defRPr>
              </a:lvl8pPr>
              <a:lvl9pPr marL="3657073" algn="l" defTabSz="457134" rtl="0" eaLnBrk="1" latinLnBrk="0" hangingPunct="1">
                <a:defRPr sz="1800" kern="1200">
                  <a:solidFill>
                    <a:schemeClr val="lt1"/>
                  </a:solidFill>
                  <a:latin typeface="+mn-lt"/>
                  <a:ea typeface="+mn-ea"/>
                  <a:cs typeface="+mn-cs"/>
                </a:defRPr>
              </a:lvl9pPr>
            </a:lstStyle>
            <a:p>
              <a:pPr algn="ctr" defTabSz="609446">
                <a:defRPr/>
              </a:pPr>
              <a:endParaRPr lang="en-US" sz="2400">
                <a:solidFill>
                  <a:prstClr val="white"/>
                </a:solidFill>
              </a:endParaRPr>
            </a:p>
          </p:txBody>
        </p:sp>
        <p:sp>
          <p:nvSpPr>
            <p:cNvPr id="614" name="Freeform 613"/>
            <p:cNvSpPr>
              <a:spLocks noEditPoints="1"/>
            </p:cNvSpPr>
            <p:nvPr/>
          </p:nvSpPr>
          <p:spPr bwMode="auto">
            <a:xfrm>
              <a:off x="2893367" y="4669733"/>
              <a:ext cx="285562" cy="275017"/>
            </a:xfrm>
            <a:custGeom>
              <a:avLst/>
              <a:gdLst>
                <a:gd name="T0" fmla="*/ 622 w 661"/>
                <a:gd name="T1" fmla="*/ 329 h 652"/>
                <a:gd name="T2" fmla="*/ 656 w 661"/>
                <a:gd name="T3" fmla="*/ 275 h 652"/>
                <a:gd name="T4" fmla="*/ 608 w 661"/>
                <a:gd name="T5" fmla="*/ 266 h 652"/>
                <a:gd name="T6" fmla="*/ 600 w 661"/>
                <a:gd name="T7" fmla="*/ 230 h 652"/>
                <a:gd name="T8" fmla="*/ 626 w 661"/>
                <a:gd name="T9" fmla="*/ 182 h 652"/>
                <a:gd name="T10" fmla="*/ 571 w 661"/>
                <a:gd name="T11" fmla="*/ 173 h 652"/>
                <a:gd name="T12" fmla="*/ 546 w 661"/>
                <a:gd name="T13" fmla="*/ 141 h 652"/>
                <a:gd name="T14" fmla="*/ 553 w 661"/>
                <a:gd name="T15" fmla="*/ 86 h 652"/>
                <a:gd name="T16" fmla="*/ 499 w 661"/>
                <a:gd name="T17" fmla="*/ 97 h 652"/>
                <a:gd name="T18" fmla="*/ 466 w 661"/>
                <a:gd name="T19" fmla="*/ 80 h 652"/>
                <a:gd name="T20" fmla="*/ 471 w 661"/>
                <a:gd name="T21" fmla="*/ 32 h 652"/>
                <a:gd name="T22" fmla="*/ 408 w 661"/>
                <a:gd name="T23" fmla="*/ 50 h 652"/>
                <a:gd name="T24" fmla="*/ 367 w 661"/>
                <a:gd name="T25" fmla="*/ 49 h 652"/>
                <a:gd name="T26" fmla="*/ 353 w 661"/>
                <a:gd name="T27" fmla="*/ 1 h 652"/>
                <a:gd name="T28" fmla="*/ 301 w 661"/>
                <a:gd name="T29" fmla="*/ 41 h 652"/>
                <a:gd name="T30" fmla="*/ 268 w 661"/>
                <a:gd name="T31" fmla="*/ 55 h 652"/>
                <a:gd name="T32" fmla="*/ 232 w 661"/>
                <a:gd name="T33" fmla="*/ 15 h 652"/>
                <a:gd name="T34" fmla="*/ 199 w 661"/>
                <a:gd name="T35" fmla="*/ 65 h 652"/>
                <a:gd name="T36" fmla="*/ 172 w 661"/>
                <a:gd name="T37" fmla="*/ 95 h 652"/>
                <a:gd name="T38" fmla="*/ 125 w 661"/>
                <a:gd name="T39" fmla="*/ 72 h 652"/>
                <a:gd name="T40" fmla="*/ 112 w 661"/>
                <a:gd name="T41" fmla="*/ 129 h 652"/>
                <a:gd name="T42" fmla="*/ 102 w 661"/>
                <a:gd name="T43" fmla="*/ 163 h 652"/>
                <a:gd name="T44" fmla="*/ 59 w 661"/>
                <a:gd name="T45" fmla="*/ 170 h 652"/>
                <a:gd name="T46" fmla="*/ 50 w 661"/>
                <a:gd name="T47" fmla="*/ 215 h 652"/>
                <a:gd name="T48" fmla="*/ 57 w 661"/>
                <a:gd name="T49" fmla="*/ 255 h 652"/>
                <a:gd name="T50" fmla="*/ 20 w 661"/>
                <a:gd name="T51" fmla="*/ 278 h 652"/>
                <a:gd name="T52" fmla="*/ 29 w 661"/>
                <a:gd name="T53" fmla="*/ 323 h 652"/>
                <a:gd name="T54" fmla="*/ 49 w 661"/>
                <a:gd name="T55" fmla="*/ 358 h 652"/>
                <a:gd name="T56" fmla="*/ 29 w 661"/>
                <a:gd name="T57" fmla="*/ 389 h 652"/>
                <a:gd name="T58" fmla="*/ 41 w 661"/>
                <a:gd name="T59" fmla="*/ 431 h 652"/>
                <a:gd name="T60" fmla="*/ 80 w 661"/>
                <a:gd name="T61" fmla="*/ 456 h 652"/>
                <a:gd name="T62" fmla="*/ 72 w 661"/>
                <a:gd name="T63" fmla="*/ 493 h 652"/>
                <a:gd name="T64" fmla="*/ 98 w 661"/>
                <a:gd name="T65" fmla="*/ 527 h 652"/>
                <a:gd name="T66" fmla="*/ 136 w 661"/>
                <a:gd name="T67" fmla="*/ 529 h 652"/>
                <a:gd name="T68" fmla="*/ 152 w 661"/>
                <a:gd name="T69" fmla="*/ 567 h 652"/>
                <a:gd name="T70" fmla="*/ 183 w 661"/>
                <a:gd name="T71" fmla="*/ 602 h 652"/>
                <a:gd name="T72" fmla="*/ 223 w 661"/>
                <a:gd name="T73" fmla="*/ 585 h 652"/>
                <a:gd name="T74" fmla="*/ 250 w 661"/>
                <a:gd name="T75" fmla="*/ 609 h 652"/>
                <a:gd name="T76" fmla="*/ 276 w 661"/>
                <a:gd name="T77" fmla="*/ 649 h 652"/>
                <a:gd name="T78" fmla="*/ 310 w 661"/>
                <a:gd name="T79" fmla="*/ 610 h 652"/>
                <a:gd name="T80" fmla="*/ 345 w 661"/>
                <a:gd name="T81" fmla="*/ 608 h 652"/>
                <a:gd name="T82" fmla="*/ 368 w 661"/>
                <a:gd name="T83" fmla="*/ 652 h 652"/>
                <a:gd name="T84" fmla="*/ 411 w 661"/>
                <a:gd name="T85" fmla="*/ 604 h 652"/>
                <a:gd name="T86" fmla="*/ 447 w 661"/>
                <a:gd name="T87" fmla="*/ 583 h 652"/>
                <a:gd name="T88" fmla="*/ 485 w 661"/>
                <a:gd name="T89" fmla="*/ 616 h 652"/>
                <a:gd name="T90" fmla="*/ 506 w 661"/>
                <a:gd name="T91" fmla="*/ 555 h 652"/>
                <a:gd name="T92" fmla="*/ 533 w 661"/>
                <a:gd name="T93" fmla="*/ 524 h 652"/>
                <a:gd name="T94" fmla="*/ 580 w 661"/>
                <a:gd name="T95" fmla="*/ 541 h 652"/>
                <a:gd name="T96" fmla="*/ 579 w 661"/>
                <a:gd name="T97" fmla="*/ 478 h 652"/>
                <a:gd name="T98" fmla="*/ 587 w 661"/>
                <a:gd name="T99" fmla="*/ 442 h 652"/>
                <a:gd name="T100" fmla="*/ 641 w 661"/>
                <a:gd name="T101" fmla="*/ 439 h 652"/>
                <a:gd name="T102" fmla="*/ 621 w 661"/>
                <a:gd name="T103" fmla="*/ 383 h 652"/>
                <a:gd name="T104" fmla="*/ 531 w 661"/>
                <a:gd name="T105" fmla="*/ 371 h 652"/>
                <a:gd name="T106" fmla="*/ 458 w 661"/>
                <a:gd name="T107" fmla="*/ 487 h 652"/>
                <a:gd name="T108" fmla="*/ 347 w 661"/>
                <a:gd name="T109" fmla="*/ 532 h 652"/>
                <a:gd name="T110" fmla="*/ 249 w 661"/>
                <a:gd name="T111" fmla="*/ 515 h 652"/>
                <a:gd name="T112" fmla="*/ 148 w 661"/>
                <a:gd name="T113" fmla="*/ 421 h 652"/>
                <a:gd name="T114" fmla="*/ 129 w 661"/>
                <a:gd name="T115" fmla="*/ 285 h 652"/>
                <a:gd name="T116" fmla="*/ 202 w 661"/>
                <a:gd name="T117" fmla="*/ 168 h 652"/>
                <a:gd name="T118" fmla="*/ 313 w 661"/>
                <a:gd name="T119" fmla="*/ 124 h 652"/>
                <a:gd name="T120" fmla="*/ 428 w 661"/>
                <a:gd name="T121" fmla="*/ 149 h 652"/>
                <a:gd name="T122" fmla="*/ 521 w 661"/>
                <a:gd name="T123" fmla="*/ 253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1" h="652">
                  <a:moveTo>
                    <a:pt x="610" y="358"/>
                  </a:moveTo>
                  <a:lnTo>
                    <a:pt x="610" y="358"/>
                  </a:lnTo>
                  <a:lnTo>
                    <a:pt x="611" y="348"/>
                  </a:lnTo>
                  <a:lnTo>
                    <a:pt x="611" y="348"/>
                  </a:lnTo>
                  <a:lnTo>
                    <a:pt x="612" y="343"/>
                  </a:lnTo>
                  <a:lnTo>
                    <a:pt x="614" y="337"/>
                  </a:lnTo>
                  <a:lnTo>
                    <a:pt x="617" y="333"/>
                  </a:lnTo>
                  <a:lnTo>
                    <a:pt x="622" y="329"/>
                  </a:lnTo>
                  <a:lnTo>
                    <a:pt x="626" y="325"/>
                  </a:lnTo>
                  <a:lnTo>
                    <a:pt x="631" y="323"/>
                  </a:lnTo>
                  <a:lnTo>
                    <a:pt x="637" y="321"/>
                  </a:lnTo>
                  <a:lnTo>
                    <a:pt x="643" y="320"/>
                  </a:lnTo>
                  <a:lnTo>
                    <a:pt x="661" y="320"/>
                  </a:lnTo>
                  <a:lnTo>
                    <a:pt x="661" y="320"/>
                  </a:lnTo>
                  <a:lnTo>
                    <a:pt x="660" y="297"/>
                  </a:lnTo>
                  <a:lnTo>
                    <a:pt x="656" y="275"/>
                  </a:lnTo>
                  <a:lnTo>
                    <a:pt x="640" y="278"/>
                  </a:lnTo>
                  <a:lnTo>
                    <a:pt x="640" y="278"/>
                  </a:lnTo>
                  <a:lnTo>
                    <a:pt x="634" y="278"/>
                  </a:lnTo>
                  <a:lnTo>
                    <a:pt x="627" y="277"/>
                  </a:lnTo>
                  <a:lnTo>
                    <a:pt x="622" y="276"/>
                  </a:lnTo>
                  <a:lnTo>
                    <a:pt x="616" y="272"/>
                  </a:lnTo>
                  <a:lnTo>
                    <a:pt x="611" y="269"/>
                  </a:lnTo>
                  <a:lnTo>
                    <a:pt x="608" y="266"/>
                  </a:lnTo>
                  <a:lnTo>
                    <a:pt x="604" y="261"/>
                  </a:lnTo>
                  <a:lnTo>
                    <a:pt x="602" y="256"/>
                  </a:lnTo>
                  <a:lnTo>
                    <a:pt x="602" y="256"/>
                  </a:lnTo>
                  <a:lnTo>
                    <a:pt x="600" y="247"/>
                  </a:lnTo>
                  <a:lnTo>
                    <a:pt x="600" y="247"/>
                  </a:lnTo>
                  <a:lnTo>
                    <a:pt x="599" y="241"/>
                  </a:lnTo>
                  <a:lnTo>
                    <a:pt x="599" y="236"/>
                  </a:lnTo>
                  <a:lnTo>
                    <a:pt x="600" y="230"/>
                  </a:lnTo>
                  <a:lnTo>
                    <a:pt x="602" y="225"/>
                  </a:lnTo>
                  <a:lnTo>
                    <a:pt x="606" y="220"/>
                  </a:lnTo>
                  <a:lnTo>
                    <a:pt x="610" y="215"/>
                  </a:lnTo>
                  <a:lnTo>
                    <a:pt x="614" y="212"/>
                  </a:lnTo>
                  <a:lnTo>
                    <a:pt x="620" y="209"/>
                  </a:lnTo>
                  <a:lnTo>
                    <a:pt x="636" y="202"/>
                  </a:lnTo>
                  <a:lnTo>
                    <a:pt x="636" y="202"/>
                  </a:lnTo>
                  <a:lnTo>
                    <a:pt x="626" y="182"/>
                  </a:lnTo>
                  <a:lnTo>
                    <a:pt x="615" y="162"/>
                  </a:lnTo>
                  <a:lnTo>
                    <a:pt x="600" y="170"/>
                  </a:lnTo>
                  <a:lnTo>
                    <a:pt x="600" y="170"/>
                  </a:lnTo>
                  <a:lnTo>
                    <a:pt x="595" y="173"/>
                  </a:lnTo>
                  <a:lnTo>
                    <a:pt x="588" y="174"/>
                  </a:lnTo>
                  <a:lnTo>
                    <a:pt x="583" y="175"/>
                  </a:lnTo>
                  <a:lnTo>
                    <a:pt x="576" y="174"/>
                  </a:lnTo>
                  <a:lnTo>
                    <a:pt x="571" y="173"/>
                  </a:lnTo>
                  <a:lnTo>
                    <a:pt x="566" y="171"/>
                  </a:lnTo>
                  <a:lnTo>
                    <a:pt x="561" y="168"/>
                  </a:lnTo>
                  <a:lnTo>
                    <a:pt x="558" y="163"/>
                  </a:lnTo>
                  <a:lnTo>
                    <a:pt x="552" y="156"/>
                  </a:lnTo>
                  <a:lnTo>
                    <a:pt x="552" y="156"/>
                  </a:lnTo>
                  <a:lnTo>
                    <a:pt x="549" y="151"/>
                  </a:lnTo>
                  <a:lnTo>
                    <a:pt x="547" y="146"/>
                  </a:lnTo>
                  <a:lnTo>
                    <a:pt x="546" y="141"/>
                  </a:lnTo>
                  <a:lnTo>
                    <a:pt x="546" y="134"/>
                  </a:lnTo>
                  <a:lnTo>
                    <a:pt x="547" y="129"/>
                  </a:lnTo>
                  <a:lnTo>
                    <a:pt x="549" y="123"/>
                  </a:lnTo>
                  <a:lnTo>
                    <a:pt x="553" y="118"/>
                  </a:lnTo>
                  <a:lnTo>
                    <a:pt x="557" y="113"/>
                  </a:lnTo>
                  <a:lnTo>
                    <a:pt x="569" y="102"/>
                  </a:lnTo>
                  <a:lnTo>
                    <a:pt x="569" y="102"/>
                  </a:lnTo>
                  <a:lnTo>
                    <a:pt x="553" y="86"/>
                  </a:lnTo>
                  <a:lnTo>
                    <a:pt x="535" y="72"/>
                  </a:lnTo>
                  <a:lnTo>
                    <a:pt x="525" y="85"/>
                  </a:lnTo>
                  <a:lnTo>
                    <a:pt x="525" y="85"/>
                  </a:lnTo>
                  <a:lnTo>
                    <a:pt x="520" y="89"/>
                  </a:lnTo>
                  <a:lnTo>
                    <a:pt x="515" y="92"/>
                  </a:lnTo>
                  <a:lnTo>
                    <a:pt x="509" y="95"/>
                  </a:lnTo>
                  <a:lnTo>
                    <a:pt x="504" y="96"/>
                  </a:lnTo>
                  <a:lnTo>
                    <a:pt x="499" y="97"/>
                  </a:lnTo>
                  <a:lnTo>
                    <a:pt x="493" y="97"/>
                  </a:lnTo>
                  <a:lnTo>
                    <a:pt x="488" y="95"/>
                  </a:lnTo>
                  <a:lnTo>
                    <a:pt x="482" y="93"/>
                  </a:lnTo>
                  <a:lnTo>
                    <a:pt x="482" y="93"/>
                  </a:lnTo>
                  <a:lnTo>
                    <a:pt x="474" y="88"/>
                  </a:lnTo>
                  <a:lnTo>
                    <a:pt x="474" y="88"/>
                  </a:lnTo>
                  <a:lnTo>
                    <a:pt x="469" y="85"/>
                  </a:lnTo>
                  <a:lnTo>
                    <a:pt x="466" y="80"/>
                  </a:lnTo>
                  <a:lnTo>
                    <a:pt x="463" y="76"/>
                  </a:lnTo>
                  <a:lnTo>
                    <a:pt x="461" y="70"/>
                  </a:lnTo>
                  <a:lnTo>
                    <a:pt x="460" y="65"/>
                  </a:lnTo>
                  <a:lnTo>
                    <a:pt x="460" y="59"/>
                  </a:lnTo>
                  <a:lnTo>
                    <a:pt x="461" y="52"/>
                  </a:lnTo>
                  <a:lnTo>
                    <a:pt x="463" y="47"/>
                  </a:lnTo>
                  <a:lnTo>
                    <a:pt x="471" y="32"/>
                  </a:lnTo>
                  <a:lnTo>
                    <a:pt x="471" y="32"/>
                  </a:lnTo>
                  <a:lnTo>
                    <a:pt x="449" y="23"/>
                  </a:lnTo>
                  <a:lnTo>
                    <a:pt x="427" y="15"/>
                  </a:lnTo>
                  <a:lnTo>
                    <a:pt x="423" y="32"/>
                  </a:lnTo>
                  <a:lnTo>
                    <a:pt x="423" y="32"/>
                  </a:lnTo>
                  <a:lnTo>
                    <a:pt x="420" y="37"/>
                  </a:lnTo>
                  <a:lnTo>
                    <a:pt x="417" y="42"/>
                  </a:lnTo>
                  <a:lnTo>
                    <a:pt x="412" y="47"/>
                  </a:lnTo>
                  <a:lnTo>
                    <a:pt x="408" y="50"/>
                  </a:lnTo>
                  <a:lnTo>
                    <a:pt x="403" y="53"/>
                  </a:lnTo>
                  <a:lnTo>
                    <a:pt x="397" y="54"/>
                  </a:lnTo>
                  <a:lnTo>
                    <a:pt x="392" y="55"/>
                  </a:lnTo>
                  <a:lnTo>
                    <a:pt x="386" y="54"/>
                  </a:lnTo>
                  <a:lnTo>
                    <a:pt x="377" y="53"/>
                  </a:lnTo>
                  <a:lnTo>
                    <a:pt x="377" y="53"/>
                  </a:lnTo>
                  <a:lnTo>
                    <a:pt x="371" y="51"/>
                  </a:lnTo>
                  <a:lnTo>
                    <a:pt x="367" y="49"/>
                  </a:lnTo>
                  <a:lnTo>
                    <a:pt x="363" y="46"/>
                  </a:lnTo>
                  <a:lnTo>
                    <a:pt x="358" y="41"/>
                  </a:lnTo>
                  <a:lnTo>
                    <a:pt x="355" y="36"/>
                  </a:lnTo>
                  <a:lnTo>
                    <a:pt x="353" y="31"/>
                  </a:lnTo>
                  <a:lnTo>
                    <a:pt x="352" y="24"/>
                  </a:lnTo>
                  <a:lnTo>
                    <a:pt x="352" y="18"/>
                  </a:lnTo>
                  <a:lnTo>
                    <a:pt x="353" y="1"/>
                  </a:lnTo>
                  <a:lnTo>
                    <a:pt x="353" y="1"/>
                  </a:lnTo>
                  <a:lnTo>
                    <a:pt x="330" y="0"/>
                  </a:lnTo>
                  <a:lnTo>
                    <a:pt x="307" y="1"/>
                  </a:lnTo>
                  <a:lnTo>
                    <a:pt x="309" y="18"/>
                  </a:lnTo>
                  <a:lnTo>
                    <a:pt x="309" y="18"/>
                  </a:lnTo>
                  <a:lnTo>
                    <a:pt x="307" y="24"/>
                  </a:lnTo>
                  <a:lnTo>
                    <a:pt x="306" y="31"/>
                  </a:lnTo>
                  <a:lnTo>
                    <a:pt x="304" y="36"/>
                  </a:lnTo>
                  <a:lnTo>
                    <a:pt x="301" y="41"/>
                  </a:lnTo>
                  <a:lnTo>
                    <a:pt x="298" y="46"/>
                  </a:lnTo>
                  <a:lnTo>
                    <a:pt x="293" y="49"/>
                  </a:lnTo>
                  <a:lnTo>
                    <a:pt x="288" y="51"/>
                  </a:lnTo>
                  <a:lnTo>
                    <a:pt x="283" y="53"/>
                  </a:lnTo>
                  <a:lnTo>
                    <a:pt x="283" y="53"/>
                  </a:lnTo>
                  <a:lnTo>
                    <a:pt x="273" y="54"/>
                  </a:lnTo>
                  <a:lnTo>
                    <a:pt x="273" y="54"/>
                  </a:lnTo>
                  <a:lnTo>
                    <a:pt x="268" y="55"/>
                  </a:lnTo>
                  <a:lnTo>
                    <a:pt x="262" y="54"/>
                  </a:lnTo>
                  <a:lnTo>
                    <a:pt x="257" y="53"/>
                  </a:lnTo>
                  <a:lnTo>
                    <a:pt x="251" y="50"/>
                  </a:lnTo>
                  <a:lnTo>
                    <a:pt x="247" y="47"/>
                  </a:lnTo>
                  <a:lnTo>
                    <a:pt x="243" y="42"/>
                  </a:lnTo>
                  <a:lnTo>
                    <a:pt x="239" y="37"/>
                  </a:lnTo>
                  <a:lnTo>
                    <a:pt x="237" y="31"/>
                  </a:lnTo>
                  <a:lnTo>
                    <a:pt x="232" y="15"/>
                  </a:lnTo>
                  <a:lnTo>
                    <a:pt x="232" y="15"/>
                  </a:lnTo>
                  <a:lnTo>
                    <a:pt x="210" y="23"/>
                  </a:lnTo>
                  <a:lnTo>
                    <a:pt x="190" y="32"/>
                  </a:lnTo>
                  <a:lnTo>
                    <a:pt x="196" y="47"/>
                  </a:lnTo>
                  <a:lnTo>
                    <a:pt x="196" y="47"/>
                  </a:lnTo>
                  <a:lnTo>
                    <a:pt x="198" y="52"/>
                  </a:lnTo>
                  <a:lnTo>
                    <a:pt x="199" y="59"/>
                  </a:lnTo>
                  <a:lnTo>
                    <a:pt x="199" y="65"/>
                  </a:lnTo>
                  <a:lnTo>
                    <a:pt x="198" y="70"/>
                  </a:lnTo>
                  <a:lnTo>
                    <a:pt x="196" y="76"/>
                  </a:lnTo>
                  <a:lnTo>
                    <a:pt x="194" y="80"/>
                  </a:lnTo>
                  <a:lnTo>
                    <a:pt x="190" y="85"/>
                  </a:lnTo>
                  <a:lnTo>
                    <a:pt x="185" y="88"/>
                  </a:lnTo>
                  <a:lnTo>
                    <a:pt x="177" y="93"/>
                  </a:lnTo>
                  <a:lnTo>
                    <a:pt x="177" y="93"/>
                  </a:lnTo>
                  <a:lnTo>
                    <a:pt x="172" y="95"/>
                  </a:lnTo>
                  <a:lnTo>
                    <a:pt x="167" y="97"/>
                  </a:lnTo>
                  <a:lnTo>
                    <a:pt x="162" y="97"/>
                  </a:lnTo>
                  <a:lnTo>
                    <a:pt x="155" y="96"/>
                  </a:lnTo>
                  <a:lnTo>
                    <a:pt x="150" y="95"/>
                  </a:lnTo>
                  <a:lnTo>
                    <a:pt x="144" y="92"/>
                  </a:lnTo>
                  <a:lnTo>
                    <a:pt x="139" y="89"/>
                  </a:lnTo>
                  <a:lnTo>
                    <a:pt x="135" y="85"/>
                  </a:lnTo>
                  <a:lnTo>
                    <a:pt x="125" y="72"/>
                  </a:lnTo>
                  <a:lnTo>
                    <a:pt x="125" y="72"/>
                  </a:lnTo>
                  <a:lnTo>
                    <a:pt x="107" y="86"/>
                  </a:lnTo>
                  <a:lnTo>
                    <a:pt x="90" y="102"/>
                  </a:lnTo>
                  <a:lnTo>
                    <a:pt x="102" y="114"/>
                  </a:lnTo>
                  <a:lnTo>
                    <a:pt x="102" y="114"/>
                  </a:lnTo>
                  <a:lnTo>
                    <a:pt x="107" y="118"/>
                  </a:lnTo>
                  <a:lnTo>
                    <a:pt x="110" y="123"/>
                  </a:lnTo>
                  <a:lnTo>
                    <a:pt x="112" y="129"/>
                  </a:lnTo>
                  <a:lnTo>
                    <a:pt x="113" y="134"/>
                  </a:lnTo>
                  <a:lnTo>
                    <a:pt x="113" y="141"/>
                  </a:lnTo>
                  <a:lnTo>
                    <a:pt x="113" y="146"/>
                  </a:lnTo>
                  <a:lnTo>
                    <a:pt x="111" y="151"/>
                  </a:lnTo>
                  <a:lnTo>
                    <a:pt x="108" y="156"/>
                  </a:lnTo>
                  <a:lnTo>
                    <a:pt x="108" y="156"/>
                  </a:lnTo>
                  <a:lnTo>
                    <a:pt x="102" y="163"/>
                  </a:lnTo>
                  <a:lnTo>
                    <a:pt x="102" y="163"/>
                  </a:lnTo>
                  <a:lnTo>
                    <a:pt x="98" y="168"/>
                  </a:lnTo>
                  <a:lnTo>
                    <a:pt x="94" y="171"/>
                  </a:lnTo>
                  <a:lnTo>
                    <a:pt x="88" y="173"/>
                  </a:lnTo>
                  <a:lnTo>
                    <a:pt x="83" y="174"/>
                  </a:lnTo>
                  <a:lnTo>
                    <a:pt x="77" y="175"/>
                  </a:lnTo>
                  <a:lnTo>
                    <a:pt x="71" y="174"/>
                  </a:lnTo>
                  <a:lnTo>
                    <a:pt x="64" y="173"/>
                  </a:lnTo>
                  <a:lnTo>
                    <a:pt x="59" y="170"/>
                  </a:lnTo>
                  <a:lnTo>
                    <a:pt x="45" y="162"/>
                  </a:lnTo>
                  <a:lnTo>
                    <a:pt x="45" y="162"/>
                  </a:lnTo>
                  <a:lnTo>
                    <a:pt x="34" y="182"/>
                  </a:lnTo>
                  <a:lnTo>
                    <a:pt x="25" y="202"/>
                  </a:lnTo>
                  <a:lnTo>
                    <a:pt x="40" y="209"/>
                  </a:lnTo>
                  <a:lnTo>
                    <a:pt x="40" y="209"/>
                  </a:lnTo>
                  <a:lnTo>
                    <a:pt x="45" y="212"/>
                  </a:lnTo>
                  <a:lnTo>
                    <a:pt x="50" y="215"/>
                  </a:lnTo>
                  <a:lnTo>
                    <a:pt x="55" y="220"/>
                  </a:lnTo>
                  <a:lnTo>
                    <a:pt x="58" y="225"/>
                  </a:lnTo>
                  <a:lnTo>
                    <a:pt x="60" y="230"/>
                  </a:lnTo>
                  <a:lnTo>
                    <a:pt x="61" y="236"/>
                  </a:lnTo>
                  <a:lnTo>
                    <a:pt x="61" y="241"/>
                  </a:lnTo>
                  <a:lnTo>
                    <a:pt x="60" y="247"/>
                  </a:lnTo>
                  <a:lnTo>
                    <a:pt x="57" y="255"/>
                  </a:lnTo>
                  <a:lnTo>
                    <a:pt x="57" y="255"/>
                  </a:lnTo>
                  <a:lnTo>
                    <a:pt x="56" y="261"/>
                  </a:lnTo>
                  <a:lnTo>
                    <a:pt x="53" y="266"/>
                  </a:lnTo>
                  <a:lnTo>
                    <a:pt x="48" y="269"/>
                  </a:lnTo>
                  <a:lnTo>
                    <a:pt x="44" y="272"/>
                  </a:lnTo>
                  <a:lnTo>
                    <a:pt x="39" y="276"/>
                  </a:lnTo>
                  <a:lnTo>
                    <a:pt x="33" y="277"/>
                  </a:lnTo>
                  <a:lnTo>
                    <a:pt x="27" y="278"/>
                  </a:lnTo>
                  <a:lnTo>
                    <a:pt x="20" y="278"/>
                  </a:lnTo>
                  <a:lnTo>
                    <a:pt x="3" y="275"/>
                  </a:lnTo>
                  <a:lnTo>
                    <a:pt x="3" y="275"/>
                  </a:lnTo>
                  <a:lnTo>
                    <a:pt x="1" y="297"/>
                  </a:lnTo>
                  <a:lnTo>
                    <a:pt x="0" y="320"/>
                  </a:lnTo>
                  <a:lnTo>
                    <a:pt x="16" y="320"/>
                  </a:lnTo>
                  <a:lnTo>
                    <a:pt x="16" y="320"/>
                  </a:lnTo>
                  <a:lnTo>
                    <a:pt x="22" y="321"/>
                  </a:lnTo>
                  <a:lnTo>
                    <a:pt x="29" y="323"/>
                  </a:lnTo>
                  <a:lnTo>
                    <a:pt x="34" y="325"/>
                  </a:lnTo>
                  <a:lnTo>
                    <a:pt x="39" y="329"/>
                  </a:lnTo>
                  <a:lnTo>
                    <a:pt x="43" y="333"/>
                  </a:lnTo>
                  <a:lnTo>
                    <a:pt x="45" y="337"/>
                  </a:lnTo>
                  <a:lnTo>
                    <a:pt x="47" y="343"/>
                  </a:lnTo>
                  <a:lnTo>
                    <a:pt x="48" y="348"/>
                  </a:lnTo>
                  <a:lnTo>
                    <a:pt x="48" y="348"/>
                  </a:lnTo>
                  <a:lnTo>
                    <a:pt x="49" y="358"/>
                  </a:lnTo>
                  <a:lnTo>
                    <a:pt x="49" y="358"/>
                  </a:lnTo>
                  <a:lnTo>
                    <a:pt x="49" y="363"/>
                  </a:lnTo>
                  <a:lnTo>
                    <a:pt x="48" y="369"/>
                  </a:lnTo>
                  <a:lnTo>
                    <a:pt x="46" y="374"/>
                  </a:lnTo>
                  <a:lnTo>
                    <a:pt x="43" y="378"/>
                  </a:lnTo>
                  <a:lnTo>
                    <a:pt x="39" y="383"/>
                  </a:lnTo>
                  <a:lnTo>
                    <a:pt x="34" y="387"/>
                  </a:lnTo>
                  <a:lnTo>
                    <a:pt x="29" y="389"/>
                  </a:lnTo>
                  <a:lnTo>
                    <a:pt x="22" y="391"/>
                  </a:lnTo>
                  <a:lnTo>
                    <a:pt x="6" y="394"/>
                  </a:lnTo>
                  <a:lnTo>
                    <a:pt x="6" y="394"/>
                  </a:lnTo>
                  <a:lnTo>
                    <a:pt x="12" y="417"/>
                  </a:lnTo>
                  <a:lnTo>
                    <a:pt x="19" y="438"/>
                  </a:lnTo>
                  <a:lnTo>
                    <a:pt x="34" y="432"/>
                  </a:lnTo>
                  <a:lnTo>
                    <a:pt x="34" y="432"/>
                  </a:lnTo>
                  <a:lnTo>
                    <a:pt x="41" y="431"/>
                  </a:lnTo>
                  <a:lnTo>
                    <a:pt x="47" y="430"/>
                  </a:lnTo>
                  <a:lnTo>
                    <a:pt x="53" y="431"/>
                  </a:lnTo>
                  <a:lnTo>
                    <a:pt x="59" y="432"/>
                  </a:lnTo>
                  <a:lnTo>
                    <a:pt x="64" y="436"/>
                  </a:lnTo>
                  <a:lnTo>
                    <a:pt x="69" y="439"/>
                  </a:lnTo>
                  <a:lnTo>
                    <a:pt x="72" y="442"/>
                  </a:lnTo>
                  <a:lnTo>
                    <a:pt x="75" y="447"/>
                  </a:lnTo>
                  <a:lnTo>
                    <a:pt x="80" y="456"/>
                  </a:lnTo>
                  <a:lnTo>
                    <a:pt x="80" y="456"/>
                  </a:lnTo>
                  <a:lnTo>
                    <a:pt x="82" y="460"/>
                  </a:lnTo>
                  <a:lnTo>
                    <a:pt x="83" y="466"/>
                  </a:lnTo>
                  <a:lnTo>
                    <a:pt x="83" y="472"/>
                  </a:lnTo>
                  <a:lnTo>
                    <a:pt x="82" y="478"/>
                  </a:lnTo>
                  <a:lnTo>
                    <a:pt x="80" y="483"/>
                  </a:lnTo>
                  <a:lnTo>
                    <a:pt x="76" y="487"/>
                  </a:lnTo>
                  <a:lnTo>
                    <a:pt x="72" y="493"/>
                  </a:lnTo>
                  <a:lnTo>
                    <a:pt x="67" y="496"/>
                  </a:lnTo>
                  <a:lnTo>
                    <a:pt x="53" y="506"/>
                  </a:lnTo>
                  <a:lnTo>
                    <a:pt x="53" y="506"/>
                  </a:lnTo>
                  <a:lnTo>
                    <a:pt x="66" y="524"/>
                  </a:lnTo>
                  <a:lnTo>
                    <a:pt x="81" y="541"/>
                  </a:lnTo>
                  <a:lnTo>
                    <a:pt x="93" y="531"/>
                  </a:lnTo>
                  <a:lnTo>
                    <a:pt x="93" y="531"/>
                  </a:lnTo>
                  <a:lnTo>
                    <a:pt x="98" y="527"/>
                  </a:lnTo>
                  <a:lnTo>
                    <a:pt x="104" y="524"/>
                  </a:lnTo>
                  <a:lnTo>
                    <a:pt x="110" y="523"/>
                  </a:lnTo>
                  <a:lnTo>
                    <a:pt x="115" y="522"/>
                  </a:lnTo>
                  <a:lnTo>
                    <a:pt x="122" y="523"/>
                  </a:lnTo>
                  <a:lnTo>
                    <a:pt x="127" y="524"/>
                  </a:lnTo>
                  <a:lnTo>
                    <a:pt x="131" y="526"/>
                  </a:lnTo>
                  <a:lnTo>
                    <a:pt x="136" y="529"/>
                  </a:lnTo>
                  <a:lnTo>
                    <a:pt x="136" y="529"/>
                  </a:lnTo>
                  <a:lnTo>
                    <a:pt x="143" y="536"/>
                  </a:lnTo>
                  <a:lnTo>
                    <a:pt x="143" y="536"/>
                  </a:lnTo>
                  <a:lnTo>
                    <a:pt x="148" y="540"/>
                  </a:lnTo>
                  <a:lnTo>
                    <a:pt x="150" y="545"/>
                  </a:lnTo>
                  <a:lnTo>
                    <a:pt x="152" y="550"/>
                  </a:lnTo>
                  <a:lnTo>
                    <a:pt x="153" y="555"/>
                  </a:lnTo>
                  <a:lnTo>
                    <a:pt x="153" y="562"/>
                  </a:lnTo>
                  <a:lnTo>
                    <a:pt x="152" y="567"/>
                  </a:lnTo>
                  <a:lnTo>
                    <a:pt x="150" y="574"/>
                  </a:lnTo>
                  <a:lnTo>
                    <a:pt x="147" y="579"/>
                  </a:lnTo>
                  <a:lnTo>
                    <a:pt x="137" y="592"/>
                  </a:lnTo>
                  <a:lnTo>
                    <a:pt x="137" y="592"/>
                  </a:lnTo>
                  <a:lnTo>
                    <a:pt x="155" y="605"/>
                  </a:lnTo>
                  <a:lnTo>
                    <a:pt x="176" y="616"/>
                  </a:lnTo>
                  <a:lnTo>
                    <a:pt x="183" y="602"/>
                  </a:lnTo>
                  <a:lnTo>
                    <a:pt x="183" y="602"/>
                  </a:lnTo>
                  <a:lnTo>
                    <a:pt x="187" y="596"/>
                  </a:lnTo>
                  <a:lnTo>
                    <a:pt x="191" y="592"/>
                  </a:lnTo>
                  <a:lnTo>
                    <a:pt x="196" y="588"/>
                  </a:lnTo>
                  <a:lnTo>
                    <a:pt x="202" y="586"/>
                  </a:lnTo>
                  <a:lnTo>
                    <a:pt x="207" y="583"/>
                  </a:lnTo>
                  <a:lnTo>
                    <a:pt x="212" y="583"/>
                  </a:lnTo>
                  <a:lnTo>
                    <a:pt x="218" y="583"/>
                  </a:lnTo>
                  <a:lnTo>
                    <a:pt x="223" y="585"/>
                  </a:lnTo>
                  <a:lnTo>
                    <a:pt x="223" y="585"/>
                  </a:lnTo>
                  <a:lnTo>
                    <a:pt x="233" y="589"/>
                  </a:lnTo>
                  <a:lnTo>
                    <a:pt x="233" y="589"/>
                  </a:lnTo>
                  <a:lnTo>
                    <a:pt x="237" y="591"/>
                  </a:lnTo>
                  <a:lnTo>
                    <a:pt x="242" y="594"/>
                  </a:lnTo>
                  <a:lnTo>
                    <a:pt x="246" y="599"/>
                  </a:lnTo>
                  <a:lnTo>
                    <a:pt x="248" y="604"/>
                  </a:lnTo>
                  <a:lnTo>
                    <a:pt x="250" y="609"/>
                  </a:lnTo>
                  <a:lnTo>
                    <a:pt x="251" y="615"/>
                  </a:lnTo>
                  <a:lnTo>
                    <a:pt x="252" y="621"/>
                  </a:lnTo>
                  <a:lnTo>
                    <a:pt x="251" y="628"/>
                  </a:lnTo>
                  <a:lnTo>
                    <a:pt x="247" y="643"/>
                  </a:lnTo>
                  <a:lnTo>
                    <a:pt x="247" y="643"/>
                  </a:lnTo>
                  <a:lnTo>
                    <a:pt x="262" y="647"/>
                  </a:lnTo>
                  <a:lnTo>
                    <a:pt x="262" y="647"/>
                  </a:lnTo>
                  <a:lnTo>
                    <a:pt x="276" y="649"/>
                  </a:lnTo>
                  <a:lnTo>
                    <a:pt x="291" y="652"/>
                  </a:lnTo>
                  <a:lnTo>
                    <a:pt x="293" y="635"/>
                  </a:lnTo>
                  <a:lnTo>
                    <a:pt x="293" y="635"/>
                  </a:lnTo>
                  <a:lnTo>
                    <a:pt x="296" y="629"/>
                  </a:lnTo>
                  <a:lnTo>
                    <a:pt x="298" y="623"/>
                  </a:lnTo>
                  <a:lnTo>
                    <a:pt x="301" y="618"/>
                  </a:lnTo>
                  <a:lnTo>
                    <a:pt x="304" y="614"/>
                  </a:lnTo>
                  <a:lnTo>
                    <a:pt x="310" y="610"/>
                  </a:lnTo>
                  <a:lnTo>
                    <a:pt x="314" y="608"/>
                  </a:lnTo>
                  <a:lnTo>
                    <a:pt x="319" y="606"/>
                  </a:lnTo>
                  <a:lnTo>
                    <a:pt x="325" y="606"/>
                  </a:lnTo>
                  <a:lnTo>
                    <a:pt x="325" y="606"/>
                  </a:lnTo>
                  <a:lnTo>
                    <a:pt x="334" y="606"/>
                  </a:lnTo>
                  <a:lnTo>
                    <a:pt x="334" y="606"/>
                  </a:lnTo>
                  <a:lnTo>
                    <a:pt x="340" y="606"/>
                  </a:lnTo>
                  <a:lnTo>
                    <a:pt x="345" y="608"/>
                  </a:lnTo>
                  <a:lnTo>
                    <a:pt x="351" y="610"/>
                  </a:lnTo>
                  <a:lnTo>
                    <a:pt x="355" y="614"/>
                  </a:lnTo>
                  <a:lnTo>
                    <a:pt x="359" y="618"/>
                  </a:lnTo>
                  <a:lnTo>
                    <a:pt x="363" y="623"/>
                  </a:lnTo>
                  <a:lnTo>
                    <a:pt x="365" y="629"/>
                  </a:lnTo>
                  <a:lnTo>
                    <a:pt x="366" y="635"/>
                  </a:lnTo>
                  <a:lnTo>
                    <a:pt x="368" y="652"/>
                  </a:lnTo>
                  <a:lnTo>
                    <a:pt x="368" y="652"/>
                  </a:lnTo>
                  <a:lnTo>
                    <a:pt x="391" y="648"/>
                  </a:lnTo>
                  <a:lnTo>
                    <a:pt x="413" y="644"/>
                  </a:lnTo>
                  <a:lnTo>
                    <a:pt x="409" y="628"/>
                  </a:lnTo>
                  <a:lnTo>
                    <a:pt x="409" y="628"/>
                  </a:lnTo>
                  <a:lnTo>
                    <a:pt x="408" y="621"/>
                  </a:lnTo>
                  <a:lnTo>
                    <a:pt x="408" y="615"/>
                  </a:lnTo>
                  <a:lnTo>
                    <a:pt x="409" y="609"/>
                  </a:lnTo>
                  <a:lnTo>
                    <a:pt x="411" y="604"/>
                  </a:lnTo>
                  <a:lnTo>
                    <a:pt x="414" y="599"/>
                  </a:lnTo>
                  <a:lnTo>
                    <a:pt x="418" y="594"/>
                  </a:lnTo>
                  <a:lnTo>
                    <a:pt x="422" y="591"/>
                  </a:lnTo>
                  <a:lnTo>
                    <a:pt x="427" y="589"/>
                  </a:lnTo>
                  <a:lnTo>
                    <a:pt x="436" y="586"/>
                  </a:lnTo>
                  <a:lnTo>
                    <a:pt x="436" y="586"/>
                  </a:lnTo>
                  <a:lnTo>
                    <a:pt x="441" y="583"/>
                  </a:lnTo>
                  <a:lnTo>
                    <a:pt x="447" y="583"/>
                  </a:lnTo>
                  <a:lnTo>
                    <a:pt x="452" y="583"/>
                  </a:lnTo>
                  <a:lnTo>
                    <a:pt x="459" y="586"/>
                  </a:lnTo>
                  <a:lnTo>
                    <a:pt x="463" y="588"/>
                  </a:lnTo>
                  <a:lnTo>
                    <a:pt x="468" y="592"/>
                  </a:lnTo>
                  <a:lnTo>
                    <a:pt x="473" y="596"/>
                  </a:lnTo>
                  <a:lnTo>
                    <a:pt x="476" y="602"/>
                  </a:lnTo>
                  <a:lnTo>
                    <a:pt x="485" y="616"/>
                  </a:lnTo>
                  <a:lnTo>
                    <a:pt x="485" y="616"/>
                  </a:lnTo>
                  <a:lnTo>
                    <a:pt x="504" y="605"/>
                  </a:lnTo>
                  <a:lnTo>
                    <a:pt x="523" y="592"/>
                  </a:lnTo>
                  <a:lnTo>
                    <a:pt x="514" y="579"/>
                  </a:lnTo>
                  <a:lnTo>
                    <a:pt x="514" y="579"/>
                  </a:lnTo>
                  <a:lnTo>
                    <a:pt x="511" y="574"/>
                  </a:lnTo>
                  <a:lnTo>
                    <a:pt x="508" y="567"/>
                  </a:lnTo>
                  <a:lnTo>
                    <a:pt x="507" y="562"/>
                  </a:lnTo>
                  <a:lnTo>
                    <a:pt x="506" y="555"/>
                  </a:lnTo>
                  <a:lnTo>
                    <a:pt x="507" y="550"/>
                  </a:lnTo>
                  <a:lnTo>
                    <a:pt x="509" y="545"/>
                  </a:lnTo>
                  <a:lnTo>
                    <a:pt x="513" y="540"/>
                  </a:lnTo>
                  <a:lnTo>
                    <a:pt x="516" y="536"/>
                  </a:lnTo>
                  <a:lnTo>
                    <a:pt x="523" y="529"/>
                  </a:lnTo>
                  <a:lnTo>
                    <a:pt x="523" y="529"/>
                  </a:lnTo>
                  <a:lnTo>
                    <a:pt x="528" y="526"/>
                  </a:lnTo>
                  <a:lnTo>
                    <a:pt x="533" y="524"/>
                  </a:lnTo>
                  <a:lnTo>
                    <a:pt x="539" y="523"/>
                  </a:lnTo>
                  <a:lnTo>
                    <a:pt x="544" y="522"/>
                  </a:lnTo>
                  <a:lnTo>
                    <a:pt x="550" y="523"/>
                  </a:lnTo>
                  <a:lnTo>
                    <a:pt x="556" y="524"/>
                  </a:lnTo>
                  <a:lnTo>
                    <a:pt x="561" y="527"/>
                  </a:lnTo>
                  <a:lnTo>
                    <a:pt x="567" y="531"/>
                  </a:lnTo>
                  <a:lnTo>
                    <a:pt x="580" y="541"/>
                  </a:lnTo>
                  <a:lnTo>
                    <a:pt x="580" y="541"/>
                  </a:lnTo>
                  <a:lnTo>
                    <a:pt x="594" y="524"/>
                  </a:lnTo>
                  <a:lnTo>
                    <a:pt x="607" y="506"/>
                  </a:lnTo>
                  <a:lnTo>
                    <a:pt x="593" y="496"/>
                  </a:lnTo>
                  <a:lnTo>
                    <a:pt x="593" y="496"/>
                  </a:lnTo>
                  <a:lnTo>
                    <a:pt x="588" y="493"/>
                  </a:lnTo>
                  <a:lnTo>
                    <a:pt x="584" y="487"/>
                  </a:lnTo>
                  <a:lnTo>
                    <a:pt x="581" y="483"/>
                  </a:lnTo>
                  <a:lnTo>
                    <a:pt x="579" y="478"/>
                  </a:lnTo>
                  <a:lnTo>
                    <a:pt x="577" y="472"/>
                  </a:lnTo>
                  <a:lnTo>
                    <a:pt x="577" y="466"/>
                  </a:lnTo>
                  <a:lnTo>
                    <a:pt x="579" y="460"/>
                  </a:lnTo>
                  <a:lnTo>
                    <a:pt x="580" y="456"/>
                  </a:lnTo>
                  <a:lnTo>
                    <a:pt x="580" y="456"/>
                  </a:lnTo>
                  <a:lnTo>
                    <a:pt x="584" y="447"/>
                  </a:lnTo>
                  <a:lnTo>
                    <a:pt x="584" y="447"/>
                  </a:lnTo>
                  <a:lnTo>
                    <a:pt x="587" y="442"/>
                  </a:lnTo>
                  <a:lnTo>
                    <a:pt x="592" y="439"/>
                  </a:lnTo>
                  <a:lnTo>
                    <a:pt x="596" y="436"/>
                  </a:lnTo>
                  <a:lnTo>
                    <a:pt x="601" y="432"/>
                  </a:lnTo>
                  <a:lnTo>
                    <a:pt x="607" y="431"/>
                  </a:lnTo>
                  <a:lnTo>
                    <a:pt x="613" y="430"/>
                  </a:lnTo>
                  <a:lnTo>
                    <a:pt x="619" y="431"/>
                  </a:lnTo>
                  <a:lnTo>
                    <a:pt x="625" y="432"/>
                  </a:lnTo>
                  <a:lnTo>
                    <a:pt x="641" y="439"/>
                  </a:lnTo>
                  <a:lnTo>
                    <a:pt x="641" y="439"/>
                  </a:lnTo>
                  <a:lnTo>
                    <a:pt x="648" y="417"/>
                  </a:lnTo>
                  <a:lnTo>
                    <a:pt x="653" y="394"/>
                  </a:lnTo>
                  <a:lnTo>
                    <a:pt x="637" y="391"/>
                  </a:lnTo>
                  <a:lnTo>
                    <a:pt x="637" y="391"/>
                  </a:lnTo>
                  <a:lnTo>
                    <a:pt x="630" y="389"/>
                  </a:lnTo>
                  <a:lnTo>
                    <a:pt x="625" y="387"/>
                  </a:lnTo>
                  <a:lnTo>
                    <a:pt x="621" y="383"/>
                  </a:lnTo>
                  <a:lnTo>
                    <a:pt x="616" y="378"/>
                  </a:lnTo>
                  <a:lnTo>
                    <a:pt x="613" y="374"/>
                  </a:lnTo>
                  <a:lnTo>
                    <a:pt x="611" y="369"/>
                  </a:lnTo>
                  <a:lnTo>
                    <a:pt x="610" y="363"/>
                  </a:lnTo>
                  <a:lnTo>
                    <a:pt x="610" y="358"/>
                  </a:lnTo>
                  <a:lnTo>
                    <a:pt x="610" y="358"/>
                  </a:lnTo>
                  <a:close/>
                  <a:moveTo>
                    <a:pt x="531" y="371"/>
                  </a:moveTo>
                  <a:lnTo>
                    <a:pt x="531" y="371"/>
                  </a:lnTo>
                  <a:lnTo>
                    <a:pt x="527" y="388"/>
                  </a:lnTo>
                  <a:lnTo>
                    <a:pt x="520" y="404"/>
                  </a:lnTo>
                  <a:lnTo>
                    <a:pt x="513" y="420"/>
                  </a:lnTo>
                  <a:lnTo>
                    <a:pt x="504" y="436"/>
                  </a:lnTo>
                  <a:lnTo>
                    <a:pt x="494" y="450"/>
                  </a:lnTo>
                  <a:lnTo>
                    <a:pt x="484" y="464"/>
                  </a:lnTo>
                  <a:lnTo>
                    <a:pt x="472" y="477"/>
                  </a:lnTo>
                  <a:lnTo>
                    <a:pt x="458" y="487"/>
                  </a:lnTo>
                  <a:lnTo>
                    <a:pt x="458" y="487"/>
                  </a:lnTo>
                  <a:lnTo>
                    <a:pt x="444" y="498"/>
                  </a:lnTo>
                  <a:lnTo>
                    <a:pt x="430" y="507"/>
                  </a:lnTo>
                  <a:lnTo>
                    <a:pt x="413" y="514"/>
                  </a:lnTo>
                  <a:lnTo>
                    <a:pt x="397" y="521"/>
                  </a:lnTo>
                  <a:lnTo>
                    <a:pt x="381" y="526"/>
                  </a:lnTo>
                  <a:lnTo>
                    <a:pt x="365" y="529"/>
                  </a:lnTo>
                  <a:lnTo>
                    <a:pt x="347" y="532"/>
                  </a:lnTo>
                  <a:lnTo>
                    <a:pt x="330" y="533"/>
                  </a:lnTo>
                  <a:lnTo>
                    <a:pt x="330" y="533"/>
                  </a:lnTo>
                  <a:lnTo>
                    <a:pt x="330" y="533"/>
                  </a:lnTo>
                  <a:lnTo>
                    <a:pt x="309" y="532"/>
                  </a:lnTo>
                  <a:lnTo>
                    <a:pt x="288" y="528"/>
                  </a:lnTo>
                  <a:lnTo>
                    <a:pt x="288" y="528"/>
                  </a:lnTo>
                  <a:lnTo>
                    <a:pt x="268" y="523"/>
                  </a:lnTo>
                  <a:lnTo>
                    <a:pt x="249" y="515"/>
                  </a:lnTo>
                  <a:lnTo>
                    <a:pt x="231" y="507"/>
                  </a:lnTo>
                  <a:lnTo>
                    <a:pt x="214" y="497"/>
                  </a:lnTo>
                  <a:lnTo>
                    <a:pt x="197" y="484"/>
                  </a:lnTo>
                  <a:lnTo>
                    <a:pt x="183" y="471"/>
                  </a:lnTo>
                  <a:lnTo>
                    <a:pt x="169" y="456"/>
                  </a:lnTo>
                  <a:lnTo>
                    <a:pt x="157" y="439"/>
                  </a:lnTo>
                  <a:lnTo>
                    <a:pt x="157" y="439"/>
                  </a:lnTo>
                  <a:lnTo>
                    <a:pt x="148" y="421"/>
                  </a:lnTo>
                  <a:lnTo>
                    <a:pt x="139" y="403"/>
                  </a:lnTo>
                  <a:lnTo>
                    <a:pt x="133" y="385"/>
                  </a:lnTo>
                  <a:lnTo>
                    <a:pt x="128" y="365"/>
                  </a:lnTo>
                  <a:lnTo>
                    <a:pt x="125" y="346"/>
                  </a:lnTo>
                  <a:lnTo>
                    <a:pt x="125" y="325"/>
                  </a:lnTo>
                  <a:lnTo>
                    <a:pt x="126" y="306"/>
                  </a:lnTo>
                  <a:lnTo>
                    <a:pt x="129" y="285"/>
                  </a:lnTo>
                  <a:lnTo>
                    <a:pt x="129" y="285"/>
                  </a:lnTo>
                  <a:lnTo>
                    <a:pt x="134" y="268"/>
                  </a:lnTo>
                  <a:lnTo>
                    <a:pt x="139" y="252"/>
                  </a:lnTo>
                  <a:lnTo>
                    <a:pt x="147" y="236"/>
                  </a:lnTo>
                  <a:lnTo>
                    <a:pt x="155" y="221"/>
                  </a:lnTo>
                  <a:lnTo>
                    <a:pt x="165" y="205"/>
                  </a:lnTo>
                  <a:lnTo>
                    <a:pt x="177" y="193"/>
                  </a:lnTo>
                  <a:lnTo>
                    <a:pt x="189" y="180"/>
                  </a:lnTo>
                  <a:lnTo>
                    <a:pt x="202" y="168"/>
                  </a:lnTo>
                  <a:lnTo>
                    <a:pt x="202" y="168"/>
                  </a:lnTo>
                  <a:lnTo>
                    <a:pt x="216" y="158"/>
                  </a:lnTo>
                  <a:lnTo>
                    <a:pt x="231" y="149"/>
                  </a:lnTo>
                  <a:lnTo>
                    <a:pt x="246" y="142"/>
                  </a:lnTo>
                  <a:lnTo>
                    <a:pt x="262" y="135"/>
                  </a:lnTo>
                  <a:lnTo>
                    <a:pt x="278" y="130"/>
                  </a:lnTo>
                  <a:lnTo>
                    <a:pt x="296" y="127"/>
                  </a:lnTo>
                  <a:lnTo>
                    <a:pt x="313" y="124"/>
                  </a:lnTo>
                  <a:lnTo>
                    <a:pt x="330" y="123"/>
                  </a:lnTo>
                  <a:lnTo>
                    <a:pt x="330" y="123"/>
                  </a:lnTo>
                  <a:lnTo>
                    <a:pt x="351" y="124"/>
                  </a:lnTo>
                  <a:lnTo>
                    <a:pt x="372" y="128"/>
                  </a:lnTo>
                  <a:lnTo>
                    <a:pt x="372" y="128"/>
                  </a:lnTo>
                  <a:lnTo>
                    <a:pt x="392" y="133"/>
                  </a:lnTo>
                  <a:lnTo>
                    <a:pt x="411" y="140"/>
                  </a:lnTo>
                  <a:lnTo>
                    <a:pt x="428" y="149"/>
                  </a:lnTo>
                  <a:lnTo>
                    <a:pt x="446" y="159"/>
                  </a:lnTo>
                  <a:lnTo>
                    <a:pt x="462" y="172"/>
                  </a:lnTo>
                  <a:lnTo>
                    <a:pt x="477" y="185"/>
                  </a:lnTo>
                  <a:lnTo>
                    <a:pt x="490" y="200"/>
                  </a:lnTo>
                  <a:lnTo>
                    <a:pt x="502" y="217"/>
                  </a:lnTo>
                  <a:lnTo>
                    <a:pt x="502" y="217"/>
                  </a:lnTo>
                  <a:lnTo>
                    <a:pt x="513" y="235"/>
                  </a:lnTo>
                  <a:lnTo>
                    <a:pt x="521" y="253"/>
                  </a:lnTo>
                  <a:lnTo>
                    <a:pt x="528" y="271"/>
                  </a:lnTo>
                  <a:lnTo>
                    <a:pt x="532" y="291"/>
                  </a:lnTo>
                  <a:lnTo>
                    <a:pt x="534" y="310"/>
                  </a:lnTo>
                  <a:lnTo>
                    <a:pt x="535" y="331"/>
                  </a:lnTo>
                  <a:lnTo>
                    <a:pt x="534" y="350"/>
                  </a:lnTo>
                  <a:lnTo>
                    <a:pt x="531" y="371"/>
                  </a:lnTo>
                  <a:lnTo>
                    <a:pt x="531" y="371"/>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15" name="Freeform 614"/>
            <p:cNvSpPr>
              <a:spLocks noEditPoints="1"/>
            </p:cNvSpPr>
            <p:nvPr/>
          </p:nvSpPr>
          <p:spPr bwMode="auto">
            <a:xfrm>
              <a:off x="4837766" y="147555"/>
              <a:ext cx="242556" cy="187282"/>
            </a:xfrm>
            <a:custGeom>
              <a:avLst/>
              <a:gdLst>
                <a:gd name="T0" fmla="*/ 526 w 565"/>
                <a:gd name="T1" fmla="*/ 77 h 444"/>
                <a:gd name="T2" fmla="*/ 485 w 565"/>
                <a:gd name="T3" fmla="*/ 37 h 444"/>
                <a:gd name="T4" fmla="*/ 435 w 565"/>
                <a:gd name="T5" fmla="*/ 11 h 444"/>
                <a:gd name="T6" fmla="*/ 380 w 565"/>
                <a:gd name="T7" fmla="*/ 0 h 444"/>
                <a:gd name="T8" fmla="*/ 323 w 565"/>
                <a:gd name="T9" fmla="*/ 5 h 444"/>
                <a:gd name="T10" fmla="*/ 269 w 565"/>
                <a:gd name="T11" fmla="*/ 28 h 444"/>
                <a:gd name="T12" fmla="*/ 242 w 565"/>
                <a:gd name="T13" fmla="*/ 47 h 444"/>
                <a:gd name="T14" fmla="*/ 210 w 565"/>
                <a:gd name="T15" fmla="*/ 83 h 444"/>
                <a:gd name="T16" fmla="*/ 188 w 565"/>
                <a:gd name="T17" fmla="*/ 124 h 444"/>
                <a:gd name="T18" fmla="*/ 176 w 565"/>
                <a:gd name="T19" fmla="*/ 170 h 444"/>
                <a:gd name="T20" fmla="*/ 176 w 565"/>
                <a:gd name="T21" fmla="*/ 217 h 444"/>
                <a:gd name="T22" fmla="*/ 25 w 565"/>
                <a:gd name="T23" fmla="*/ 348 h 444"/>
                <a:gd name="T24" fmla="*/ 10 w 565"/>
                <a:gd name="T25" fmla="*/ 362 h 444"/>
                <a:gd name="T26" fmla="*/ 0 w 565"/>
                <a:gd name="T27" fmla="*/ 390 h 444"/>
                <a:gd name="T28" fmla="*/ 8 w 565"/>
                <a:gd name="T29" fmla="*/ 419 h 444"/>
                <a:gd name="T30" fmla="*/ 21 w 565"/>
                <a:gd name="T31" fmla="*/ 434 h 444"/>
                <a:gd name="T32" fmla="*/ 49 w 565"/>
                <a:gd name="T33" fmla="*/ 444 h 444"/>
                <a:gd name="T34" fmla="*/ 78 w 565"/>
                <a:gd name="T35" fmla="*/ 436 h 444"/>
                <a:gd name="T36" fmla="*/ 247 w 565"/>
                <a:gd name="T37" fmla="*/ 347 h 444"/>
                <a:gd name="T38" fmla="*/ 287 w 565"/>
                <a:gd name="T39" fmla="*/ 371 h 444"/>
                <a:gd name="T40" fmla="*/ 333 w 565"/>
                <a:gd name="T41" fmla="*/ 386 h 444"/>
                <a:gd name="T42" fmla="*/ 379 w 565"/>
                <a:gd name="T43" fmla="*/ 390 h 444"/>
                <a:gd name="T44" fmla="*/ 427 w 565"/>
                <a:gd name="T45" fmla="*/ 381 h 444"/>
                <a:gd name="T46" fmla="*/ 471 w 565"/>
                <a:gd name="T47" fmla="*/ 362 h 444"/>
                <a:gd name="T48" fmla="*/ 503 w 565"/>
                <a:gd name="T49" fmla="*/ 338 h 444"/>
                <a:gd name="T50" fmla="*/ 539 w 565"/>
                <a:gd name="T51" fmla="*/ 294 h 444"/>
                <a:gd name="T52" fmla="*/ 559 w 565"/>
                <a:gd name="T53" fmla="*/ 241 h 444"/>
                <a:gd name="T54" fmla="*/ 565 w 565"/>
                <a:gd name="T55" fmla="*/ 186 h 444"/>
                <a:gd name="T56" fmla="*/ 554 w 565"/>
                <a:gd name="T57" fmla="*/ 130 h 444"/>
                <a:gd name="T58" fmla="*/ 537 w 565"/>
                <a:gd name="T59" fmla="*/ 94 h 444"/>
                <a:gd name="T60" fmla="*/ 429 w 565"/>
                <a:gd name="T61" fmla="*/ 320 h 444"/>
                <a:gd name="T62" fmla="*/ 390 w 565"/>
                <a:gd name="T63" fmla="*/ 332 h 444"/>
                <a:gd name="T64" fmla="*/ 350 w 565"/>
                <a:gd name="T65" fmla="*/ 330 h 444"/>
                <a:gd name="T66" fmla="*/ 312 w 565"/>
                <a:gd name="T67" fmla="*/ 320 h 444"/>
                <a:gd name="T68" fmla="*/ 279 w 565"/>
                <a:gd name="T69" fmla="*/ 298 h 444"/>
                <a:gd name="T70" fmla="*/ 252 w 565"/>
                <a:gd name="T71" fmla="*/ 266 h 444"/>
                <a:gd name="T72" fmla="*/ 240 w 565"/>
                <a:gd name="T73" fmla="*/ 241 h 444"/>
                <a:gd name="T74" fmla="*/ 232 w 565"/>
                <a:gd name="T75" fmla="*/ 201 h 444"/>
                <a:gd name="T76" fmla="*/ 237 w 565"/>
                <a:gd name="T77" fmla="*/ 162 h 444"/>
                <a:gd name="T78" fmla="*/ 251 w 565"/>
                <a:gd name="T79" fmla="*/ 125 h 444"/>
                <a:gd name="T80" fmla="*/ 276 w 565"/>
                <a:gd name="T81" fmla="*/ 94 h 444"/>
                <a:gd name="T82" fmla="*/ 299 w 565"/>
                <a:gd name="T83" fmla="*/ 77 h 444"/>
                <a:gd name="T84" fmla="*/ 337 w 565"/>
                <a:gd name="T85" fmla="*/ 60 h 444"/>
                <a:gd name="T86" fmla="*/ 377 w 565"/>
                <a:gd name="T87" fmla="*/ 57 h 444"/>
                <a:gd name="T88" fmla="*/ 416 w 565"/>
                <a:gd name="T89" fmla="*/ 65 h 444"/>
                <a:gd name="T90" fmla="*/ 451 w 565"/>
                <a:gd name="T91" fmla="*/ 83 h 444"/>
                <a:gd name="T92" fmla="*/ 481 w 565"/>
                <a:gd name="T93" fmla="*/ 111 h 444"/>
                <a:gd name="T94" fmla="*/ 495 w 565"/>
                <a:gd name="T95" fmla="*/ 136 h 444"/>
                <a:gd name="T96" fmla="*/ 507 w 565"/>
                <a:gd name="T97" fmla="*/ 175 h 444"/>
                <a:gd name="T98" fmla="*/ 507 w 565"/>
                <a:gd name="T99" fmla="*/ 215 h 444"/>
                <a:gd name="T100" fmla="*/ 496 w 565"/>
                <a:gd name="T101" fmla="*/ 253 h 444"/>
                <a:gd name="T102" fmla="*/ 473 w 565"/>
                <a:gd name="T103" fmla="*/ 286 h 444"/>
                <a:gd name="T104" fmla="*/ 442 w 565"/>
                <a:gd name="T105" fmla="*/ 3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65" h="444">
                  <a:moveTo>
                    <a:pt x="537" y="94"/>
                  </a:moveTo>
                  <a:lnTo>
                    <a:pt x="537" y="94"/>
                  </a:lnTo>
                  <a:lnTo>
                    <a:pt x="526" y="77"/>
                  </a:lnTo>
                  <a:lnTo>
                    <a:pt x="513" y="63"/>
                  </a:lnTo>
                  <a:lnTo>
                    <a:pt x="500" y="49"/>
                  </a:lnTo>
                  <a:lnTo>
                    <a:pt x="485" y="37"/>
                  </a:lnTo>
                  <a:lnTo>
                    <a:pt x="469" y="26"/>
                  </a:lnTo>
                  <a:lnTo>
                    <a:pt x="453" y="17"/>
                  </a:lnTo>
                  <a:lnTo>
                    <a:pt x="435" y="11"/>
                  </a:lnTo>
                  <a:lnTo>
                    <a:pt x="417" y="5"/>
                  </a:lnTo>
                  <a:lnTo>
                    <a:pt x="399" y="2"/>
                  </a:lnTo>
                  <a:lnTo>
                    <a:pt x="380" y="0"/>
                  </a:lnTo>
                  <a:lnTo>
                    <a:pt x="361" y="0"/>
                  </a:lnTo>
                  <a:lnTo>
                    <a:pt x="342" y="1"/>
                  </a:lnTo>
                  <a:lnTo>
                    <a:pt x="323" y="5"/>
                  </a:lnTo>
                  <a:lnTo>
                    <a:pt x="305" y="11"/>
                  </a:lnTo>
                  <a:lnTo>
                    <a:pt x="286" y="18"/>
                  </a:lnTo>
                  <a:lnTo>
                    <a:pt x="269" y="28"/>
                  </a:lnTo>
                  <a:lnTo>
                    <a:pt x="269" y="28"/>
                  </a:lnTo>
                  <a:lnTo>
                    <a:pt x="255" y="37"/>
                  </a:lnTo>
                  <a:lnTo>
                    <a:pt x="242" y="47"/>
                  </a:lnTo>
                  <a:lnTo>
                    <a:pt x="230" y="58"/>
                  </a:lnTo>
                  <a:lnTo>
                    <a:pt x="219" y="70"/>
                  </a:lnTo>
                  <a:lnTo>
                    <a:pt x="210" y="83"/>
                  </a:lnTo>
                  <a:lnTo>
                    <a:pt x="202" y="96"/>
                  </a:lnTo>
                  <a:lnTo>
                    <a:pt x="194" y="110"/>
                  </a:lnTo>
                  <a:lnTo>
                    <a:pt x="188" y="124"/>
                  </a:lnTo>
                  <a:lnTo>
                    <a:pt x="183" y="139"/>
                  </a:lnTo>
                  <a:lnTo>
                    <a:pt x="179" y="154"/>
                  </a:lnTo>
                  <a:lnTo>
                    <a:pt x="176" y="170"/>
                  </a:lnTo>
                  <a:lnTo>
                    <a:pt x="175" y="186"/>
                  </a:lnTo>
                  <a:lnTo>
                    <a:pt x="175" y="201"/>
                  </a:lnTo>
                  <a:lnTo>
                    <a:pt x="176" y="217"/>
                  </a:lnTo>
                  <a:lnTo>
                    <a:pt x="178" y="232"/>
                  </a:lnTo>
                  <a:lnTo>
                    <a:pt x="183" y="248"/>
                  </a:lnTo>
                  <a:lnTo>
                    <a:pt x="25" y="348"/>
                  </a:lnTo>
                  <a:lnTo>
                    <a:pt x="25" y="348"/>
                  </a:lnTo>
                  <a:lnTo>
                    <a:pt x="16" y="354"/>
                  </a:lnTo>
                  <a:lnTo>
                    <a:pt x="10" y="362"/>
                  </a:lnTo>
                  <a:lnTo>
                    <a:pt x="4" y="370"/>
                  </a:lnTo>
                  <a:lnTo>
                    <a:pt x="1" y="380"/>
                  </a:lnTo>
                  <a:lnTo>
                    <a:pt x="0" y="390"/>
                  </a:lnTo>
                  <a:lnTo>
                    <a:pt x="0" y="400"/>
                  </a:lnTo>
                  <a:lnTo>
                    <a:pt x="3" y="409"/>
                  </a:lnTo>
                  <a:lnTo>
                    <a:pt x="8" y="419"/>
                  </a:lnTo>
                  <a:lnTo>
                    <a:pt x="8" y="419"/>
                  </a:lnTo>
                  <a:lnTo>
                    <a:pt x="13" y="428"/>
                  </a:lnTo>
                  <a:lnTo>
                    <a:pt x="21" y="434"/>
                  </a:lnTo>
                  <a:lnTo>
                    <a:pt x="29" y="438"/>
                  </a:lnTo>
                  <a:lnTo>
                    <a:pt x="39" y="442"/>
                  </a:lnTo>
                  <a:lnTo>
                    <a:pt x="49" y="444"/>
                  </a:lnTo>
                  <a:lnTo>
                    <a:pt x="58" y="443"/>
                  </a:lnTo>
                  <a:lnTo>
                    <a:pt x="68" y="441"/>
                  </a:lnTo>
                  <a:lnTo>
                    <a:pt x="78" y="436"/>
                  </a:lnTo>
                  <a:lnTo>
                    <a:pt x="235" y="336"/>
                  </a:lnTo>
                  <a:lnTo>
                    <a:pt x="235" y="336"/>
                  </a:lnTo>
                  <a:lnTo>
                    <a:pt x="247" y="347"/>
                  </a:lnTo>
                  <a:lnTo>
                    <a:pt x="260" y="356"/>
                  </a:lnTo>
                  <a:lnTo>
                    <a:pt x="273" y="364"/>
                  </a:lnTo>
                  <a:lnTo>
                    <a:pt x="287" y="371"/>
                  </a:lnTo>
                  <a:lnTo>
                    <a:pt x="302" y="378"/>
                  </a:lnTo>
                  <a:lnTo>
                    <a:pt x="318" y="382"/>
                  </a:lnTo>
                  <a:lnTo>
                    <a:pt x="333" y="386"/>
                  </a:lnTo>
                  <a:lnTo>
                    <a:pt x="348" y="389"/>
                  </a:lnTo>
                  <a:lnTo>
                    <a:pt x="364" y="390"/>
                  </a:lnTo>
                  <a:lnTo>
                    <a:pt x="379" y="390"/>
                  </a:lnTo>
                  <a:lnTo>
                    <a:pt x="395" y="388"/>
                  </a:lnTo>
                  <a:lnTo>
                    <a:pt x="410" y="386"/>
                  </a:lnTo>
                  <a:lnTo>
                    <a:pt x="427" y="381"/>
                  </a:lnTo>
                  <a:lnTo>
                    <a:pt x="442" y="376"/>
                  </a:lnTo>
                  <a:lnTo>
                    <a:pt x="457" y="369"/>
                  </a:lnTo>
                  <a:lnTo>
                    <a:pt x="471" y="362"/>
                  </a:lnTo>
                  <a:lnTo>
                    <a:pt x="471" y="362"/>
                  </a:lnTo>
                  <a:lnTo>
                    <a:pt x="488" y="351"/>
                  </a:lnTo>
                  <a:lnTo>
                    <a:pt x="503" y="338"/>
                  </a:lnTo>
                  <a:lnTo>
                    <a:pt x="516" y="324"/>
                  </a:lnTo>
                  <a:lnTo>
                    <a:pt x="528" y="309"/>
                  </a:lnTo>
                  <a:lnTo>
                    <a:pt x="539" y="294"/>
                  </a:lnTo>
                  <a:lnTo>
                    <a:pt x="548" y="276"/>
                  </a:lnTo>
                  <a:lnTo>
                    <a:pt x="554" y="259"/>
                  </a:lnTo>
                  <a:lnTo>
                    <a:pt x="559" y="241"/>
                  </a:lnTo>
                  <a:lnTo>
                    <a:pt x="564" y="222"/>
                  </a:lnTo>
                  <a:lnTo>
                    <a:pt x="565" y="204"/>
                  </a:lnTo>
                  <a:lnTo>
                    <a:pt x="565" y="186"/>
                  </a:lnTo>
                  <a:lnTo>
                    <a:pt x="564" y="166"/>
                  </a:lnTo>
                  <a:lnTo>
                    <a:pt x="559" y="148"/>
                  </a:lnTo>
                  <a:lnTo>
                    <a:pt x="554" y="130"/>
                  </a:lnTo>
                  <a:lnTo>
                    <a:pt x="546" y="111"/>
                  </a:lnTo>
                  <a:lnTo>
                    <a:pt x="537" y="94"/>
                  </a:lnTo>
                  <a:lnTo>
                    <a:pt x="537" y="94"/>
                  </a:lnTo>
                  <a:close/>
                  <a:moveTo>
                    <a:pt x="442" y="312"/>
                  </a:moveTo>
                  <a:lnTo>
                    <a:pt x="442" y="312"/>
                  </a:lnTo>
                  <a:lnTo>
                    <a:pt x="429" y="320"/>
                  </a:lnTo>
                  <a:lnTo>
                    <a:pt x="416" y="324"/>
                  </a:lnTo>
                  <a:lnTo>
                    <a:pt x="403" y="328"/>
                  </a:lnTo>
                  <a:lnTo>
                    <a:pt x="390" y="332"/>
                  </a:lnTo>
                  <a:lnTo>
                    <a:pt x="377" y="333"/>
                  </a:lnTo>
                  <a:lnTo>
                    <a:pt x="363" y="333"/>
                  </a:lnTo>
                  <a:lnTo>
                    <a:pt x="350" y="330"/>
                  </a:lnTo>
                  <a:lnTo>
                    <a:pt x="337" y="328"/>
                  </a:lnTo>
                  <a:lnTo>
                    <a:pt x="324" y="325"/>
                  </a:lnTo>
                  <a:lnTo>
                    <a:pt x="312" y="320"/>
                  </a:lnTo>
                  <a:lnTo>
                    <a:pt x="300" y="313"/>
                  </a:lnTo>
                  <a:lnTo>
                    <a:pt x="289" y="307"/>
                  </a:lnTo>
                  <a:lnTo>
                    <a:pt x="279" y="298"/>
                  </a:lnTo>
                  <a:lnTo>
                    <a:pt x="269" y="288"/>
                  </a:lnTo>
                  <a:lnTo>
                    <a:pt x="260" y="278"/>
                  </a:lnTo>
                  <a:lnTo>
                    <a:pt x="252" y="266"/>
                  </a:lnTo>
                  <a:lnTo>
                    <a:pt x="252" y="266"/>
                  </a:lnTo>
                  <a:lnTo>
                    <a:pt x="245" y="254"/>
                  </a:lnTo>
                  <a:lnTo>
                    <a:pt x="240" y="241"/>
                  </a:lnTo>
                  <a:lnTo>
                    <a:pt x="237" y="228"/>
                  </a:lnTo>
                  <a:lnTo>
                    <a:pt x="233" y="215"/>
                  </a:lnTo>
                  <a:lnTo>
                    <a:pt x="232" y="201"/>
                  </a:lnTo>
                  <a:lnTo>
                    <a:pt x="232" y="188"/>
                  </a:lnTo>
                  <a:lnTo>
                    <a:pt x="233" y="175"/>
                  </a:lnTo>
                  <a:lnTo>
                    <a:pt x="237" y="162"/>
                  </a:lnTo>
                  <a:lnTo>
                    <a:pt x="240" y="149"/>
                  </a:lnTo>
                  <a:lnTo>
                    <a:pt x="245" y="137"/>
                  </a:lnTo>
                  <a:lnTo>
                    <a:pt x="251" y="125"/>
                  </a:lnTo>
                  <a:lnTo>
                    <a:pt x="258" y="113"/>
                  </a:lnTo>
                  <a:lnTo>
                    <a:pt x="267" y="104"/>
                  </a:lnTo>
                  <a:lnTo>
                    <a:pt x="276" y="94"/>
                  </a:lnTo>
                  <a:lnTo>
                    <a:pt x="287" y="84"/>
                  </a:lnTo>
                  <a:lnTo>
                    <a:pt x="299" y="77"/>
                  </a:lnTo>
                  <a:lnTo>
                    <a:pt x="299" y="77"/>
                  </a:lnTo>
                  <a:lnTo>
                    <a:pt x="311" y="70"/>
                  </a:lnTo>
                  <a:lnTo>
                    <a:pt x="324" y="65"/>
                  </a:lnTo>
                  <a:lnTo>
                    <a:pt x="337" y="60"/>
                  </a:lnTo>
                  <a:lnTo>
                    <a:pt x="350" y="58"/>
                  </a:lnTo>
                  <a:lnTo>
                    <a:pt x="364" y="57"/>
                  </a:lnTo>
                  <a:lnTo>
                    <a:pt x="377" y="57"/>
                  </a:lnTo>
                  <a:lnTo>
                    <a:pt x="390" y="58"/>
                  </a:lnTo>
                  <a:lnTo>
                    <a:pt x="403" y="60"/>
                  </a:lnTo>
                  <a:lnTo>
                    <a:pt x="416" y="65"/>
                  </a:lnTo>
                  <a:lnTo>
                    <a:pt x="428" y="70"/>
                  </a:lnTo>
                  <a:lnTo>
                    <a:pt x="440" y="76"/>
                  </a:lnTo>
                  <a:lnTo>
                    <a:pt x="451" y="83"/>
                  </a:lnTo>
                  <a:lnTo>
                    <a:pt x="461" y="92"/>
                  </a:lnTo>
                  <a:lnTo>
                    <a:pt x="471" y="101"/>
                  </a:lnTo>
                  <a:lnTo>
                    <a:pt x="481" y="111"/>
                  </a:lnTo>
                  <a:lnTo>
                    <a:pt x="488" y="123"/>
                  </a:lnTo>
                  <a:lnTo>
                    <a:pt x="488" y="123"/>
                  </a:lnTo>
                  <a:lnTo>
                    <a:pt x="495" y="136"/>
                  </a:lnTo>
                  <a:lnTo>
                    <a:pt x="500" y="149"/>
                  </a:lnTo>
                  <a:lnTo>
                    <a:pt x="504" y="162"/>
                  </a:lnTo>
                  <a:lnTo>
                    <a:pt x="507" y="175"/>
                  </a:lnTo>
                  <a:lnTo>
                    <a:pt x="508" y="188"/>
                  </a:lnTo>
                  <a:lnTo>
                    <a:pt x="508" y="202"/>
                  </a:lnTo>
                  <a:lnTo>
                    <a:pt x="507" y="215"/>
                  </a:lnTo>
                  <a:lnTo>
                    <a:pt x="504" y="228"/>
                  </a:lnTo>
                  <a:lnTo>
                    <a:pt x="500" y="240"/>
                  </a:lnTo>
                  <a:lnTo>
                    <a:pt x="496" y="253"/>
                  </a:lnTo>
                  <a:lnTo>
                    <a:pt x="489" y="265"/>
                  </a:lnTo>
                  <a:lnTo>
                    <a:pt x="482" y="275"/>
                  </a:lnTo>
                  <a:lnTo>
                    <a:pt x="473" y="286"/>
                  </a:lnTo>
                  <a:lnTo>
                    <a:pt x="463" y="296"/>
                  </a:lnTo>
                  <a:lnTo>
                    <a:pt x="454" y="305"/>
                  </a:lnTo>
                  <a:lnTo>
                    <a:pt x="442" y="312"/>
                  </a:lnTo>
                  <a:lnTo>
                    <a:pt x="442" y="312"/>
                  </a:lnTo>
                  <a:close/>
                </a:path>
              </a:pathLst>
            </a:custGeom>
            <a:solidFill>
              <a:srgbClr val="C4C2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457134" rtl="0" eaLnBrk="1" latinLnBrk="0" hangingPunct="1">
                <a:defRPr sz="1800" kern="1200">
                  <a:solidFill>
                    <a:schemeClr val="tx1"/>
                  </a:solidFill>
                  <a:latin typeface="+mn-lt"/>
                  <a:ea typeface="+mn-ea"/>
                  <a:cs typeface="+mn-cs"/>
                </a:defRPr>
              </a:lvl1pPr>
              <a:lvl2pPr marL="457134" algn="l" defTabSz="457134" rtl="0" eaLnBrk="1" latinLnBrk="0" hangingPunct="1">
                <a:defRPr sz="1800" kern="1200">
                  <a:solidFill>
                    <a:schemeClr val="tx1"/>
                  </a:solidFill>
                  <a:latin typeface="+mn-lt"/>
                  <a:ea typeface="+mn-ea"/>
                  <a:cs typeface="+mn-cs"/>
                </a:defRPr>
              </a:lvl2pPr>
              <a:lvl3pPr marL="914268" algn="l" defTabSz="457134" rtl="0" eaLnBrk="1" latinLnBrk="0" hangingPunct="1">
                <a:defRPr sz="1800" kern="1200">
                  <a:solidFill>
                    <a:schemeClr val="tx1"/>
                  </a:solidFill>
                  <a:latin typeface="+mn-lt"/>
                  <a:ea typeface="+mn-ea"/>
                  <a:cs typeface="+mn-cs"/>
                </a:defRPr>
              </a:lvl3pPr>
              <a:lvl4pPr marL="1371402" algn="l" defTabSz="457134" rtl="0" eaLnBrk="1" latinLnBrk="0" hangingPunct="1">
                <a:defRPr sz="1800" kern="1200">
                  <a:solidFill>
                    <a:schemeClr val="tx1"/>
                  </a:solidFill>
                  <a:latin typeface="+mn-lt"/>
                  <a:ea typeface="+mn-ea"/>
                  <a:cs typeface="+mn-cs"/>
                </a:defRPr>
              </a:lvl4pPr>
              <a:lvl5pPr marL="1828537" algn="l" defTabSz="457134" rtl="0" eaLnBrk="1" latinLnBrk="0" hangingPunct="1">
                <a:defRPr sz="1800" kern="1200">
                  <a:solidFill>
                    <a:schemeClr val="tx1"/>
                  </a:solidFill>
                  <a:latin typeface="+mn-lt"/>
                  <a:ea typeface="+mn-ea"/>
                  <a:cs typeface="+mn-cs"/>
                </a:defRPr>
              </a:lvl5pPr>
              <a:lvl6pPr marL="2285671" algn="l" defTabSz="457134" rtl="0" eaLnBrk="1" latinLnBrk="0" hangingPunct="1">
                <a:defRPr sz="1800" kern="1200">
                  <a:solidFill>
                    <a:schemeClr val="tx1"/>
                  </a:solidFill>
                  <a:latin typeface="+mn-lt"/>
                  <a:ea typeface="+mn-ea"/>
                  <a:cs typeface="+mn-cs"/>
                </a:defRPr>
              </a:lvl6pPr>
              <a:lvl7pPr marL="2742805" algn="l" defTabSz="457134" rtl="0" eaLnBrk="1" latinLnBrk="0" hangingPunct="1">
                <a:defRPr sz="1800" kern="1200">
                  <a:solidFill>
                    <a:schemeClr val="tx1"/>
                  </a:solidFill>
                  <a:latin typeface="+mn-lt"/>
                  <a:ea typeface="+mn-ea"/>
                  <a:cs typeface="+mn-cs"/>
                </a:defRPr>
              </a:lvl7pPr>
              <a:lvl8pPr marL="3199939" algn="l" defTabSz="457134" rtl="0" eaLnBrk="1" latinLnBrk="0" hangingPunct="1">
                <a:defRPr sz="1800" kern="1200">
                  <a:solidFill>
                    <a:schemeClr val="tx1"/>
                  </a:solidFill>
                  <a:latin typeface="+mn-lt"/>
                  <a:ea typeface="+mn-ea"/>
                  <a:cs typeface="+mn-cs"/>
                </a:defRPr>
              </a:lvl8pPr>
              <a:lvl9pPr marL="3657073" algn="l" defTabSz="457134" rtl="0" eaLnBrk="1" latinLnBrk="0" hangingPunct="1">
                <a:defRPr sz="1800" kern="1200">
                  <a:solidFill>
                    <a:schemeClr val="tx1"/>
                  </a:solidFill>
                  <a:latin typeface="+mn-lt"/>
                  <a:ea typeface="+mn-ea"/>
                  <a:cs typeface="+mn-cs"/>
                </a:defRPr>
              </a:lvl9pPr>
            </a:lstStyle>
            <a:p>
              <a:pPr defTabSz="609446">
                <a:defRPr/>
              </a:pPr>
              <a:endParaRPr lang="en-US" sz="2400">
                <a:solidFill>
                  <a:prstClr val="black"/>
                </a:solidFill>
              </a:endParaRPr>
            </a:p>
          </p:txBody>
        </p:sp>
        <p:sp>
          <p:nvSpPr>
            <p:cNvPr id="616" name="Oval 615"/>
            <p:cNvSpPr/>
            <p:nvPr/>
          </p:nvSpPr>
          <p:spPr>
            <a:xfrm>
              <a:off x="2518393" y="642533"/>
              <a:ext cx="3937320" cy="3937318"/>
            </a:xfrm>
            <a:prstGeom prst="ellipse">
              <a:avLst/>
            </a:prstGeom>
            <a:gradFill flip="none" rotWithShape="1">
              <a:gsLst>
                <a:gs pos="0">
                  <a:sysClr val="window" lastClr="FFFFFF"/>
                </a:gs>
                <a:gs pos="61000">
                  <a:srgbClr val="E5E8E8"/>
                </a:gs>
              </a:gsLst>
              <a:path path="circle">
                <a:fillToRect l="50000" t="50000" r="50000" b="50000"/>
              </a:path>
              <a:tileRect/>
            </a:gradFill>
            <a:ln w="12700" cap="flat" cmpd="sng" algn="ctr">
              <a:solidFill>
                <a:sysClr val="window" lastClr="FFFFFF">
                  <a:lumMod val="85000"/>
                </a:sysClr>
              </a:solidFill>
              <a:prstDash val="solid"/>
            </a:ln>
            <a:effectLst/>
          </p:spPr>
          <p:txBody>
            <a:bodyPr rtlCol="0" anchor="ctr"/>
            <a:lstStyle>
              <a:defPPr>
                <a:defRPr lang="en-US"/>
              </a:defPPr>
              <a:lvl1pPr marL="0" algn="l" defTabSz="457134" rtl="0" eaLnBrk="1" latinLnBrk="0" hangingPunct="1">
                <a:defRPr sz="1800" kern="1200">
                  <a:solidFill>
                    <a:schemeClr val="lt1"/>
                  </a:solidFill>
                  <a:latin typeface="+mn-lt"/>
                  <a:ea typeface="+mn-ea"/>
                  <a:cs typeface="+mn-cs"/>
                </a:defRPr>
              </a:lvl1pPr>
              <a:lvl2pPr marL="457134" algn="l" defTabSz="457134" rtl="0" eaLnBrk="1" latinLnBrk="0" hangingPunct="1">
                <a:defRPr sz="1800" kern="1200">
                  <a:solidFill>
                    <a:schemeClr val="lt1"/>
                  </a:solidFill>
                  <a:latin typeface="+mn-lt"/>
                  <a:ea typeface="+mn-ea"/>
                  <a:cs typeface="+mn-cs"/>
                </a:defRPr>
              </a:lvl2pPr>
              <a:lvl3pPr marL="914268" algn="l" defTabSz="457134" rtl="0" eaLnBrk="1" latinLnBrk="0" hangingPunct="1">
                <a:defRPr sz="1800" kern="1200">
                  <a:solidFill>
                    <a:schemeClr val="lt1"/>
                  </a:solidFill>
                  <a:latin typeface="+mn-lt"/>
                  <a:ea typeface="+mn-ea"/>
                  <a:cs typeface="+mn-cs"/>
                </a:defRPr>
              </a:lvl3pPr>
              <a:lvl4pPr marL="1371402" algn="l" defTabSz="457134" rtl="0" eaLnBrk="1" latinLnBrk="0" hangingPunct="1">
                <a:defRPr sz="1800" kern="1200">
                  <a:solidFill>
                    <a:schemeClr val="lt1"/>
                  </a:solidFill>
                  <a:latin typeface="+mn-lt"/>
                  <a:ea typeface="+mn-ea"/>
                  <a:cs typeface="+mn-cs"/>
                </a:defRPr>
              </a:lvl4pPr>
              <a:lvl5pPr marL="1828537" algn="l" defTabSz="457134" rtl="0" eaLnBrk="1" latinLnBrk="0" hangingPunct="1">
                <a:defRPr sz="1800" kern="1200">
                  <a:solidFill>
                    <a:schemeClr val="lt1"/>
                  </a:solidFill>
                  <a:latin typeface="+mn-lt"/>
                  <a:ea typeface="+mn-ea"/>
                  <a:cs typeface="+mn-cs"/>
                </a:defRPr>
              </a:lvl5pPr>
              <a:lvl6pPr marL="2285671" algn="l" defTabSz="457134" rtl="0" eaLnBrk="1" latinLnBrk="0" hangingPunct="1">
                <a:defRPr sz="1800" kern="1200">
                  <a:solidFill>
                    <a:schemeClr val="lt1"/>
                  </a:solidFill>
                  <a:latin typeface="+mn-lt"/>
                  <a:ea typeface="+mn-ea"/>
                  <a:cs typeface="+mn-cs"/>
                </a:defRPr>
              </a:lvl6pPr>
              <a:lvl7pPr marL="2742805" algn="l" defTabSz="457134" rtl="0" eaLnBrk="1" latinLnBrk="0" hangingPunct="1">
                <a:defRPr sz="1800" kern="1200">
                  <a:solidFill>
                    <a:schemeClr val="lt1"/>
                  </a:solidFill>
                  <a:latin typeface="+mn-lt"/>
                  <a:ea typeface="+mn-ea"/>
                  <a:cs typeface="+mn-cs"/>
                </a:defRPr>
              </a:lvl7pPr>
              <a:lvl8pPr marL="3199939" algn="l" defTabSz="457134" rtl="0" eaLnBrk="1" latinLnBrk="0" hangingPunct="1">
                <a:defRPr sz="1800" kern="1200">
                  <a:solidFill>
                    <a:schemeClr val="lt1"/>
                  </a:solidFill>
                  <a:latin typeface="+mn-lt"/>
                  <a:ea typeface="+mn-ea"/>
                  <a:cs typeface="+mn-cs"/>
                </a:defRPr>
              </a:lvl8pPr>
              <a:lvl9pPr marL="3657073" algn="l" defTabSz="457134" rtl="0" eaLnBrk="1" latinLnBrk="0" hangingPunct="1">
                <a:defRPr sz="1800" kern="1200">
                  <a:solidFill>
                    <a:schemeClr val="lt1"/>
                  </a:solidFill>
                  <a:latin typeface="+mn-lt"/>
                  <a:ea typeface="+mn-ea"/>
                  <a:cs typeface="+mn-cs"/>
                </a:defRPr>
              </a:lvl9pPr>
            </a:lstStyle>
            <a:p>
              <a:pPr algn="ctr" defTabSz="609446">
                <a:defRPr/>
              </a:pPr>
              <a:endParaRPr lang="en-US" sz="2400">
                <a:solidFill>
                  <a:prstClr val="white"/>
                </a:solidFill>
              </a:endParaRPr>
            </a:p>
          </p:txBody>
        </p:sp>
      </p:grpSp>
      <p:sp>
        <p:nvSpPr>
          <p:cNvPr id="65" name="Title 2"/>
          <p:cNvSpPr txBox="1">
            <a:spLocks/>
          </p:cNvSpPr>
          <p:nvPr/>
        </p:nvSpPr>
        <p:spPr bwMode="black">
          <a:xfrm>
            <a:off x="677333" y="137160"/>
            <a:ext cx="11514667" cy="1016977"/>
          </a:xfrm>
          <a:prstGeom prst="rect">
            <a:avLst/>
          </a:prstGeom>
          <a:ln>
            <a:noFill/>
          </a:ln>
        </p:spPr>
        <p:txBody>
          <a:bodyPr vert="horz" wrap="square" lIns="0" tIns="0" rIns="0" bIns="0" rtlCol="0" anchor="t"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r>
              <a:rPr lang="ru-RU" sz="2400" dirty="0">
                <a:latin typeface="+mj-lt"/>
              </a:rPr>
              <a:t/>
            </a:r>
            <a:br>
              <a:rPr lang="ru-RU" sz="2400" dirty="0">
                <a:latin typeface="+mj-lt"/>
              </a:rPr>
            </a:br>
            <a:r>
              <a:rPr lang="ru-RU" dirty="0">
                <a:latin typeface="+mj-lt"/>
              </a:rPr>
              <a:t>Особенность 1</a:t>
            </a:r>
            <a:r>
              <a:rPr lang="ru-RU" sz="2400" dirty="0" smtClean="0">
                <a:latin typeface="+mj-lt"/>
              </a:rPr>
              <a:t>: Инфраструктура </a:t>
            </a:r>
            <a:r>
              <a:rPr lang="ru-RU" sz="2400" dirty="0">
                <a:latin typeface="+mj-lt"/>
              </a:rPr>
              <a:t>должна быть конвергентной</a:t>
            </a:r>
            <a:endParaRPr lang="en-US" sz="2400" dirty="0">
              <a:latin typeface="+mj-lt"/>
            </a:endParaRPr>
          </a:p>
        </p:txBody>
      </p:sp>
      <p:grpSp>
        <p:nvGrpSpPr>
          <p:cNvPr id="862" name="Group 861"/>
          <p:cNvGrpSpPr/>
          <p:nvPr/>
        </p:nvGrpSpPr>
        <p:grpSpPr>
          <a:xfrm>
            <a:off x="2922877" y="3318939"/>
            <a:ext cx="1344327" cy="1253066"/>
            <a:chOff x="2192155" y="2489201"/>
            <a:chExt cx="1008245" cy="939799"/>
          </a:xfrm>
        </p:grpSpPr>
        <p:sp>
          <p:nvSpPr>
            <p:cNvPr id="83" name="Freeform 82"/>
            <p:cNvSpPr/>
            <p:nvPr/>
          </p:nvSpPr>
          <p:spPr>
            <a:xfrm>
              <a:off x="2192155" y="2489201"/>
              <a:ext cx="1008245" cy="939799"/>
            </a:xfrm>
            <a:custGeom>
              <a:avLst/>
              <a:gdLst>
                <a:gd name="connsiteX0" fmla="*/ 0 w 1752606"/>
                <a:gd name="connsiteY0" fmla="*/ 885827 h 1771654"/>
                <a:gd name="connsiteX1" fmla="*/ 253324 w 1752606"/>
                <a:gd name="connsiteY1" fmla="*/ 262847 h 1771654"/>
                <a:gd name="connsiteX2" fmla="*/ 876304 w 1752606"/>
                <a:gd name="connsiteY2" fmla="*/ 1 h 1771654"/>
                <a:gd name="connsiteX3" fmla="*/ 1499284 w 1752606"/>
                <a:gd name="connsiteY3" fmla="*/ 262849 h 1771654"/>
                <a:gd name="connsiteX4" fmla="*/ 1752606 w 1752606"/>
                <a:gd name="connsiteY4" fmla="*/ 885829 h 1771654"/>
                <a:gd name="connsiteX5" fmla="*/ 1499283 w 1752606"/>
                <a:gd name="connsiteY5" fmla="*/ 1508809 h 1771654"/>
                <a:gd name="connsiteX6" fmla="*/ 876303 w 1752606"/>
                <a:gd name="connsiteY6" fmla="*/ 1771656 h 1771654"/>
                <a:gd name="connsiteX7" fmla="*/ 253323 w 1752606"/>
                <a:gd name="connsiteY7" fmla="*/ 1508808 h 1771654"/>
                <a:gd name="connsiteX8" fmla="*/ 0 w 1752606"/>
                <a:gd name="connsiteY8" fmla="*/ 885828 h 1771654"/>
                <a:gd name="connsiteX9" fmla="*/ 0 w 1752606"/>
                <a:gd name="connsiteY9" fmla="*/ 885827 h 1771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2606" h="1771654">
                  <a:moveTo>
                    <a:pt x="0" y="885827"/>
                  </a:moveTo>
                  <a:cubicBezTo>
                    <a:pt x="0" y="652550"/>
                    <a:pt x="91030" y="428688"/>
                    <a:pt x="253324" y="262847"/>
                  </a:cubicBezTo>
                  <a:cubicBezTo>
                    <a:pt x="417927" y="94647"/>
                    <a:pt x="642253" y="0"/>
                    <a:pt x="876304" y="1"/>
                  </a:cubicBezTo>
                  <a:cubicBezTo>
                    <a:pt x="1110356" y="1"/>
                    <a:pt x="1334681" y="94649"/>
                    <a:pt x="1499284" y="262849"/>
                  </a:cubicBezTo>
                  <a:cubicBezTo>
                    <a:pt x="1661578" y="428690"/>
                    <a:pt x="1752607" y="652552"/>
                    <a:pt x="1752606" y="885829"/>
                  </a:cubicBezTo>
                  <a:cubicBezTo>
                    <a:pt x="1752606" y="1119106"/>
                    <a:pt x="1661577" y="1342968"/>
                    <a:pt x="1499283" y="1508809"/>
                  </a:cubicBezTo>
                  <a:cubicBezTo>
                    <a:pt x="1334680" y="1677009"/>
                    <a:pt x="1110355" y="1771656"/>
                    <a:pt x="876303" y="1771656"/>
                  </a:cubicBezTo>
                  <a:cubicBezTo>
                    <a:pt x="642251" y="1771656"/>
                    <a:pt x="417926" y="1677008"/>
                    <a:pt x="253323" y="1508808"/>
                  </a:cubicBezTo>
                  <a:cubicBezTo>
                    <a:pt x="91029" y="1342967"/>
                    <a:pt x="0" y="1119105"/>
                    <a:pt x="0" y="885828"/>
                  </a:cubicBezTo>
                  <a:lnTo>
                    <a:pt x="0" y="885827"/>
                  </a:lnTo>
                  <a:close/>
                </a:path>
              </a:pathLst>
            </a:custGeom>
            <a:solidFill>
              <a:schemeClr val="tx2"/>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26311" tIns="278555" rIns="663149" bIns="278555" numCol="1" spcCol="1270" anchor="ctr" anchorCtr="0">
              <a:noAutofit/>
            </a:bodyPr>
            <a:lstStyle/>
            <a:p>
              <a:pPr algn="ctr" defTabSz="1362987">
                <a:lnSpc>
                  <a:spcPct val="90000"/>
                </a:lnSpc>
                <a:spcBef>
                  <a:spcPct val="0"/>
                </a:spcBef>
                <a:spcAft>
                  <a:spcPct val="35000"/>
                </a:spcAft>
              </a:pPr>
              <a:r>
                <a:rPr lang="en-US" sz="1867" dirty="0">
                  <a:solidFill>
                    <a:prstClr val="black"/>
                  </a:solidFill>
                </a:rPr>
                <a:t> </a:t>
              </a:r>
            </a:p>
          </p:txBody>
        </p:sp>
        <p:sp>
          <p:nvSpPr>
            <p:cNvPr id="85" name="TextBox 84"/>
            <p:cNvSpPr txBox="1"/>
            <p:nvPr/>
          </p:nvSpPr>
          <p:spPr bwMode="gray">
            <a:xfrm>
              <a:off x="2216222" y="2973389"/>
              <a:ext cx="970467" cy="346153"/>
            </a:xfrm>
            <a:prstGeom prst="rect">
              <a:avLst/>
            </a:prstGeom>
            <a:noFill/>
          </p:spPr>
          <p:txBody>
            <a:bodyPr wrap="square" rtlCol="0">
              <a:spAutoFit/>
            </a:bodyPr>
            <a:lstStyle/>
            <a:p>
              <a:pPr algn="ctr" defTabSz="573555">
                <a:lnSpc>
                  <a:spcPct val="90000"/>
                </a:lnSpc>
                <a:buSzPct val="100000"/>
              </a:pPr>
              <a:r>
                <a:rPr lang="ru-RU" sz="1333" b="1" dirty="0" err="1">
                  <a:solidFill>
                    <a:prstClr val="white"/>
                  </a:solidFill>
                </a:rPr>
                <a:t>Традицион-ный</a:t>
              </a:r>
              <a:r>
                <a:rPr lang="ru-RU" sz="1333" b="1" dirty="0">
                  <a:solidFill>
                    <a:prstClr val="white"/>
                  </a:solidFill>
                </a:rPr>
                <a:t> ЦОД</a:t>
              </a:r>
              <a:endParaRPr lang="en-US" sz="667" dirty="0">
                <a:solidFill>
                  <a:prstClr val="white"/>
                </a:solidFill>
                <a:cs typeface="HP Simplified" pitchFamily="34" charset="0"/>
              </a:endParaRPr>
            </a:p>
          </p:txBody>
        </p:sp>
        <p:grpSp>
          <p:nvGrpSpPr>
            <p:cNvPr id="86" name="Group 14"/>
            <p:cNvGrpSpPr/>
            <p:nvPr/>
          </p:nvGrpSpPr>
          <p:grpSpPr>
            <a:xfrm>
              <a:off x="2475358" y="2642077"/>
              <a:ext cx="423625" cy="316939"/>
              <a:chOff x="7626510" y="2937650"/>
              <a:chExt cx="826328" cy="663250"/>
            </a:xfrm>
          </p:grpSpPr>
          <p:sp>
            <p:nvSpPr>
              <p:cNvPr id="87" name="Freeform 5"/>
              <p:cNvSpPr>
                <a:spLocks noEditPoints="1"/>
              </p:cNvSpPr>
              <p:nvPr/>
            </p:nvSpPr>
            <p:spPr bwMode="auto">
              <a:xfrm>
                <a:off x="8062048" y="2937650"/>
                <a:ext cx="315218" cy="663250"/>
              </a:xfrm>
              <a:custGeom>
                <a:avLst/>
                <a:gdLst>
                  <a:gd name="T0" fmla="*/ 280 w 317"/>
                  <a:gd name="T1" fmla="*/ 0 h 667"/>
                  <a:gd name="T2" fmla="*/ 0 w 317"/>
                  <a:gd name="T3" fmla="*/ 0 h 667"/>
                  <a:gd name="T4" fmla="*/ 0 w 317"/>
                  <a:gd name="T5" fmla="*/ 61 h 667"/>
                  <a:gd name="T6" fmla="*/ 248 w 317"/>
                  <a:gd name="T7" fmla="*/ 61 h 667"/>
                  <a:gd name="T8" fmla="*/ 248 w 317"/>
                  <a:gd name="T9" fmla="*/ 88 h 667"/>
                  <a:gd name="T10" fmla="*/ 0 w 317"/>
                  <a:gd name="T11" fmla="*/ 88 h 667"/>
                  <a:gd name="T12" fmla="*/ 0 w 317"/>
                  <a:gd name="T13" fmla="*/ 126 h 667"/>
                  <a:gd name="T14" fmla="*/ 248 w 317"/>
                  <a:gd name="T15" fmla="*/ 126 h 667"/>
                  <a:gd name="T16" fmla="*/ 248 w 317"/>
                  <a:gd name="T17" fmla="*/ 151 h 667"/>
                  <a:gd name="T18" fmla="*/ 0 w 317"/>
                  <a:gd name="T19" fmla="*/ 151 h 667"/>
                  <a:gd name="T20" fmla="*/ 0 w 317"/>
                  <a:gd name="T21" fmla="*/ 382 h 667"/>
                  <a:gd name="T22" fmla="*/ 317 w 317"/>
                  <a:gd name="T23" fmla="*/ 382 h 667"/>
                  <a:gd name="T24" fmla="*/ 317 w 317"/>
                  <a:gd name="T25" fmla="*/ 38 h 667"/>
                  <a:gd name="T26" fmla="*/ 317 w 317"/>
                  <a:gd name="T27" fmla="*/ 38 h 667"/>
                  <a:gd name="T28" fmla="*/ 317 w 317"/>
                  <a:gd name="T29" fmla="*/ 31 h 667"/>
                  <a:gd name="T30" fmla="*/ 315 w 317"/>
                  <a:gd name="T31" fmla="*/ 23 h 667"/>
                  <a:gd name="T32" fmla="*/ 311 w 317"/>
                  <a:gd name="T33" fmla="*/ 17 h 667"/>
                  <a:gd name="T34" fmla="*/ 307 w 317"/>
                  <a:gd name="T35" fmla="*/ 13 h 667"/>
                  <a:gd name="T36" fmla="*/ 301 w 317"/>
                  <a:gd name="T37" fmla="*/ 6 h 667"/>
                  <a:gd name="T38" fmla="*/ 294 w 317"/>
                  <a:gd name="T39" fmla="*/ 4 h 667"/>
                  <a:gd name="T40" fmla="*/ 288 w 317"/>
                  <a:gd name="T41" fmla="*/ 2 h 667"/>
                  <a:gd name="T42" fmla="*/ 280 w 317"/>
                  <a:gd name="T43" fmla="*/ 0 h 667"/>
                  <a:gd name="T44" fmla="*/ 280 w 317"/>
                  <a:gd name="T45" fmla="*/ 0 h 667"/>
                  <a:gd name="T46" fmla="*/ 0 w 317"/>
                  <a:gd name="T47" fmla="*/ 629 h 667"/>
                  <a:gd name="T48" fmla="*/ 0 w 317"/>
                  <a:gd name="T49" fmla="*/ 629 h 667"/>
                  <a:gd name="T50" fmla="*/ 3 w 317"/>
                  <a:gd name="T51" fmla="*/ 636 h 667"/>
                  <a:gd name="T52" fmla="*/ 5 w 317"/>
                  <a:gd name="T53" fmla="*/ 644 h 667"/>
                  <a:gd name="T54" fmla="*/ 7 w 317"/>
                  <a:gd name="T55" fmla="*/ 650 h 667"/>
                  <a:gd name="T56" fmla="*/ 13 w 317"/>
                  <a:gd name="T57" fmla="*/ 655 h 667"/>
                  <a:gd name="T58" fmla="*/ 17 w 317"/>
                  <a:gd name="T59" fmla="*/ 661 h 667"/>
                  <a:gd name="T60" fmla="*/ 24 w 317"/>
                  <a:gd name="T61" fmla="*/ 663 h 667"/>
                  <a:gd name="T62" fmla="*/ 32 w 317"/>
                  <a:gd name="T63" fmla="*/ 665 h 667"/>
                  <a:gd name="T64" fmla="*/ 40 w 317"/>
                  <a:gd name="T65" fmla="*/ 667 h 667"/>
                  <a:gd name="T66" fmla="*/ 317 w 317"/>
                  <a:gd name="T67" fmla="*/ 667 h 667"/>
                  <a:gd name="T68" fmla="*/ 317 w 317"/>
                  <a:gd name="T69" fmla="*/ 608 h 667"/>
                  <a:gd name="T70" fmla="*/ 0 w 317"/>
                  <a:gd name="T71" fmla="*/ 608 h 667"/>
                  <a:gd name="T72" fmla="*/ 0 w 317"/>
                  <a:gd name="T73" fmla="*/ 629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7" h="667">
                    <a:moveTo>
                      <a:pt x="280" y="0"/>
                    </a:moveTo>
                    <a:lnTo>
                      <a:pt x="0" y="0"/>
                    </a:lnTo>
                    <a:lnTo>
                      <a:pt x="0" y="61"/>
                    </a:lnTo>
                    <a:lnTo>
                      <a:pt x="248" y="61"/>
                    </a:lnTo>
                    <a:lnTo>
                      <a:pt x="248" y="88"/>
                    </a:lnTo>
                    <a:lnTo>
                      <a:pt x="0" y="88"/>
                    </a:lnTo>
                    <a:lnTo>
                      <a:pt x="0" y="126"/>
                    </a:lnTo>
                    <a:lnTo>
                      <a:pt x="248" y="126"/>
                    </a:lnTo>
                    <a:lnTo>
                      <a:pt x="248" y="151"/>
                    </a:lnTo>
                    <a:lnTo>
                      <a:pt x="0" y="151"/>
                    </a:lnTo>
                    <a:lnTo>
                      <a:pt x="0" y="382"/>
                    </a:lnTo>
                    <a:lnTo>
                      <a:pt x="317" y="382"/>
                    </a:lnTo>
                    <a:lnTo>
                      <a:pt x="317" y="38"/>
                    </a:lnTo>
                    <a:lnTo>
                      <a:pt x="317" y="38"/>
                    </a:lnTo>
                    <a:lnTo>
                      <a:pt x="317" y="31"/>
                    </a:lnTo>
                    <a:lnTo>
                      <a:pt x="315" y="23"/>
                    </a:lnTo>
                    <a:lnTo>
                      <a:pt x="311" y="17"/>
                    </a:lnTo>
                    <a:lnTo>
                      <a:pt x="307" y="13"/>
                    </a:lnTo>
                    <a:lnTo>
                      <a:pt x="301" y="6"/>
                    </a:lnTo>
                    <a:lnTo>
                      <a:pt x="294" y="4"/>
                    </a:lnTo>
                    <a:lnTo>
                      <a:pt x="288" y="2"/>
                    </a:lnTo>
                    <a:lnTo>
                      <a:pt x="280" y="0"/>
                    </a:lnTo>
                    <a:lnTo>
                      <a:pt x="280" y="0"/>
                    </a:lnTo>
                    <a:close/>
                    <a:moveTo>
                      <a:pt x="0" y="629"/>
                    </a:moveTo>
                    <a:lnTo>
                      <a:pt x="0" y="629"/>
                    </a:lnTo>
                    <a:lnTo>
                      <a:pt x="3" y="636"/>
                    </a:lnTo>
                    <a:lnTo>
                      <a:pt x="5" y="644"/>
                    </a:lnTo>
                    <a:lnTo>
                      <a:pt x="7" y="650"/>
                    </a:lnTo>
                    <a:lnTo>
                      <a:pt x="13" y="655"/>
                    </a:lnTo>
                    <a:lnTo>
                      <a:pt x="17" y="661"/>
                    </a:lnTo>
                    <a:lnTo>
                      <a:pt x="24" y="663"/>
                    </a:lnTo>
                    <a:lnTo>
                      <a:pt x="32" y="665"/>
                    </a:lnTo>
                    <a:lnTo>
                      <a:pt x="40" y="667"/>
                    </a:lnTo>
                    <a:lnTo>
                      <a:pt x="317" y="667"/>
                    </a:lnTo>
                    <a:lnTo>
                      <a:pt x="317" y="608"/>
                    </a:lnTo>
                    <a:lnTo>
                      <a:pt x="0" y="608"/>
                    </a:lnTo>
                    <a:lnTo>
                      <a:pt x="0" y="629"/>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467">
                  <a:solidFill>
                    <a:prstClr val="black"/>
                  </a:solidFill>
                </a:endParaRPr>
              </a:p>
            </p:txBody>
          </p:sp>
          <p:sp>
            <p:nvSpPr>
              <p:cNvPr id="88" name="Freeform 6"/>
              <p:cNvSpPr>
                <a:spLocks/>
              </p:cNvSpPr>
              <p:nvPr/>
            </p:nvSpPr>
            <p:spPr bwMode="auto">
              <a:xfrm>
                <a:off x="7626510" y="3350317"/>
                <a:ext cx="826328" cy="159101"/>
              </a:xfrm>
              <a:custGeom>
                <a:avLst/>
                <a:gdLst>
                  <a:gd name="T0" fmla="*/ 781 w 831"/>
                  <a:gd name="T1" fmla="*/ 0 h 160"/>
                  <a:gd name="T2" fmla="*/ 128 w 831"/>
                  <a:gd name="T3" fmla="*/ 0 h 160"/>
                  <a:gd name="T4" fmla="*/ 128 w 831"/>
                  <a:gd name="T5" fmla="*/ 118 h 160"/>
                  <a:gd name="T6" fmla="*/ 103 w 831"/>
                  <a:gd name="T7" fmla="*/ 118 h 160"/>
                  <a:gd name="T8" fmla="*/ 103 w 831"/>
                  <a:gd name="T9" fmla="*/ 0 h 160"/>
                  <a:gd name="T10" fmla="*/ 75 w 831"/>
                  <a:gd name="T11" fmla="*/ 0 h 160"/>
                  <a:gd name="T12" fmla="*/ 75 w 831"/>
                  <a:gd name="T13" fmla="*/ 118 h 160"/>
                  <a:gd name="T14" fmla="*/ 50 w 831"/>
                  <a:gd name="T15" fmla="*/ 118 h 160"/>
                  <a:gd name="T16" fmla="*/ 50 w 831"/>
                  <a:gd name="T17" fmla="*/ 0 h 160"/>
                  <a:gd name="T18" fmla="*/ 0 w 831"/>
                  <a:gd name="T19" fmla="*/ 0 h 160"/>
                  <a:gd name="T20" fmla="*/ 0 w 831"/>
                  <a:gd name="T21" fmla="*/ 109 h 160"/>
                  <a:gd name="T22" fmla="*/ 0 w 831"/>
                  <a:gd name="T23" fmla="*/ 109 h 160"/>
                  <a:gd name="T24" fmla="*/ 2 w 831"/>
                  <a:gd name="T25" fmla="*/ 120 h 160"/>
                  <a:gd name="T26" fmla="*/ 4 w 831"/>
                  <a:gd name="T27" fmla="*/ 128 h 160"/>
                  <a:gd name="T28" fmla="*/ 8 w 831"/>
                  <a:gd name="T29" fmla="*/ 137 h 160"/>
                  <a:gd name="T30" fmla="*/ 15 w 831"/>
                  <a:gd name="T31" fmla="*/ 145 h 160"/>
                  <a:gd name="T32" fmla="*/ 23 w 831"/>
                  <a:gd name="T33" fmla="*/ 151 h 160"/>
                  <a:gd name="T34" fmla="*/ 31 w 831"/>
                  <a:gd name="T35" fmla="*/ 156 h 160"/>
                  <a:gd name="T36" fmla="*/ 40 w 831"/>
                  <a:gd name="T37" fmla="*/ 158 h 160"/>
                  <a:gd name="T38" fmla="*/ 50 w 831"/>
                  <a:gd name="T39" fmla="*/ 160 h 160"/>
                  <a:gd name="T40" fmla="*/ 831 w 831"/>
                  <a:gd name="T41" fmla="*/ 160 h 160"/>
                  <a:gd name="T42" fmla="*/ 831 w 831"/>
                  <a:gd name="T43" fmla="*/ 51 h 160"/>
                  <a:gd name="T44" fmla="*/ 831 w 831"/>
                  <a:gd name="T45" fmla="*/ 51 h 160"/>
                  <a:gd name="T46" fmla="*/ 829 w 831"/>
                  <a:gd name="T47" fmla="*/ 40 h 160"/>
                  <a:gd name="T48" fmla="*/ 827 w 831"/>
                  <a:gd name="T49" fmla="*/ 30 h 160"/>
                  <a:gd name="T50" fmla="*/ 822 w 831"/>
                  <a:gd name="T51" fmla="*/ 21 h 160"/>
                  <a:gd name="T52" fmla="*/ 816 w 831"/>
                  <a:gd name="T53" fmla="*/ 15 h 160"/>
                  <a:gd name="T54" fmla="*/ 808 w 831"/>
                  <a:gd name="T55" fmla="*/ 9 h 160"/>
                  <a:gd name="T56" fmla="*/ 799 w 831"/>
                  <a:gd name="T57" fmla="*/ 2 h 160"/>
                  <a:gd name="T58" fmla="*/ 791 w 831"/>
                  <a:gd name="T59" fmla="*/ 0 h 160"/>
                  <a:gd name="T60" fmla="*/ 781 w 831"/>
                  <a:gd name="T61" fmla="*/ 0 h 160"/>
                  <a:gd name="T62" fmla="*/ 781 w 831"/>
                  <a:gd name="T6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1" h="160">
                    <a:moveTo>
                      <a:pt x="781" y="0"/>
                    </a:moveTo>
                    <a:lnTo>
                      <a:pt x="128" y="0"/>
                    </a:lnTo>
                    <a:lnTo>
                      <a:pt x="128" y="118"/>
                    </a:lnTo>
                    <a:lnTo>
                      <a:pt x="103" y="118"/>
                    </a:lnTo>
                    <a:lnTo>
                      <a:pt x="103" y="0"/>
                    </a:lnTo>
                    <a:lnTo>
                      <a:pt x="75" y="0"/>
                    </a:lnTo>
                    <a:lnTo>
                      <a:pt x="75" y="118"/>
                    </a:lnTo>
                    <a:lnTo>
                      <a:pt x="50" y="118"/>
                    </a:lnTo>
                    <a:lnTo>
                      <a:pt x="50" y="0"/>
                    </a:lnTo>
                    <a:lnTo>
                      <a:pt x="0" y="0"/>
                    </a:lnTo>
                    <a:lnTo>
                      <a:pt x="0" y="109"/>
                    </a:lnTo>
                    <a:lnTo>
                      <a:pt x="0" y="109"/>
                    </a:lnTo>
                    <a:lnTo>
                      <a:pt x="2" y="120"/>
                    </a:lnTo>
                    <a:lnTo>
                      <a:pt x="4" y="128"/>
                    </a:lnTo>
                    <a:lnTo>
                      <a:pt x="8" y="137"/>
                    </a:lnTo>
                    <a:lnTo>
                      <a:pt x="15" y="145"/>
                    </a:lnTo>
                    <a:lnTo>
                      <a:pt x="23" y="151"/>
                    </a:lnTo>
                    <a:lnTo>
                      <a:pt x="31" y="156"/>
                    </a:lnTo>
                    <a:lnTo>
                      <a:pt x="40" y="158"/>
                    </a:lnTo>
                    <a:lnTo>
                      <a:pt x="50" y="160"/>
                    </a:lnTo>
                    <a:lnTo>
                      <a:pt x="831" y="160"/>
                    </a:lnTo>
                    <a:lnTo>
                      <a:pt x="831" y="51"/>
                    </a:lnTo>
                    <a:lnTo>
                      <a:pt x="831" y="51"/>
                    </a:lnTo>
                    <a:lnTo>
                      <a:pt x="829" y="40"/>
                    </a:lnTo>
                    <a:lnTo>
                      <a:pt x="827" y="30"/>
                    </a:lnTo>
                    <a:lnTo>
                      <a:pt x="822" y="21"/>
                    </a:lnTo>
                    <a:lnTo>
                      <a:pt x="816" y="15"/>
                    </a:lnTo>
                    <a:lnTo>
                      <a:pt x="808" y="9"/>
                    </a:lnTo>
                    <a:lnTo>
                      <a:pt x="799" y="2"/>
                    </a:lnTo>
                    <a:lnTo>
                      <a:pt x="791" y="0"/>
                    </a:lnTo>
                    <a:lnTo>
                      <a:pt x="781" y="0"/>
                    </a:lnTo>
                    <a:lnTo>
                      <a:pt x="781" y="0"/>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467">
                  <a:solidFill>
                    <a:prstClr val="black"/>
                  </a:solidFill>
                </a:endParaRPr>
              </a:p>
            </p:txBody>
          </p:sp>
        </p:grpSp>
      </p:grpSp>
      <p:grpSp>
        <p:nvGrpSpPr>
          <p:cNvPr id="37" name="Group 36"/>
          <p:cNvGrpSpPr/>
          <p:nvPr/>
        </p:nvGrpSpPr>
        <p:grpSpPr>
          <a:xfrm>
            <a:off x="2003037" y="2325516"/>
            <a:ext cx="1191721" cy="1106105"/>
            <a:chOff x="5676341" y="1219201"/>
            <a:chExt cx="893791" cy="829579"/>
          </a:xfrm>
        </p:grpSpPr>
        <p:sp>
          <p:nvSpPr>
            <p:cNvPr id="815" name="Round Diagonal Corner Rectangle 814"/>
            <p:cNvSpPr/>
            <p:nvPr/>
          </p:nvSpPr>
          <p:spPr bwMode="gray">
            <a:xfrm flipH="1">
              <a:off x="5676341" y="1751312"/>
              <a:ext cx="893791" cy="297468"/>
            </a:xfrm>
            <a:prstGeom prst="round2DiagRect">
              <a:avLst>
                <a:gd name="adj1" fmla="val 11355"/>
                <a:gd name="adj2" fmla="val 0"/>
              </a:avLst>
            </a:prstGeom>
            <a:noFill/>
            <a:ln w="12700">
              <a:noFill/>
            </a:ln>
            <a:effectLst/>
          </p:spPr>
          <p:style>
            <a:lnRef idx="1">
              <a:schemeClr val="accent1"/>
            </a:lnRef>
            <a:fillRef idx="3">
              <a:schemeClr val="accent1"/>
            </a:fillRef>
            <a:effectRef idx="2">
              <a:schemeClr val="accent1"/>
            </a:effectRef>
            <a:fontRef idx="minor">
              <a:schemeClr val="lt1"/>
            </a:fontRef>
          </p:style>
          <p:txBody>
            <a:bodyPr lIns="60960" rIns="0" rtlCol="0" anchor="ctr"/>
            <a:lstStyle/>
            <a:p>
              <a:pPr algn="ctr"/>
              <a:r>
                <a:rPr lang="ru-RU" sz="1067" dirty="0">
                  <a:solidFill>
                    <a:prstClr val="black"/>
                  </a:solidFill>
                </a:rPr>
                <a:t>Технологии Больших данных </a:t>
              </a:r>
              <a:endParaRPr lang="en-US" sz="1067" dirty="0">
                <a:solidFill>
                  <a:prstClr val="black"/>
                </a:solidFill>
              </a:endParaRPr>
            </a:p>
          </p:txBody>
        </p:sp>
        <p:pic>
          <p:nvPicPr>
            <p:cNvPr id="816" name="Picture 815"/>
            <p:cNvPicPr>
              <a:picLocks noChangeAspect="1" noChangeArrowheads="1"/>
            </p:cNvPicPr>
            <p:nvPr/>
          </p:nvPicPr>
          <p:blipFill>
            <a:blip r:embed="rId2" cstate="print">
              <a:duotone>
                <a:prstClr val="black"/>
                <a:srgbClr val="425563">
                  <a:tint val="45000"/>
                  <a:satMod val="400000"/>
                </a:srgbClr>
              </a:duotone>
              <a:extLst>
                <a:ext uri="{28A0092B-C50C-407E-A947-70E740481C1C}">
                  <a14:useLocalDpi xmlns:a14="http://schemas.microsoft.com/office/drawing/2010/main"/>
                </a:ext>
              </a:extLst>
            </a:blip>
            <a:srcRect/>
            <a:stretch>
              <a:fillRect/>
            </a:stretch>
          </p:blipFill>
          <p:spPr bwMode="auto">
            <a:xfrm flipH="1">
              <a:off x="5922756" y="1219201"/>
              <a:ext cx="485005" cy="492436"/>
            </a:xfrm>
            <a:prstGeom prst="rect">
              <a:avLst/>
            </a:prstGeom>
            <a:noFill/>
            <a:ln w="9525">
              <a:noFill/>
              <a:miter lim="800000"/>
              <a:headEnd/>
              <a:tailEnd/>
            </a:ln>
            <a:effectLst/>
          </p:spPr>
        </p:pic>
      </p:grpSp>
      <p:grpSp>
        <p:nvGrpSpPr>
          <p:cNvPr id="43" name="Group 42"/>
          <p:cNvGrpSpPr/>
          <p:nvPr/>
        </p:nvGrpSpPr>
        <p:grpSpPr>
          <a:xfrm>
            <a:off x="2901243" y="2127620"/>
            <a:ext cx="1524000" cy="985952"/>
            <a:chOff x="5588000" y="1460247"/>
            <a:chExt cx="1143000" cy="739464"/>
          </a:xfrm>
        </p:grpSpPr>
        <p:pic>
          <p:nvPicPr>
            <p:cNvPr id="817" name="Picture 4" descr="C:\Users\meyerrob\APPDATA\LOCAL\TEMP\wz3ba3\Enterprise_Icons\Social_network\Social_network_RGB\Social_network_RGB_blue_NT.png"/>
            <p:cNvPicPr>
              <a:picLocks noChangeAspect="1" noChangeArrowheads="1"/>
            </p:cNvPicPr>
            <p:nvPr/>
          </p:nvPicPr>
          <p:blipFill>
            <a:blip r:embed="rId3" cstate="email">
              <a:duotone>
                <a:prstClr val="black"/>
                <a:srgbClr val="425563">
                  <a:tint val="45000"/>
                  <a:satMod val="400000"/>
                </a:srgbClr>
              </a:duotone>
              <a:extLst>
                <a:ext uri="{28A0092B-C50C-407E-A947-70E740481C1C}">
                  <a14:useLocalDpi xmlns:a14="http://schemas.microsoft.com/office/drawing/2010/main" val="0"/>
                </a:ext>
              </a:extLst>
            </a:blip>
            <a:srcRect/>
            <a:stretch>
              <a:fillRect/>
            </a:stretch>
          </p:blipFill>
          <p:spPr bwMode="auto">
            <a:xfrm>
              <a:off x="5949253" y="1460247"/>
              <a:ext cx="358416" cy="427820"/>
            </a:xfrm>
            <a:prstGeom prst="rect">
              <a:avLst/>
            </a:prstGeom>
            <a:noFill/>
            <a:extLst>
              <a:ext uri="{909E8E84-426E-40DD-AFC4-6F175D3DCCD1}">
                <a14:hiddenFill xmlns:a14="http://schemas.microsoft.com/office/drawing/2010/main">
                  <a:solidFill>
                    <a:srgbClr val="FFFFFF"/>
                  </a:solidFill>
                </a14:hiddenFill>
              </a:ext>
            </a:extLst>
          </p:spPr>
        </p:pic>
        <p:sp>
          <p:nvSpPr>
            <p:cNvPr id="818" name="TextBox 817"/>
            <p:cNvSpPr txBox="1"/>
            <p:nvPr/>
          </p:nvSpPr>
          <p:spPr>
            <a:xfrm>
              <a:off x="5588000" y="1884144"/>
              <a:ext cx="1143000" cy="315567"/>
            </a:xfrm>
            <a:prstGeom prst="rect">
              <a:avLst/>
            </a:prstGeom>
            <a:noFill/>
          </p:spPr>
          <p:txBody>
            <a:bodyPr wrap="square" rtlCol="0">
              <a:spAutoFit/>
            </a:bodyPr>
            <a:lstStyle/>
            <a:p>
              <a:pPr algn="ctr" defTabSz="573555">
                <a:spcAft>
                  <a:spcPts val="533"/>
                </a:spcAft>
                <a:buSzPct val="100000"/>
              </a:pPr>
              <a:r>
                <a:rPr lang="ru-RU" sz="1067" dirty="0">
                  <a:solidFill>
                    <a:srgbClr val="000000"/>
                  </a:solidFill>
                  <a:cs typeface="HP Simplified" pitchFamily="34" charset="0"/>
                </a:rPr>
                <a:t>Соц. и </a:t>
              </a:r>
              <a:r>
                <a:rPr lang="ru-RU" sz="1067" dirty="0" err="1">
                  <a:solidFill>
                    <a:srgbClr val="000000"/>
                  </a:solidFill>
                  <a:cs typeface="HP Simplified" pitchFamily="34" charset="0"/>
                </a:rPr>
                <a:t>профес-сиональные</a:t>
              </a:r>
              <a:r>
                <a:rPr lang="ru-RU" sz="1067" dirty="0">
                  <a:solidFill>
                    <a:srgbClr val="000000"/>
                  </a:solidFill>
                  <a:cs typeface="HP Simplified" pitchFamily="34" charset="0"/>
                </a:rPr>
                <a:t> сети</a:t>
              </a:r>
              <a:endParaRPr lang="en-US" sz="1067" dirty="0">
                <a:solidFill>
                  <a:srgbClr val="000000"/>
                </a:solidFill>
                <a:cs typeface="HP Simplified" pitchFamily="34" charset="0"/>
              </a:endParaRPr>
            </a:p>
          </p:txBody>
        </p:sp>
      </p:grpSp>
      <p:grpSp>
        <p:nvGrpSpPr>
          <p:cNvPr id="44" name="Group 43"/>
          <p:cNvGrpSpPr/>
          <p:nvPr/>
        </p:nvGrpSpPr>
        <p:grpSpPr>
          <a:xfrm>
            <a:off x="4186957" y="2435592"/>
            <a:ext cx="1130111" cy="1115916"/>
            <a:chOff x="5671751" y="1496493"/>
            <a:chExt cx="847583" cy="836937"/>
          </a:xfrm>
        </p:grpSpPr>
        <p:pic>
          <p:nvPicPr>
            <p:cNvPr id="820" name="Picture 819"/>
            <p:cNvPicPr>
              <a:picLocks noChangeAspect="1"/>
            </p:cNvPicPr>
            <p:nvPr/>
          </p:nvPicPr>
          <p:blipFill>
            <a:blip r:embed="rId4" cstate="email">
              <a:duotone>
                <a:prstClr val="black"/>
                <a:srgbClr val="425563">
                  <a:tint val="45000"/>
                  <a:satMod val="400000"/>
                </a:srgbClr>
              </a:duotone>
              <a:extLst>
                <a:ext uri="{28A0092B-C50C-407E-A947-70E740481C1C}">
                  <a14:useLocalDpi xmlns:a14="http://schemas.microsoft.com/office/drawing/2010/main" val="0"/>
                </a:ext>
              </a:extLst>
            </a:blip>
            <a:stretch>
              <a:fillRect/>
            </a:stretch>
          </p:blipFill>
          <p:spPr>
            <a:xfrm>
              <a:off x="5830800" y="1496493"/>
              <a:ext cx="476867" cy="370639"/>
            </a:xfrm>
            <a:prstGeom prst="rect">
              <a:avLst/>
            </a:prstGeom>
          </p:spPr>
        </p:pic>
        <p:sp>
          <p:nvSpPr>
            <p:cNvPr id="821" name="TextBox 820"/>
            <p:cNvSpPr txBox="1"/>
            <p:nvPr/>
          </p:nvSpPr>
          <p:spPr>
            <a:xfrm>
              <a:off x="5671751" y="1894704"/>
              <a:ext cx="847583" cy="438726"/>
            </a:xfrm>
            <a:prstGeom prst="rect">
              <a:avLst/>
            </a:prstGeom>
            <a:noFill/>
          </p:spPr>
          <p:txBody>
            <a:bodyPr wrap="square" rtlCol="0">
              <a:spAutoFit/>
            </a:bodyPr>
            <a:lstStyle/>
            <a:p>
              <a:pPr algn="ctr" defTabSz="573039">
                <a:spcAft>
                  <a:spcPts val="533"/>
                </a:spcAft>
                <a:buSzPct val="100000"/>
              </a:pPr>
              <a:r>
                <a:rPr lang="ru-RU" sz="1067" dirty="0">
                  <a:solidFill>
                    <a:srgbClr val="000000"/>
                  </a:solidFill>
                  <a:cs typeface="HP Simplified" pitchFamily="34" charset="0"/>
                </a:rPr>
                <a:t>Ресурсы по запросу приложений</a:t>
              </a:r>
              <a:endParaRPr lang="en-US" sz="1067" dirty="0">
                <a:solidFill>
                  <a:schemeClr val="tx1">
                    <a:lumMod val="65000"/>
                    <a:lumOff val="35000"/>
                  </a:schemeClr>
                </a:solidFill>
                <a:cs typeface="HP Simplified" pitchFamily="34" charset="0"/>
              </a:endParaRPr>
            </a:p>
          </p:txBody>
        </p:sp>
      </p:grpSp>
      <p:grpSp>
        <p:nvGrpSpPr>
          <p:cNvPr id="863" name="Group 862"/>
          <p:cNvGrpSpPr/>
          <p:nvPr/>
        </p:nvGrpSpPr>
        <p:grpSpPr>
          <a:xfrm>
            <a:off x="7145866" y="2370668"/>
            <a:ext cx="2494845" cy="3036713"/>
            <a:chOff x="5359399" y="1777998"/>
            <a:chExt cx="1871134" cy="2277535"/>
          </a:xfrm>
        </p:grpSpPr>
        <p:sp>
          <p:nvSpPr>
            <p:cNvPr id="45" name="Right Arrow 44"/>
            <p:cNvSpPr/>
            <p:nvPr/>
          </p:nvSpPr>
          <p:spPr>
            <a:xfrm>
              <a:off x="5359399" y="1777998"/>
              <a:ext cx="1871134" cy="2277535"/>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6" name="TextBox 45"/>
            <p:cNvSpPr txBox="1"/>
            <p:nvPr/>
          </p:nvSpPr>
          <p:spPr>
            <a:xfrm>
              <a:off x="5418667" y="2616200"/>
              <a:ext cx="1600200" cy="561596"/>
            </a:xfrm>
            <a:prstGeom prst="rect">
              <a:avLst/>
            </a:prstGeom>
            <a:noFill/>
          </p:spPr>
          <p:txBody>
            <a:bodyPr wrap="square" rtlCol="0">
              <a:spAutoFit/>
            </a:bodyPr>
            <a:lstStyle/>
            <a:p>
              <a:pPr defTabSz="573555">
                <a:spcAft>
                  <a:spcPts val="533"/>
                </a:spcAft>
                <a:buSzPct val="100000"/>
              </a:pPr>
              <a:r>
                <a:rPr lang="ru-RU" sz="2133" dirty="0">
                  <a:solidFill>
                    <a:schemeClr val="bg1"/>
                  </a:solidFill>
                  <a:cs typeface="HP Simplified" pitchFamily="34" charset="0"/>
                </a:rPr>
                <a:t>конвергенция технологий</a:t>
              </a:r>
              <a:endParaRPr lang="en-US" sz="2133" dirty="0">
                <a:solidFill>
                  <a:schemeClr val="bg1"/>
                </a:solidFill>
                <a:cs typeface="HP Simplified" pitchFamily="34" charset="0"/>
              </a:endParaRPr>
            </a:p>
          </p:txBody>
        </p:sp>
      </p:grpSp>
      <p:grpSp>
        <p:nvGrpSpPr>
          <p:cNvPr id="48" name="Group 47"/>
          <p:cNvGrpSpPr/>
          <p:nvPr/>
        </p:nvGrpSpPr>
        <p:grpSpPr>
          <a:xfrm>
            <a:off x="1882855" y="4334930"/>
            <a:ext cx="1097413" cy="964961"/>
            <a:chOff x="6822341" y="4148667"/>
            <a:chExt cx="823060" cy="723721"/>
          </a:xfrm>
        </p:grpSpPr>
        <p:grpSp>
          <p:nvGrpSpPr>
            <p:cNvPr id="827" name="Group 826"/>
            <p:cNvGrpSpPr/>
            <p:nvPr/>
          </p:nvGrpSpPr>
          <p:grpSpPr>
            <a:xfrm>
              <a:off x="7018867" y="4148667"/>
              <a:ext cx="397933" cy="431324"/>
              <a:chOff x="7850832" y="1750660"/>
              <a:chExt cx="767820" cy="777318"/>
            </a:xfrm>
          </p:grpSpPr>
          <p:pic>
            <p:nvPicPr>
              <p:cNvPr id="828" name="Picture 827"/>
              <p:cNvPicPr>
                <a:picLocks noChangeAspect="1"/>
              </p:cNvPicPr>
              <p:nvPr/>
            </p:nvPicPr>
            <p:blipFill rotWithShape="1">
              <a:blip r:embed="rId5" cstate="print">
                <a:duotone>
                  <a:prstClr val="black"/>
                  <a:srgbClr val="425563">
                    <a:tint val="45000"/>
                    <a:satMod val="400000"/>
                  </a:srgbClr>
                </a:duotone>
                <a:extLst>
                  <a:ext uri="{28A0092B-C50C-407E-A947-70E740481C1C}">
                    <a14:useLocalDpi xmlns:a14="http://schemas.microsoft.com/office/drawing/2010/main" val="0"/>
                  </a:ext>
                </a:extLst>
              </a:blip>
              <a:srcRect l="49764" r="-630" b="52348"/>
              <a:stretch/>
            </p:blipFill>
            <p:spPr>
              <a:xfrm>
                <a:off x="7850832" y="1876412"/>
                <a:ext cx="470475" cy="449461"/>
              </a:xfrm>
              <a:prstGeom prst="rect">
                <a:avLst/>
              </a:prstGeom>
            </p:spPr>
          </p:pic>
          <p:sp>
            <p:nvSpPr>
              <p:cNvPr id="829" name="Freeform 828"/>
              <p:cNvSpPr/>
              <p:nvPr/>
            </p:nvSpPr>
            <p:spPr>
              <a:xfrm>
                <a:off x="8117681" y="1916906"/>
                <a:ext cx="228600" cy="428625"/>
              </a:xfrm>
              <a:custGeom>
                <a:avLst/>
                <a:gdLst>
                  <a:gd name="connsiteX0" fmla="*/ 200025 w 228600"/>
                  <a:gd name="connsiteY0" fmla="*/ 0 h 428625"/>
                  <a:gd name="connsiteX1" fmla="*/ 83344 w 228600"/>
                  <a:gd name="connsiteY1" fmla="*/ 85725 h 428625"/>
                  <a:gd name="connsiteX2" fmla="*/ 78582 w 228600"/>
                  <a:gd name="connsiteY2" fmla="*/ 154782 h 428625"/>
                  <a:gd name="connsiteX3" fmla="*/ 47625 w 228600"/>
                  <a:gd name="connsiteY3" fmla="*/ 171450 h 428625"/>
                  <a:gd name="connsiteX4" fmla="*/ 0 w 228600"/>
                  <a:gd name="connsiteY4" fmla="*/ 219075 h 428625"/>
                  <a:gd name="connsiteX5" fmla="*/ 0 w 228600"/>
                  <a:gd name="connsiteY5" fmla="*/ 428625 h 428625"/>
                  <a:gd name="connsiteX6" fmla="*/ 228600 w 228600"/>
                  <a:gd name="connsiteY6" fmla="*/ 423863 h 428625"/>
                  <a:gd name="connsiteX7" fmla="*/ 200025 w 228600"/>
                  <a:gd name="connsiteY7" fmla="*/ 0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00" h="428625">
                    <a:moveTo>
                      <a:pt x="200025" y="0"/>
                    </a:moveTo>
                    <a:lnTo>
                      <a:pt x="83344" y="85725"/>
                    </a:lnTo>
                    <a:lnTo>
                      <a:pt x="78582" y="154782"/>
                    </a:lnTo>
                    <a:lnTo>
                      <a:pt x="47625" y="171450"/>
                    </a:lnTo>
                    <a:lnTo>
                      <a:pt x="0" y="219075"/>
                    </a:lnTo>
                    <a:lnTo>
                      <a:pt x="0" y="428625"/>
                    </a:lnTo>
                    <a:lnTo>
                      <a:pt x="228600" y="423863"/>
                    </a:lnTo>
                    <a:lnTo>
                      <a:pt x="200025"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830" name="Picture 829"/>
              <p:cNvPicPr>
                <a:picLocks noChangeAspect="1"/>
              </p:cNvPicPr>
              <p:nvPr/>
            </p:nvPicPr>
            <p:blipFill>
              <a:blip r:embed="rId6" cstate="print">
                <a:duotone>
                  <a:prstClr val="black"/>
                  <a:srgbClr val="425563">
                    <a:tint val="45000"/>
                    <a:satMod val="400000"/>
                  </a:srgbClr>
                </a:duotone>
                <a:extLst>
                  <a:ext uri="{28A0092B-C50C-407E-A947-70E740481C1C}">
                    <a14:useLocalDpi xmlns:a14="http://schemas.microsoft.com/office/drawing/2010/main" val="0"/>
                  </a:ext>
                </a:extLst>
              </a:blip>
              <a:stretch>
                <a:fillRect/>
              </a:stretch>
            </p:blipFill>
            <p:spPr>
              <a:xfrm>
                <a:off x="8006962" y="1750660"/>
                <a:ext cx="611690" cy="777318"/>
              </a:xfrm>
              <a:prstGeom prst="rect">
                <a:avLst/>
              </a:prstGeom>
            </p:spPr>
          </p:pic>
        </p:grpSp>
        <p:sp>
          <p:nvSpPr>
            <p:cNvPr id="831" name="TextBox 830"/>
            <p:cNvSpPr txBox="1"/>
            <p:nvPr/>
          </p:nvSpPr>
          <p:spPr>
            <a:xfrm>
              <a:off x="6822341" y="4556821"/>
              <a:ext cx="823060" cy="315567"/>
            </a:xfrm>
            <a:prstGeom prst="rect">
              <a:avLst/>
            </a:prstGeom>
            <a:noFill/>
          </p:spPr>
          <p:txBody>
            <a:bodyPr wrap="square" rtlCol="0">
              <a:spAutoFit/>
            </a:bodyPr>
            <a:lstStyle/>
            <a:p>
              <a:pPr algn="ctr" defTabSz="573039">
                <a:spcAft>
                  <a:spcPts val="533"/>
                </a:spcAft>
                <a:buSzPct val="100000"/>
              </a:pPr>
              <a:r>
                <a:rPr lang="ru-RU" sz="1067" dirty="0">
                  <a:cs typeface="HP Simplified" pitchFamily="34" charset="0"/>
                </a:rPr>
                <a:t>Технология </a:t>
              </a:r>
              <a:r>
                <a:rPr lang="en-US" sz="1067" dirty="0">
                  <a:cs typeface="HP Simplified" pitchFamily="34" charset="0"/>
                </a:rPr>
                <a:t>Mobility</a:t>
              </a:r>
            </a:p>
          </p:txBody>
        </p:sp>
      </p:grpSp>
      <p:grpSp>
        <p:nvGrpSpPr>
          <p:cNvPr id="49" name="Group 48"/>
          <p:cNvGrpSpPr/>
          <p:nvPr/>
        </p:nvGrpSpPr>
        <p:grpSpPr>
          <a:xfrm>
            <a:off x="4547032" y="3603604"/>
            <a:ext cx="1097413" cy="1007668"/>
            <a:chOff x="7025541" y="492904"/>
            <a:chExt cx="823060" cy="755751"/>
          </a:xfrm>
        </p:grpSpPr>
        <p:pic>
          <p:nvPicPr>
            <p:cNvPr id="832" name="Picture 2"/>
            <p:cNvPicPr>
              <a:picLocks noChangeAspect="1" noChangeArrowheads="1"/>
            </p:cNvPicPr>
            <p:nvPr/>
          </p:nvPicPr>
          <p:blipFill>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196667" y="492904"/>
              <a:ext cx="466023" cy="438429"/>
            </a:xfrm>
            <a:prstGeom prst="rect">
              <a:avLst/>
            </a:prstGeom>
            <a:noFill/>
            <a:ln>
              <a:noFill/>
            </a:ln>
            <a:extLst>
              <a:ext uri="{91240B29-F687-4F45-9708-019B960494DF}">
                <a14:hiddenLine xmlns:a14="http://schemas.microsoft.com/office/drawing/2010/main" w="9525">
                  <a:solidFill>
                    <a:schemeClr val="tx1"/>
                  </a:solidFill>
                  <a:miter lim="800000"/>
                  <a:headEnd/>
                  <a:tailEnd/>
                </a14:hiddenLine>
              </a:ext>
            </a:extLst>
          </p:spPr>
        </p:pic>
        <p:sp>
          <p:nvSpPr>
            <p:cNvPr id="839" name="TextBox 838"/>
            <p:cNvSpPr txBox="1"/>
            <p:nvPr/>
          </p:nvSpPr>
          <p:spPr>
            <a:xfrm>
              <a:off x="7025541" y="933088"/>
              <a:ext cx="823060" cy="315567"/>
            </a:xfrm>
            <a:prstGeom prst="rect">
              <a:avLst/>
            </a:prstGeom>
            <a:noFill/>
          </p:spPr>
          <p:txBody>
            <a:bodyPr wrap="square" rtlCol="0">
              <a:spAutoFit/>
            </a:bodyPr>
            <a:lstStyle/>
            <a:p>
              <a:pPr algn="ctr" defTabSz="573039">
                <a:spcAft>
                  <a:spcPts val="533"/>
                </a:spcAft>
                <a:buSzPct val="100000"/>
              </a:pPr>
              <a:r>
                <a:rPr lang="ru-RU" sz="1067" dirty="0">
                  <a:cs typeface="HP Simplified" pitchFamily="34" charset="0"/>
                </a:rPr>
                <a:t>Интернет вещей </a:t>
              </a:r>
              <a:r>
                <a:rPr lang="en-US" sz="1067" dirty="0" err="1">
                  <a:cs typeface="HP Simplified" pitchFamily="34" charset="0"/>
                </a:rPr>
                <a:t>IoT</a:t>
              </a:r>
              <a:endParaRPr lang="en-US" sz="1067" dirty="0">
                <a:cs typeface="HP Simplified" pitchFamily="34" charset="0"/>
              </a:endParaRPr>
            </a:p>
          </p:txBody>
        </p:sp>
      </p:grpSp>
      <p:grpSp>
        <p:nvGrpSpPr>
          <p:cNvPr id="50" name="Group 49"/>
          <p:cNvGrpSpPr/>
          <p:nvPr/>
        </p:nvGrpSpPr>
        <p:grpSpPr>
          <a:xfrm>
            <a:off x="1521611" y="3477078"/>
            <a:ext cx="901209" cy="806816"/>
            <a:chOff x="1149674" y="2794077"/>
            <a:chExt cx="675906" cy="605112"/>
          </a:xfrm>
        </p:grpSpPr>
        <p:sp>
          <p:nvSpPr>
            <p:cNvPr id="825" name="TextBox 824"/>
            <p:cNvSpPr txBox="1"/>
            <p:nvPr/>
          </p:nvSpPr>
          <p:spPr>
            <a:xfrm>
              <a:off x="1149674" y="3083622"/>
              <a:ext cx="675906" cy="315567"/>
            </a:xfrm>
            <a:prstGeom prst="rect">
              <a:avLst/>
            </a:prstGeom>
            <a:noFill/>
          </p:spPr>
          <p:txBody>
            <a:bodyPr wrap="none" rtlCol="0">
              <a:spAutoFit/>
            </a:bodyPr>
            <a:lstStyle/>
            <a:p>
              <a:pPr defTabSz="573039">
                <a:spcAft>
                  <a:spcPts val="533"/>
                </a:spcAft>
                <a:buSzPct val="100000"/>
              </a:pPr>
              <a:r>
                <a:rPr lang="ru-RU" sz="1067" dirty="0">
                  <a:cs typeface="HP Simplified" pitchFamily="34" charset="0"/>
                </a:rPr>
                <a:t>Облачные</a:t>
              </a:r>
              <a:r>
                <a:rPr lang="en-US" sz="1067" dirty="0">
                  <a:cs typeface="HP Simplified" pitchFamily="34" charset="0"/>
                </a:rPr>
                <a:t/>
              </a:r>
              <a:br>
                <a:rPr lang="en-US" sz="1067" dirty="0">
                  <a:cs typeface="HP Simplified" pitchFamily="34" charset="0"/>
                </a:rPr>
              </a:br>
              <a:r>
                <a:rPr lang="ru-RU" sz="1067" dirty="0">
                  <a:cs typeface="HP Simplified" pitchFamily="34" charset="0"/>
                </a:rPr>
                <a:t>технологии</a:t>
              </a:r>
              <a:endParaRPr lang="en-US" sz="1067" dirty="0">
                <a:cs typeface="HP Simplified" pitchFamily="34" charset="0"/>
              </a:endParaRPr>
            </a:p>
          </p:txBody>
        </p:sp>
        <p:sp>
          <p:nvSpPr>
            <p:cNvPr id="856" name="Freeform 1"/>
            <p:cNvSpPr>
              <a:spLocks noChangeAspect="1" noChangeArrowheads="1"/>
            </p:cNvSpPr>
            <p:nvPr/>
          </p:nvSpPr>
          <p:spPr bwMode="auto">
            <a:xfrm>
              <a:off x="1225550" y="2794077"/>
              <a:ext cx="543983" cy="296255"/>
            </a:xfrm>
            <a:custGeom>
              <a:avLst/>
              <a:gdLst>
                <a:gd name="T0" fmla="*/ 750 w 4251"/>
                <a:gd name="T1" fmla="*/ 2312 h 2313"/>
                <a:gd name="T2" fmla="*/ 750 w 4251"/>
                <a:gd name="T3" fmla="*/ 2312 h 2313"/>
                <a:gd name="T4" fmla="*/ 750 w 4251"/>
                <a:gd name="T5" fmla="*/ 2312 h 2313"/>
                <a:gd name="T6" fmla="*/ 469 w 4251"/>
                <a:gd name="T7" fmla="*/ 2249 h 2313"/>
                <a:gd name="T8" fmla="*/ 0 w 4251"/>
                <a:gd name="T9" fmla="*/ 1562 h 2313"/>
                <a:gd name="T10" fmla="*/ 62 w 4251"/>
                <a:gd name="T11" fmla="*/ 1249 h 2313"/>
                <a:gd name="T12" fmla="*/ 781 w 4251"/>
                <a:gd name="T13" fmla="*/ 782 h 2313"/>
                <a:gd name="T14" fmla="*/ 781 w 4251"/>
                <a:gd name="T15" fmla="*/ 782 h 2313"/>
                <a:gd name="T16" fmla="*/ 844 w 4251"/>
                <a:gd name="T17" fmla="*/ 594 h 2313"/>
                <a:gd name="T18" fmla="*/ 1781 w 4251"/>
                <a:gd name="T19" fmla="*/ 0 h 2313"/>
                <a:gd name="T20" fmla="*/ 2187 w 4251"/>
                <a:gd name="T21" fmla="*/ 63 h 2313"/>
                <a:gd name="T22" fmla="*/ 2750 w 4251"/>
                <a:gd name="T23" fmla="*/ 688 h 2313"/>
                <a:gd name="T24" fmla="*/ 3000 w 4251"/>
                <a:gd name="T25" fmla="*/ 657 h 2313"/>
                <a:gd name="T26" fmla="*/ 3343 w 4251"/>
                <a:gd name="T27" fmla="*/ 719 h 2313"/>
                <a:gd name="T28" fmla="*/ 3812 w 4251"/>
                <a:gd name="T29" fmla="*/ 1312 h 2313"/>
                <a:gd name="T30" fmla="*/ 3969 w 4251"/>
                <a:gd name="T31" fmla="*/ 1343 h 2313"/>
                <a:gd name="T32" fmla="*/ 3969 w 4251"/>
                <a:gd name="T33" fmla="*/ 1343 h 2313"/>
                <a:gd name="T34" fmla="*/ 3969 w 4251"/>
                <a:gd name="T35" fmla="*/ 1343 h 2313"/>
                <a:gd name="T36" fmla="*/ 4250 w 4251"/>
                <a:gd name="T37" fmla="*/ 1812 h 2313"/>
                <a:gd name="T38" fmla="*/ 4219 w 4251"/>
                <a:gd name="T39" fmla="*/ 1999 h 2313"/>
                <a:gd name="T40" fmla="*/ 3812 w 4251"/>
                <a:gd name="T41" fmla="*/ 2312 h 2313"/>
                <a:gd name="T42" fmla="*/ 3812 w 4251"/>
                <a:gd name="T43" fmla="*/ 2312 h 2313"/>
                <a:gd name="T44" fmla="*/ 750 w 4251"/>
                <a:gd name="T45" fmla="*/ 2312 h 2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51" h="2313">
                  <a:moveTo>
                    <a:pt x="750" y="2312"/>
                  </a:moveTo>
                  <a:lnTo>
                    <a:pt x="750" y="2312"/>
                  </a:lnTo>
                  <a:lnTo>
                    <a:pt x="750" y="2312"/>
                  </a:lnTo>
                  <a:cubicBezTo>
                    <a:pt x="656" y="2312"/>
                    <a:pt x="562" y="2312"/>
                    <a:pt x="469" y="2249"/>
                  </a:cubicBezTo>
                  <a:cubicBezTo>
                    <a:pt x="187" y="2124"/>
                    <a:pt x="0" y="1843"/>
                    <a:pt x="0" y="1562"/>
                  </a:cubicBezTo>
                  <a:cubicBezTo>
                    <a:pt x="0" y="1437"/>
                    <a:pt x="31" y="1343"/>
                    <a:pt x="62" y="1249"/>
                  </a:cubicBezTo>
                  <a:cubicBezTo>
                    <a:pt x="187" y="938"/>
                    <a:pt x="469" y="782"/>
                    <a:pt x="781" y="782"/>
                  </a:cubicBezTo>
                  <a:lnTo>
                    <a:pt x="781" y="782"/>
                  </a:lnTo>
                  <a:cubicBezTo>
                    <a:pt x="812" y="719"/>
                    <a:pt x="812" y="657"/>
                    <a:pt x="844" y="594"/>
                  </a:cubicBezTo>
                  <a:cubicBezTo>
                    <a:pt x="1000" y="219"/>
                    <a:pt x="1375" y="0"/>
                    <a:pt x="1781" y="0"/>
                  </a:cubicBezTo>
                  <a:cubicBezTo>
                    <a:pt x="1937" y="0"/>
                    <a:pt x="2062" y="0"/>
                    <a:pt x="2187" y="63"/>
                  </a:cubicBezTo>
                  <a:cubicBezTo>
                    <a:pt x="2469" y="188"/>
                    <a:pt x="2687" y="438"/>
                    <a:pt x="2750" y="688"/>
                  </a:cubicBezTo>
                  <a:cubicBezTo>
                    <a:pt x="2843" y="657"/>
                    <a:pt x="2906" y="657"/>
                    <a:pt x="3000" y="657"/>
                  </a:cubicBezTo>
                  <a:cubicBezTo>
                    <a:pt x="3125" y="657"/>
                    <a:pt x="3219" y="688"/>
                    <a:pt x="3343" y="719"/>
                  </a:cubicBezTo>
                  <a:cubicBezTo>
                    <a:pt x="3594" y="844"/>
                    <a:pt x="3750" y="1062"/>
                    <a:pt x="3812" y="1312"/>
                  </a:cubicBezTo>
                  <a:cubicBezTo>
                    <a:pt x="3875" y="1312"/>
                    <a:pt x="3906" y="1343"/>
                    <a:pt x="3969" y="1343"/>
                  </a:cubicBezTo>
                  <a:lnTo>
                    <a:pt x="3969" y="1343"/>
                  </a:lnTo>
                  <a:lnTo>
                    <a:pt x="3969" y="1343"/>
                  </a:lnTo>
                  <a:cubicBezTo>
                    <a:pt x="4156" y="1437"/>
                    <a:pt x="4250" y="1624"/>
                    <a:pt x="4250" y="1812"/>
                  </a:cubicBezTo>
                  <a:cubicBezTo>
                    <a:pt x="4250" y="1874"/>
                    <a:pt x="4250" y="1937"/>
                    <a:pt x="4219" y="1999"/>
                  </a:cubicBezTo>
                  <a:cubicBezTo>
                    <a:pt x="4156" y="2187"/>
                    <a:pt x="4000" y="2312"/>
                    <a:pt x="3812" y="2312"/>
                  </a:cubicBezTo>
                  <a:lnTo>
                    <a:pt x="3812" y="2312"/>
                  </a:lnTo>
                  <a:lnTo>
                    <a:pt x="750" y="2312"/>
                  </a:lnTo>
                </a:path>
              </a:pathLst>
            </a:custGeom>
            <a:solidFill>
              <a:schemeClr val="tx2"/>
            </a:solidFill>
            <a:ln>
              <a:noFill/>
            </a:ln>
            <a:effectLst/>
          </p:spPr>
          <p:txBody>
            <a:bodyPr wrap="none" anchor="ctr"/>
            <a:lstStyle/>
            <a:p>
              <a:endParaRPr lang="en-US" sz="2400">
                <a:solidFill>
                  <a:prstClr val="black"/>
                </a:solidFill>
              </a:endParaRPr>
            </a:p>
          </p:txBody>
        </p:sp>
      </p:grpSp>
      <p:grpSp>
        <p:nvGrpSpPr>
          <p:cNvPr id="51" name="Group 50"/>
          <p:cNvGrpSpPr/>
          <p:nvPr/>
        </p:nvGrpSpPr>
        <p:grpSpPr>
          <a:xfrm>
            <a:off x="2673076" y="4707470"/>
            <a:ext cx="1097413" cy="1253352"/>
            <a:chOff x="6983207" y="804333"/>
            <a:chExt cx="823060" cy="940014"/>
          </a:xfrm>
        </p:grpSpPr>
        <p:grpSp>
          <p:nvGrpSpPr>
            <p:cNvPr id="840" name="Group 839"/>
            <p:cNvGrpSpPr/>
            <p:nvPr/>
          </p:nvGrpSpPr>
          <p:grpSpPr>
            <a:xfrm>
              <a:off x="7255934" y="804333"/>
              <a:ext cx="355599" cy="474132"/>
              <a:chOff x="678179" y="200025"/>
              <a:chExt cx="3074671" cy="4362450"/>
            </a:xfrm>
          </p:grpSpPr>
          <p:grpSp>
            <p:nvGrpSpPr>
              <p:cNvPr id="841" name="Group 840"/>
              <p:cNvGrpSpPr/>
              <p:nvPr/>
            </p:nvGrpSpPr>
            <p:grpSpPr>
              <a:xfrm>
                <a:off x="678179" y="200025"/>
                <a:ext cx="3074671" cy="4362450"/>
                <a:chOff x="3844141" y="677333"/>
                <a:chExt cx="2361926" cy="3293534"/>
              </a:xfrm>
            </p:grpSpPr>
            <p:sp>
              <p:nvSpPr>
                <p:cNvPr id="845" name="Oval 844"/>
                <p:cNvSpPr/>
                <p:nvPr/>
              </p:nvSpPr>
              <p:spPr>
                <a:xfrm>
                  <a:off x="4064000" y="677333"/>
                  <a:ext cx="2142067" cy="2150533"/>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46" name="Oval 845"/>
                <p:cNvSpPr/>
                <p:nvPr/>
              </p:nvSpPr>
              <p:spPr>
                <a:xfrm>
                  <a:off x="4258734" y="855132"/>
                  <a:ext cx="1744132" cy="176953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47" name="Oval 846"/>
                <p:cNvSpPr/>
                <p:nvPr/>
              </p:nvSpPr>
              <p:spPr>
                <a:xfrm>
                  <a:off x="4445001" y="1058334"/>
                  <a:ext cx="1380065" cy="1380067"/>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848" name="Group 847"/>
                <p:cNvGrpSpPr/>
                <p:nvPr/>
              </p:nvGrpSpPr>
              <p:grpSpPr>
                <a:xfrm>
                  <a:off x="3844141" y="1587133"/>
                  <a:ext cx="1447526" cy="2383734"/>
                  <a:chOff x="5930639" y="3477697"/>
                  <a:chExt cx="318597" cy="464705"/>
                </a:xfrm>
              </p:grpSpPr>
              <p:sp>
                <p:nvSpPr>
                  <p:cNvPr id="854" name="Freeform 6"/>
                  <p:cNvSpPr>
                    <a:spLocks noChangeArrowheads="1"/>
                  </p:cNvSpPr>
                  <p:nvPr/>
                </p:nvSpPr>
                <p:spPr bwMode="auto">
                  <a:xfrm>
                    <a:off x="5930639" y="3477697"/>
                    <a:ext cx="318597" cy="464705"/>
                  </a:xfrm>
                  <a:custGeom>
                    <a:avLst/>
                    <a:gdLst>
                      <a:gd name="T0" fmla="*/ 1719 w 1970"/>
                      <a:gd name="T1" fmla="*/ 2624 h 2875"/>
                      <a:gd name="T2" fmla="*/ 1719 w 1970"/>
                      <a:gd name="T3" fmla="*/ 2624 h 2875"/>
                      <a:gd name="T4" fmla="*/ 469 w 1970"/>
                      <a:gd name="T5" fmla="*/ 2624 h 2875"/>
                      <a:gd name="T6" fmla="*/ 250 w 1970"/>
                      <a:gd name="T7" fmla="*/ 2406 h 2875"/>
                      <a:gd name="T8" fmla="*/ 250 w 1970"/>
                      <a:gd name="T9" fmla="*/ 250 h 2875"/>
                      <a:gd name="T10" fmla="*/ 1500 w 1970"/>
                      <a:gd name="T11" fmla="*/ 250 h 2875"/>
                      <a:gd name="T12" fmla="*/ 1719 w 1970"/>
                      <a:gd name="T13" fmla="*/ 469 h 2875"/>
                      <a:gd name="T14" fmla="*/ 1719 w 1970"/>
                      <a:gd name="T15" fmla="*/ 2624 h 2875"/>
                      <a:gd name="T16" fmla="*/ 1531 w 1970"/>
                      <a:gd name="T17" fmla="*/ 0 h 2875"/>
                      <a:gd name="T18" fmla="*/ 1531 w 1970"/>
                      <a:gd name="T19" fmla="*/ 0 h 2875"/>
                      <a:gd name="T20" fmla="*/ 0 w 1970"/>
                      <a:gd name="T21" fmla="*/ 0 h 2875"/>
                      <a:gd name="T22" fmla="*/ 0 w 1970"/>
                      <a:gd name="T23" fmla="*/ 2437 h 2875"/>
                      <a:gd name="T24" fmla="*/ 438 w 1970"/>
                      <a:gd name="T25" fmla="*/ 2874 h 2875"/>
                      <a:gd name="T26" fmla="*/ 1969 w 1970"/>
                      <a:gd name="T27" fmla="*/ 2874 h 2875"/>
                      <a:gd name="T28" fmla="*/ 1969 w 1970"/>
                      <a:gd name="T29" fmla="*/ 407 h 2875"/>
                      <a:gd name="T30" fmla="*/ 1531 w 1970"/>
                      <a:gd name="T31" fmla="*/ 0 h 2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0" h="2875">
                        <a:moveTo>
                          <a:pt x="1719" y="2624"/>
                        </a:moveTo>
                        <a:lnTo>
                          <a:pt x="1719" y="2624"/>
                        </a:lnTo>
                        <a:cubicBezTo>
                          <a:pt x="469" y="2624"/>
                          <a:pt x="469" y="2624"/>
                          <a:pt x="469" y="2624"/>
                        </a:cubicBezTo>
                        <a:cubicBezTo>
                          <a:pt x="344" y="2624"/>
                          <a:pt x="250" y="2531"/>
                          <a:pt x="250" y="2406"/>
                        </a:cubicBezTo>
                        <a:cubicBezTo>
                          <a:pt x="250" y="2312"/>
                          <a:pt x="250" y="250"/>
                          <a:pt x="250" y="250"/>
                        </a:cubicBezTo>
                        <a:cubicBezTo>
                          <a:pt x="1500" y="250"/>
                          <a:pt x="1500" y="250"/>
                          <a:pt x="1500" y="250"/>
                        </a:cubicBezTo>
                        <a:cubicBezTo>
                          <a:pt x="1625" y="250"/>
                          <a:pt x="1719" y="344"/>
                          <a:pt x="1719" y="469"/>
                        </a:cubicBezTo>
                        <a:lnTo>
                          <a:pt x="1719" y="2624"/>
                        </a:lnTo>
                        <a:close/>
                        <a:moveTo>
                          <a:pt x="1531" y="0"/>
                        </a:moveTo>
                        <a:lnTo>
                          <a:pt x="1531" y="0"/>
                        </a:lnTo>
                        <a:cubicBezTo>
                          <a:pt x="0" y="0"/>
                          <a:pt x="0" y="0"/>
                          <a:pt x="0" y="0"/>
                        </a:cubicBezTo>
                        <a:cubicBezTo>
                          <a:pt x="0" y="2437"/>
                          <a:pt x="0" y="2437"/>
                          <a:pt x="0" y="2437"/>
                        </a:cubicBezTo>
                        <a:cubicBezTo>
                          <a:pt x="0" y="2687"/>
                          <a:pt x="156" y="2874"/>
                          <a:pt x="438" y="2874"/>
                        </a:cubicBezTo>
                        <a:cubicBezTo>
                          <a:pt x="1969" y="2874"/>
                          <a:pt x="1969" y="2874"/>
                          <a:pt x="1969" y="2874"/>
                        </a:cubicBezTo>
                        <a:cubicBezTo>
                          <a:pt x="1969" y="407"/>
                          <a:pt x="1969" y="407"/>
                          <a:pt x="1969" y="407"/>
                        </a:cubicBezTo>
                        <a:cubicBezTo>
                          <a:pt x="1969" y="157"/>
                          <a:pt x="1813" y="0"/>
                          <a:pt x="1531" y="0"/>
                        </a:cubicBezTo>
                        <a:close/>
                      </a:path>
                    </a:pathLst>
                  </a:custGeom>
                  <a:solidFill>
                    <a:schemeClr val="tx2"/>
                  </a:solidFill>
                  <a:ln w="9525" cap="flat">
                    <a:solidFill>
                      <a:schemeClr val="accent1"/>
                    </a:solidFill>
                    <a:bevel/>
                    <a:headEnd/>
                    <a:tailEnd/>
                  </a:ln>
                  <a:effectLst/>
                  <a:extLst/>
                </p:spPr>
                <p:txBody>
                  <a:bodyPr wrap="none" anchor="ctr"/>
                  <a:lstStyle/>
                  <a:p>
                    <a:endParaRPr lang="en-US" sz="2400">
                      <a:solidFill>
                        <a:prstClr val="black"/>
                      </a:solidFill>
                    </a:endParaRPr>
                  </a:p>
                </p:txBody>
              </p:sp>
              <p:sp>
                <p:nvSpPr>
                  <p:cNvPr id="855" name="Freeform 7"/>
                  <p:cNvSpPr>
                    <a:spLocks noChangeArrowheads="1"/>
                  </p:cNvSpPr>
                  <p:nvPr/>
                </p:nvSpPr>
                <p:spPr bwMode="auto">
                  <a:xfrm>
                    <a:off x="6049311" y="3846183"/>
                    <a:ext cx="81253" cy="25658"/>
                  </a:xfrm>
                  <a:custGeom>
                    <a:avLst/>
                    <a:gdLst>
                      <a:gd name="T0" fmla="*/ 0 w 501"/>
                      <a:gd name="T1" fmla="*/ 156 h 157"/>
                      <a:gd name="T2" fmla="*/ 500 w 501"/>
                      <a:gd name="T3" fmla="*/ 156 h 157"/>
                      <a:gd name="T4" fmla="*/ 500 w 501"/>
                      <a:gd name="T5" fmla="*/ 0 h 157"/>
                      <a:gd name="T6" fmla="*/ 0 w 501"/>
                      <a:gd name="T7" fmla="*/ 0 h 157"/>
                      <a:gd name="T8" fmla="*/ 0 w 501"/>
                      <a:gd name="T9" fmla="*/ 156 h 157"/>
                    </a:gdLst>
                    <a:ahLst/>
                    <a:cxnLst>
                      <a:cxn ang="0">
                        <a:pos x="T0" y="T1"/>
                      </a:cxn>
                      <a:cxn ang="0">
                        <a:pos x="T2" y="T3"/>
                      </a:cxn>
                      <a:cxn ang="0">
                        <a:pos x="T4" y="T5"/>
                      </a:cxn>
                      <a:cxn ang="0">
                        <a:pos x="T6" y="T7"/>
                      </a:cxn>
                      <a:cxn ang="0">
                        <a:pos x="T8" y="T9"/>
                      </a:cxn>
                    </a:cxnLst>
                    <a:rect l="0" t="0" r="r" b="b"/>
                    <a:pathLst>
                      <a:path w="501" h="157">
                        <a:moveTo>
                          <a:pt x="0" y="156"/>
                        </a:moveTo>
                        <a:lnTo>
                          <a:pt x="500" y="156"/>
                        </a:lnTo>
                        <a:lnTo>
                          <a:pt x="500" y="0"/>
                        </a:lnTo>
                        <a:lnTo>
                          <a:pt x="0" y="0"/>
                        </a:lnTo>
                        <a:lnTo>
                          <a:pt x="0" y="156"/>
                        </a:lnTo>
                      </a:path>
                    </a:pathLst>
                  </a:custGeom>
                  <a:solidFill>
                    <a:schemeClr val="tx2"/>
                  </a:solidFill>
                  <a:ln w="9525" cap="flat">
                    <a:solidFill>
                      <a:schemeClr val="accent1"/>
                    </a:solidFill>
                    <a:bevel/>
                    <a:headEnd/>
                    <a:tailEnd/>
                  </a:ln>
                  <a:effectLst/>
                  <a:extLst/>
                </p:spPr>
                <p:txBody>
                  <a:bodyPr wrap="none" anchor="ctr"/>
                  <a:lstStyle/>
                  <a:p>
                    <a:endParaRPr lang="en-US" sz="2400">
                      <a:solidFill>
                        <a:prstClr val="black"/>
                      </a:solidFill>
                    </a:endParaRPr>
                  </a:p>
                </p:txBody>
              </p:sp>
            </p:grpSp>
            <p:sp>
              <p:nvSpPr>
                <p:cNvPr id="849" name="Rectangle 848"/>
                <p:cNvSpPr/>
                <p:nvPr/>
              </p:nvSpPr>
              <p:spPr>
                <a:xfrm>
                  <a:off x="4055534" y="1794933"/>
                  <a:ext cx="1049866" cy="118533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50" name="Oval 849"/>
                <p:cNvSpPr/>
                <p:nvPr/>
              </p:nvSpPr>
              <p:spPr>
                <a:xfrm>
                  <a:off x="4639733" y="1253067"/>
                  <a:ext cx="982134" cy="98213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51" name="Oval 850"/>
                <p:cNvSpPr/>
                <p:nvPr/>
              </p:nvSpPr>
              <p:spPr>
                <a:xfrm>
                  <a:off x="4817534" y="1447799"/>
                  <a:ext cx="618066" cy="592667"/>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52" name="Rectangle 851"/>
                <p:cNvSpPr/>
                <p:nvPr/>
              </p:nvSpPr>
              <p:spPr>
                <a:xfrm>
                  <a:off x="3962400" y="1439333"/>
                  <a:ext cx="778933" cy="14393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53" name="Rectangle 852"/>
                <p:cNvSpPr/>
                <p:nvPr/>
              </p:nvSpPr>
              <p:spPr>
                <a:xfrm rot="16200000">
                  <a:off x="4976607" y="2436071"/>
                  <a:ext cx="778933" cy="14435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cxnSp>
            <p:nvCxnSpPr>
              <p:cNvPr id="842" name="Straight Connector 841"/>
              <p:cNvCxnSpPr>
                <a:endCxn id="854" idx="0"/>
              </p:cNvCxnSpPr>
              <p:nvPr/>
            </p:nvCxnSpPr>
            <p:spPr>
              <a:xfrm>
                <a:off x="2320044" y="2301948"/>
                <a:ext cx="2387" cy="1984875"/>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43" name="Straight Connector 842"/>
              <p:cNvCxnSpPr/>
              <p:nvPr/>
            </p:nvCxnSpPr>
            <p:spPr>
              <a:xfrm>
                <a:off x="2560944" y="2258430"/>
                <a:ext cx="2387" cy="1984875"/>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44" name="Straight Connector 843"/>
              <p:cNvCxnSpPr/>
              <p:nvPr/>
            </p:nvCxnSpPr>
            <p:spPr>
              <a:xfrm flipV="1">
                <a:off x="687704" y="1390650"/>
                <a:ext cx="1055371" cy="1445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857" name="TextBox 856"/>
            <p:cNvSpPr txBox="1"/>
            <p:nvPr/>
          </p:nvSpPr>
          <p:spPr>
            <a:xfrm>
              <a:off x="6983207" y="1305621"/>
              <a:ext cx="823060" cy="438726"/>
            </a:xfrm>
            <a:prstGeom prst="rect">
              <a:avLst/>
            </a:prstGeom>
            <a:noFill/>
          </p:spPr>
          <p:txBody>
            <a:bodyPr wrap="square" rtlCol="0">
              <a:spAutoFit/>
            </a:bodyPr>
            <a:lstStyle/>
            <a:p>
              <a:pPr algn="ctr" defTabSz="573039">
                <a:spcAft>
                  <a:spcPts val="533"/>
                </a:spcAft>
                <a:buSzPct val="100000"/>
              </a:pPr>
              <a:r>
                <a:rPr lang="ru-RU" sz="1067" dirty="0">
                  <a:cs typeface="HP Simplified" pitchFamily="34" charset="0"/>
                </a:rPr>
                <a:t>Технология </a:t>
              </a:r>
              <a:r>
                <a:rPr lang="en-US" sz="1067" dirty="0">
                  <a:cs typeface="HP Simplified" pitchFamily="34" charset="0"/>
                </a:rPr>
                <a:t>Digital Business</a:t>
              </a:r>
            </a:p>
          </p:txBody>
        </p:sp>
      </p:grpSp>
      <p:grpSp>
        <p:nvGrpSpPr>
          <p:cNvPr id="52" name="Group 51"/>
          <p:cNvGrpSpPr/>
          <p:nvPr/>
        </p:nvGrpSpPr>
        <p:grpSpPr>
          <a:xfrm>
            <a:off x="3804356" y="4672146"/>
            <a:ext cx="1456267" cy="876107"/>
            <a:chOff x="6527800" y="616974"/>
            <a:chExt cx="1092200" cy="657080"/>
          </a:xfrm>
        </p:grpSpPr>
        <p:sp>
          <p:nvSpPr>
            <p:cNvPr id="858" name="Freeform 5"/>
            <p:cNvSpPr>
              <a:spLocks noChangeAspect="1" noChangeArrowheads="1"/>
            </p:cNvSpPr>
            <p:nvPr/>
          </p:nvSpPr>
          <p:spPr bwMode="auto">
            <a:xfrm>
              <a:off x="6878543" y="616974"/>
              <a:ext cx="305120" cy="365160"/>
            </a:xfrm>
            <a:custGeom>
              <a:avLst/>
              <a:gdLst>
                <a:gd name="T0" fmla="*/ 875 w 3001"/>
                <a:gd name="T1" fmla="*/ 1062 h 3595"/>
                <a:gd name="T2" fmla="*/ 875 w 3001"/>
                <a:gd name="T3" fmla="*/ 1062 h 3595"/>
                <a:gd name="T4" fmla="*/ 1469 w 3001"/>
                <a:gd name="T5" fmla="*/ 468 h 3595"/>
                <a:gd name="T6" fmla="*/ 2094 w 3001"/>
                <a:gd name="T7" fmla="*/ 1062 h 3595"/>
                <a:gd name="T8" fmla="*/ 2094 w 3001"/>
                <a:gd name="T9" fmla="*/ 1656 h 3595"/>
                <a:gd name="T10" fmla="*/ 875 w 3001"/>
                <a:gd name="T11" fmla="*/ 1656 h 3595"/>
                <a:gd name="T12" fmla="*/ 875 w 3001"/>
                <a:gd name="T13" fmla="*/ 1062 h 3595"/>
                <a:gd name="T14" fmla="*/ 2750 w 3001"/>
                <a:gd name="T15" fmla="*/ 1656 h 3595"/>
                <a:gd name="T16" fmla="*/ 2750 w 3001"/>
                <a:gd name="T17" fmla="*/ 1656 h 3595"/>
                <a:gd name="T18" fmla="*/ 2531 w 3001"/>
                <a:gd name="T19" fmla="*/ 1656 h 3595"/>
                <a:gd name="T20" fmla="*/ 2531 w 3001"/>
                <a:gd name="T21" fmla="*/ 1062 h 3595"/>
                <a:gd name="T22" fmla="*/ 1469 w 3001"/>
                <a:gd name="T23" fmla="*/ 0 h 3595"/>
                <a:gd name="T24" fmla="*/ 406 w 3001"/>
                <a:gd name="T25" fmla="*/ 1062 h 3595"/>
                <a:gd name="T26" fmla="*/ 406 w 3001"/>
                <a:gd name="T27" fmla="*/ 1656 h 3595"/>
                <a:gd name="T28" fmla="*/ 0 w 3001"/>
                <a:gd name="T29" fmla="*/ 1656 h 3595"/>
                <a:gd name="T30" fmla="*/ 0 w 3001"/>
                <a:gd name="T31" fmla="*/ 3375 h 3595"/>
                <a:gd name="T32" fmla="*/ 219 w 3001"/>
                <a:gd name="T33" fmla="*/ 3594 h 3595"/>
                <a:gd name="T34" fmla="*/ 3000 w 3001"/>
                <a:gd name="T35" fmla="*/ 3594 h 3595"/>
                <a:gd name="T36" fmla="*/ 3000 w 3001"/>
                <a:gd name="T37" fmla="*/ 1875 h 3595"/>
                <a:gd name="T38" fmla="*/ 2750 w 3001"/>
                <a:gd name="T39" fmla="*/ 1656 h 3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01" h="3595">
                  <a:moveTo>
                    <a:pt x="875" y="1062"/>
                  </a:moveTo>
                  <a:lnTo>
                    <a:pt x="875" y="1062"/>
                  </a:lnTo>
                  <a:cubicBezTo>
                    <a:pt x="875" y="750"/>
                    <a:pt x="1125" y="468"/>
                    <a:pt x="1469" y="468"/>
                  </a:cubicBezTo>
                  <a:cubicBezTo>
                    <a:pt x="1813" y="468"/>
                    <a:pt x="2094" y="750"/>
                    <a:pt x="2094" y="1062"/>
                  </a:cubicBezTo>
                  <a:cubicBezTo>
                    <a:pt x="2094" y="1656"/>
                    <a:pt x="2094" y="1656"/>
                    <a:pt x="2094" y="1656"/>
                  </a:cubicBezTo>
                  <a:cubicBezTo>
                    <a:pt x="875" y="1656"/>
                    <a:pt x="875" y="1656"/>
                    <a:pt x="875" y="1656"/>
                  </a:cubicBezTo>
                  <a:lnTo>
                    <a:pt x="875" y="1062"/>
                  </a:lnTo>
                  <a:close/>
                  <a:moveTo>
                    <a:pt x="2750" y="1656"/>
                  </a:moveTo>
                  <a:lnTo>
                    <a:pt x="2750" y="1656"/>
                  </a:lnTo>
                  <a:cubicBezTo>
                    <a:pt x="2531" y="1656"/>
                    <a:pt x="2531" y="1656"/>
                    <a:pt x="2531" y="1656"/>
                  </a:cubicBezTo>
                  <a:cubicBezTo>
                    <a:pt x="2531" y="1062"/>
                    <a:pt x="2531" y="1062"/>
                    <a:pt x="2531" y="1062"/>
                  </a:cubicBezTo>
                  <a:cubicBezTo>
                    <a:pt x="2531" y="500"/>
                    <a:pt x="2063" y="0"/>
                    <a:pt x="1469" y="0"/>
                  </a:cubicBezTo>
                  <a:cubicBezTo>
                    <a:pt x="875" y="0"/>
                    <a:pt x="406" y="500"/>
                    <a:pt x="406" y="1062"/>
                  </a:cubicBezTo>
                  <a:cubicBezTo>
                    <a:pt x="406" y="1656"/>
                    <a:pt x="406" y="1656"/>
                    <a:pt x="406" y="1656"/>
                  </a:cubicBezTo>
                  <a:cubicBezTo>
                    <a:pt x="0" y="1656"/>
                    <a:pt x="0" y="1656"/>
                    <a:pt x="0" y="1656"/>
                  </a:cubicBezTo>
                  <a:cubicBezTo>
                    <a:pt x="0" y="3375"/>
                    <a:pt x="0" y="3375"/>
                    <a:pt x="0" y="3375"/>
                  </a:cubicBezTo>
                  <a:cubicBezTo>
                    <a:pt x="0" y="3500"/>
                    <a:pt x="94" y="3594"/>
                    <a:pt x="219" y="3594"/>
                  </a:cubicBezTo>
                  <a:cubicBezTo>
                    <a:pt x="3000" y="3594"/>
                    <a:pt x="3000" y="3594"/>
                    <a:pt x="3000" y="3594"/>
                  </a:cubicBezTo>
                  <a:cubicBezTo>
                    <a:pt x="3000" y="1875"/>
                    <a:pt x="3000" y="1875"/>
                    <a:pt x="3000" y="1875"/>
                  </a:cubicBezTo>
                  <a:cubicBezTo>
                    <a:pt x="3000" y="1750"/>
                    <a:pt x="2875" y="1656"/>
                    <a:pt x="2750" y="1656"/>
                  </a:cubicBezTo>
                  <a:close/>
                </a:path>
              </a:pathLst>
            </a:custGeom>
            <a:solidFill>
              <a:schemeClr val="accent1"/>
            </a:solidFill>
            <a:ln>
              <a:solidFill>
                <a:schemeClr val="accent1"/>
              </a:solidFill>
            </a:ln>
            <a:effectLst/>
          </p:spPr>
          <p:txBody>
            <a:bodyPr wrap="none" anchor="ctr"/>
            <a:lstStyle/>
            <a:p>
              <a:endParaRPr lang="en-US" sz="2400">
                <a:solidFill>
                  <a:prstClr val="black"/>
                </a:solidFill>
              </a:endParaRPr>
            </a:p>
          </p:txBody>
        </p:sp>
        <p:sp>
          <p:nvSpPr>
            <p:cNvPr id="859" name="TextBox 858"/>
            <p:cNvSpPr txBox="1"/>
            <p:nvPr/>
          </p:nvSpPr>
          <p:spPr>
            <a:xfrm>
              <a:off x="6527800" y="958487"/>
              <a:ext cx="1092200" cy="315567"/>
            </a:xfrm>
            <a:prstGeom prst="rect">
              <a:avLst/>
            </a:prstGeom>
            <a:noFill/>
          </p:spPr>
          <p:txBody>
            <a:bodyPr wrap="square" rtlCol="0">
              <a:spAutoFit/>
            </a:bodyPr>
            <a:lstStyle/>
            <a:p>
              <a:pPr algn="ctr" defTabSz="573039">
                <a:spcAft>
                  <a:spcPts val="533"/>
                </a:spcAft>
                <a:buSzPct val="100000"/>
              </a:pPr>
              <a:r>
                <a:rPr lang="ru-RU" sz="1067" dirty="0">
                  <a:cs typeface="HP Simplified" pitchFamily="34" charset="0"/>
                </a:rPr>
                <a:t>Информационная безопасность </a:t>
              </a:r>
              <a:endParaRPr lang="en-US" sz="1067" dirty="0">
                <a:cs typeface="HP Simplified" pitchFamily="34" charset="0"/>
              </a:endParaRPr>
            </a:p>
          </p:txBody>
        </p:sp>
      </p:grpSp>
      <p:grpSp>
        <p:nvGrpSpPr>
          <p:cNvPr id="426" name="Group 425"/>
          <p:cNvGrpSpPr/>
          <p:nvPr/>
        </p:nvGrpSpPr>
        <p:grpSpPr>
          <a:xfrm>
            <a:off x="9753600" y="2913889"/>
            <a:ext cx="2231136" cy="1975104"/>
            <a:chOff x="7401557" y="2167467"/>
            <a:chExt cx="1606978" cy="1425721"/>
          </a:xfrm>
        </p:grpSpPr>
        <p:grpSp>
          <p:nvGrpSpPr>
            <p:cNvPr id="427" name="Group 426"/>
            <p:cNvGrpSpPr/>
            <p:nvPr/>
          </p:nvGrpSpPr>
          <p:grpSpPr>
            <a:xfrm>
              <a:off x="7401557" y="2167467"/>
              <a:ext cx="1606978" cy="1425721"/>
              <a:chOff x="7401557" y="2167467"/>
              <a:chExt cx="1606978" cy="1425721"/>
            </a:xfrm>
          </p:grpSpPr>
          <p:pic>
            <p:nvPicPr>
              <p:cNvPr id="429" name="Picture 428"/>
              <p:cNvPicPr>
                <a:picLocks noChangeAspect="1"/>
              </p:cNvPicPr>
              <p:nvPr/>
            </p:nvPicPr>
            <p:blipFill>
              <a:blip r:embed="rId9" cstate="screen">
                <a:duotone>
                  <a:prstClr val="black"/>
                  <a:srgbClr val="425563">
                    <a:tint val="45000"/>
                    <a:satMod val="400000"/>
                  </a:srgbClr>
                </a:duotone>
                <a:extLst>
                  <a:ext uri="{28A0092B-C50C-407E-A947-70E740481C1C}">
                    <a14:useLocalDpi xmlns:a14="http://schemas.microsoft.com/office/drawing/2010/main"/>
                  </a:ext>
                </a:extLst>
              </a:blip>
              <a:stretch>
                <a:fillRect/>
              </a:stretch>
            </p:blipFill>
            <p:spPr>
              <a:xfrm>
                <a:off x="7401557" y="2167467"/>
                <a:ext cx="1606978" cy="1425721"/>
              </a:xfrm>
              <a:prstGeom prst="rect">
                <a:avLst/>
              </a:prstGeom>
              <a:noFill/>
              <a:ln>
                <a:noFill/>
              </a:ln>
            </p:spPr>
          </p:pic>
          <p:sp>
            <p:nvSpPr>
              <p:cNvPr id="430" name="Freeform 429"/>
              <p:cNvSpPr/>
              <p:nvPr/>
            </p:nvSpPr>
            <p:spPr>
              <a:xfrm>
                <a:off x="7696200" y="2686878"/>
                <a:ext cx="1070113" cy="374374"/>
              </a:xfrm>
              <a:custGeom>
                <a:avLst/>
                <a:gdLst>
                  <a:gd name="connsiteX0" fmla="*/ 26504 w 1066800"/>
                  <a:gd name="connsiteY0" fmla="*/ 0 h 374374"/>
                  <a:gd name="connsiteX1" fmla="*/ 0 w 1066800"/>
                  <a:gd name="connsiteY1" fmla="*/ 99392 h 374374"/>
                  <a:gd name="connsiteX2" fmla="*/ 3313 w 1066800"/>
                  <a:gd name="connsiteY2" fmla="*/ 281609 h 374374"/>
                  <a:gd name="connsiteX3" fmla="*/ 3313 w 1066800"/>
                  <a:gd name="connsiteY3" fmla="*/ 314739 h 374374"/>
                  <a:gd name="connsiteX4" fmla="*/ 56322 w 1066800"/>
                  <a:gd name="connsiteY4" fmla="*/ 361122 h 374374"/>
                  <a:gd name="connsiteX5" fmla="*/ 1010478 w 1066800"/>
                  <a:gd name="connsiteY5" fmla="*/ 374374 h 374374"/>
                  <a:gd name="connsiteX6" fmla="*/ 1066800 w 1066800"/>
                  <a:gd name="connsiteY6" fmla="*/ 205409 h 374374"/>
                  <a:gd name="connsiteX7" fmla="*/ 977348 w 1066800"/>
                  <a:gd name="connsiteY7" fmla="*/ 205409 h 374374"/>
                  <a:gd name="connsiteX8" fmla="*/ 1066800 w 1066800"/>
                  <a:gd name="connsiteY8" fmla="*/ 119270 h 374374"/>
                  <a:gd name="connsiteX9" fmla="*/ 1013791 w 1066800"/>
                  <a:gd name="connsiteY9" fmla="*/ 13252 h 374374"/>
                  <a:gd name="connsiteX10" fmla="*/ 26504 w 1066800"/>
                  <a:gd name="connsiteY10" fmla="*/ 0 h 374374"/>
                  <a:gd name="connsiteX0" fmla="*/ 26504 w 1066800"/>
                  <a:gd name="connsiteY0" fmla="*/ 0 h 374374"/>
                  <a:gd name="connsiteX1" fmla="*/ 0 w 1066800"/>
                  <a:gd name="connsiteY1" fmla="*/ 99392 h 374374"/>
                  <a:gd name="connsiteX2" fmla="*/ 3313 w 1066800"/>
                  <a:gd name="connsiteY2" fmla="*/ 281609 h 374374"/>
                  <a:gd name="connsiteX3" fmla="*/ 3313 w 1066800"/>
                  <a:gd name="connsiteY3" fmla="*/ 314739 h 374374"/>
                  <a:gd name="connsiteX4" fmla="*/ 46383 w 1066800"/>
                  <a:gd name="connsiteY4" fmla="*/ 367748 h 374374"/>
                  <a:gd name="connsiteX5" fmla="*/ 1010478 w 1066800"/>
                  <a:gd name="connsiteY5" fmla="*/ 374374 h 374374"/>
                  <a:gd name="connsiteX6" fmla="*/ 1066800 w 1066800"/>
                  <a:gd name="connsiteY6" fmla="*/ 205409 h 374374"/>
                  <a:gd name="connsiteX7" fmla="*/ 977348 w 1066800"/>
                  <a:gd name="connsiteY7" fmla="*/ 205409 h 374374"/>
                  <a:gd name="connsiteX8" fmla="*/ 1066800 w 1066800"/>
                  <a:gd name="connsiteY8" fmla="*/ 119270 h 374374"/>
                  <a:gd name="connsiteX9" fmla="*/ 1013791 w 1066800"/>
                  <a:gd name="connsiteY9" fmla="*/ 13252 h 374374"/>
                  <a:gd name="connsiteX10" fmla="*/ 26504 w 1066800"/>
                  <a:gd name="connsiteY10" fmla="*/ 0 h 374374"/>
                  <a:gd name="connsiteX0" fmla="*/ 26504 w 1066800"/>
                  <a:gd name="connsiteY0" fmla="*/ 0 h 374374"/>
                  <a:gd name="connsiteX1" fmla="*/ 0 w 1066800"/>
                  <a:gd name="connsiteY1" fmla="*/ 99392 h 374374"/>
                  <a:gd name="connsiteX2" fmla="*/ 3313 w 1066800"/>
                  <a:gd name="connsiteY2" fmla="*/ 281609 h 374374"/>
                  <a:gd name="connsiteX3" fmla="*/ 3313 w 1066800"/>
                  <a:gd name="connsiteY3" fmla="*/ 324679 h 374374"/>
                  <a:gd name="connsiteX4" fmla="*/ 46383 w 1066800"/>
                  <a:gd name="connsiteY4" fmla="*/ 367748 h 374374"/>
                  <a:gd name="connsiteX5" fmla="*/ 1010478 w 1066800"/>
                  <a:gd name="connsiteY5" fmla="*/ 374374 h 374374"/>
                  <a:gd name="connsiteX6" fmla="*/ 1066800 w 1066800"/>
                  <a:gd name="connsiteY6" fmla="*/ 205409 h 374374"/>
                  <a:gd name="connsiteX7" fmla="*/ 977348 w 1066800"/>
                  <a:gd name="connsiteY7" fmla="*/ 205409 h 374374"/>
                  <a:gd name="connsiteX8" fmla="*/ 1066800 w 1066800"/>
                  <a:gd name="connsiteY8" fmla="*/ 119270 h 374374"/>
                  <a:gd name="connsiteX9" fmla="*/ 1013791 w 1066800"/>
                  <a:gd name="connsiteY9" fmla="*/ 13252 h 374374"/>
                  <a:gd name="connsiteX10" fmla="*/ 26504 w 1066800"/>
                  <a:gd name="connsiteY10" fmla="*/ 0 h 374374"/>
                  <a:gd name="connsiteX0" fmla="*/ 16565 w 1066800"/>
                  <a:gd name="connsiteY0" fmla="*/ 0 h 374374"/>
                  <a:gd name="connsiteX1" fmla="*/ 0 w 1066800"/>
                  <a:gd name="connsiteY1" fmla="*/ 99392 h 374374"/>
                  <a:gd name="connsiteX2" fmla="*/ 3313 w 1066800"/>
                  <a:gd name="connsiteY2" fmla="*/ 281609 h 374374"/>
                  <a:gd name="connsiteX3" fmla="*/ 3313 w 1066800"/>
                  <a:gd name="connsiteY3" fmla="*/ 324679 h 374374"/>
                  <a:gd name="connsiteX4" fmla="*/ 46383 w 1066800"/>
                  <a:gd name="connsiteY4" fmla="*/ 367748 h 374374"/>
                  <a:gd name="connsiteX5" fmla="*/ 1010478 w 1066800"/>
                  <a:gd name="connsiteY5" fmla="*/ 374374 h 374374"/>
                  <a:gd name="connsiteX6" fmla="*/ 1066800 w 1066800"/>
                  <a:gd name="connsiteY6" fmla="*/ 205409 h 374374"/>
                  <a:gd name="connsiteX7" fmla="*/ 977348 w 1066800"/>
                  <a:gd name="connsiteY7" fmla="*/ 205409 h 374374"/>
                  <a:gd name="connsiteX8" fmla="*/ 1066800 w 1066800"/>
                  <a:gd name="connsiteY8" fmla="*/ 119270 h 374374"/>
                  <a:gd name="connsiteX9" fmla="*/ 1013791 w 1066800"/>
                  <a:gd name="connsiteY9" fmla="*/ 13252 h 374374"/>
                  <a:gd name="connsiteX10" fmla="*/ 16565 w 1066800"/>
                  <a:gd name="connsiteY10" fmla="*/ 0 h 374374"/>
                  <a:gd name="connsiteX0" fmla="*/ 29817 w 1080052"/>
                  <a:gd name="connsiteY0" fmla="*/ 0 h 374374"/>
                  <a:gd name="connsiteX1" fmla="*/ 0 w 1080052"/>
                  <a:gd name="connsiteY1" fmla="*/ 89452 h 374374"/>
                  <a:gd name="connsiteX2" fmla="*/ 16565 w 1080052"/>
                  <a:gd name="connsiteY2" fmla="*/ 281609 h 374374"/>
                  <a:gd name="connsiteX3" fmla="*/ 16565 w 1080052"/>
                  <a:gd name="connsiteY3" fmla="*/ 324679 h 374374"/>
                  <a:gd name="connsiteX4" fmla="*/ 59635 w 1080052"/>
                  <a:gd name="connsiteY4" fmla="*/ 367748 h 374374"/>
                  <a:gd name="connsiteX5" fmla="*/ 1023730 w 1080052"/>
                  <a:gd name="connsiteY5" fmla="*/ 374374 h 374374"/>
                  <a:gd name="connsiteX6" fmla="*/ 1080052 w 1080052"/>
                  <a:gd name="connsiteY6" fmla="*/ 205409 h 374374"/>
                  <a:gd name="connsiteX7" fmla="*/ 990600 w 1080052"/>
                  <a:gd name="connsiteY7" fmla="*/ 205409 h 374374"/>
                  <a:gd name="connsiteX8" fmla="*/ 1080052 w 1080052"/>
                  <a:gd name="connsiteY8" fmla="*/ 119270 h 374374"/>
                  <a:gd name="connsiteX9" fmla="*/ 1027043 w 1080052"/>
                  <a:gd name="connsiteY9" fmla="*/ 13252 h 374374"/>
                  <a:gd name="connsiteX10" fmla="*/ 29817 w 1080052"/>
                  <a:gd name="connsiteY10" fmla="*/ 0 h 374374"/>
                  <a:gd name="connsiteX0" fmla="*/ 19878 w 1070113"/>
                  <a:gd name="connsiteY0" fmla="*/ 0 h 374374"/>
                  <a:gd name="connsiteX1" fmla="*/ 0 w 1070113"/>
                  <a:gd name="connsiteY1" fmla="*/ 89452 h 374374"/>
                  <a:gd name="connsiteX2" fmla="*/ 6626 w 1070113"/>
                  <a:gd name="connsiteY2" fmla="*/ 281609 h 374374"/>
                  <a:gd name="connsiteX3" fmla="*/ 6626 w 1070113"/>
                  <a:gd name="connsiteY3" fmla="*/ 324679 h 374374"/>
                  <a:gd name="connsiteX4" fmla="*/ 49696 w 1070113"/>
                  <a:gd name="connsiteY4" fmla="*/ 367748 h 374374"/>
                  <a:gd name="connsiteX5" fmla="*/ 1013791 w 1070113"/>
                  <a:gd name="connsiteY5" fmla="*/ 374374 h 374374"/>
                  <a:gd name="connsiteX6" fmla="*/ 1070113 w 1070113"/>
                  <a:gd name="connsiteY6" fmla="*/ 205409 h 374374"/>
                  <a:gd name="connsiteX7" fmla="*/ 980661 w 1070113"/>
                  <a:gd name="connsiteY7" fmla="*/ 205409 h 374374"/>
                  <a:gd name="connsiteX8" fmla="*/ 1070113 w 1070113"/>
                  <a:gd name="connsiteY8" fmla="*/ 119270 h 374374"/>
                  <a:gd name="connsiteX9" fmla="*/ 1017104 w 1070113"/>
                  <a:gd name="connsiteY9" fmla="*/ 13252 h 374374"/>
                  <a:gd name="connsiteX10" fmla="*/ 19878 w 1070113"/>
                  <a:gd name="connsiteY10" fmla="*/ 0 h 374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0113" h="374374">
                    <a:moveTo>
                      <a:pt x="19878" y="0"/>
                    </a:moveTo>
                    <a:lnTo>
                      <a:pt x="0" y="89452"/>
                    </a:lnTo>
                    <a:cubicBezTo>
                      <a:pt x="1104" y="150191"/>
                      <a:pt x="5522" y="220870"/>
                      <a:pt x="6626" y="281609"/>
                    </a:cubicBezTo>
                    <a:lnTo>
                      <a:pt x="6626" y="324679"/>
                    </a:lnTo>
                    <a:lnTo>
                      <a:pt x="49696" y="367748"/>
                    </a:lnTo>
                    <a:lnTo>
                      <a:pt x="1013791" y="374374"/>
                    </a:lnTo>
                    <a:lnTo>
                      <a:pt x="1070113" y="205409"/>
                    </a:lnTo>
                    <a:lnTo>
                      <a:pt x="980661" y="205409"/>
                    </a:lnTo>
                    <a:lnTo>
                      <a:pt x="1070113" y="119270"/>
                    </a:lnTo>
                    <a:lnTo>
                      <a:pt x="1017104" y="13252"/>
                    </a:lnTo>
                    <a:lnTo>
                      <a:pt x="19878" y="0"/>
                    </a:lnTo>
                    <a:close/>
                  </a:path>
                </a:pathLst>
              </a:custGeom>
              <a:solidFill>
                <a:srgbClr val="425563"/>
              </a:solidFill>
              <a:ln w="9525" cap="flat" cmpd="sng" algn="ctr">
                <a:noFill/>
                <a:prstDash val="solid"/>
              </a:ln>
              <a:effectLst/>
            </p:spPr>
            <p:txBody>
              <a:bodyPr rtlCol="0" anchor="ctr"/>
              <a:lstStyle/>
              <a:p>
                <a:pPr marL="0" marR="0" lvl="0" indent="0" algn="ctr" defTabSz="45716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ea typeface="+mn-ea"/>
                  <a:cs typeface="+mn-cs"/>
                </a:endParaRPr>
              </a:p>
            </p:txBody>
          </p:sp>
        </p:grpSp>
        <p:sp>
          <p:nvSpPr>
            <p:cNvPr id="428" name="TextBox 427"/>
            <p:cNvSpPr txBox="1"/>
            <p:nvPr/>
          </p:nvSpPr>
          <p:spPr>
            <a:xfrm>
              <a:off x="7561362" y="2642603"/>
              <a:ext cx="1388533" cy="422118"/>
            </a:xfrm>
            <a:prstGeom prst="rect">
              <a:avLst/>
            </a:prstGeom>
            <a:noFill/>
          </p:spPr>
          <p:txBody>
            <a:bodyPr wrap="square" rtlCol="0">
              <a:spAutoFit/>
            </a:bodyPr>
            <a:lstStyle/>
            <a:p>
              <a:pPr marL="0" marR="0" lvl="0" indent="0" algn="ctr" defTabSz="430177" eaLnBrk="1" fontAlgn="auto" latinLnBrk="0" hangingPunct="1">
                <a:lnSpc>
                  <a:spcPct val="100000"/>
                </a:lnSpc>
                <a:spcBef>
                  <a:spcPts val="0"/>
                </a:spcBef>
                <a:spcAft>
                  <a:spcPts val="400"/>
                </a:spcAft>
                <a:buClrTx/>
                <a:buSzPct val="100000"/>
                <a:buFontTx/>
                <a:buNone/>
                <a:tabLst/>
                <a:defRPr/>
              </a:pPr>
              <a:r>
                <a:rPr kumimoji="0" lang="ru-RU" sz="1600" b="0" i="0" u="none" strike="noStrike" kern="0" cap="none" spc="0" normalizeH="0" baseline="0" noProof="0" dirty="0">
                  <a:ln>
                    <a:noFill/>
                  </a:ln>
                  <a:solidFill>
                    <a:prstClr val="white"/>
                  </a:solidFill>
                  <a:effectLst/>
                  <a:uLnTx/>
                  <a:uFillTx/>
                  <a:cs typeface="HP Simplified" pitchFamily="34" charset="0"/>
                </a:rPr>
                <a:t>Конвергентная инфраструктура</a:t>
              </a:r>
              <a:endParaRPr kumimoji="0" lang="en-US" sz="1600" b="0" i="0" u="none" strike="noStrike" kern="0" cap="none" spc="0" normalizeH="0" baseline="0" noProof="0" dirty="0">
                <a:ln>
                  <a:noFill/>
                </a:ln>
                <a:solidFill>
                  <a:prstClr val="white"/>
                </a:solidFill>
                <a:effectLst/>
                <a:uLnTx/>
                <a:uFillTx/>
                <a:cs typeface="HP Simplified" pitchFamily="34" charset="0"/>
              </a:endParaRPr>
            </a:p>
          </p:txBody>
        </p:sp>
      </p:grpSp>
    </p:spTree>
    <p:extLst>
      <p:ext uri="{BB962C8B-B14F-4D97-AF65-F5344CB8AC3E}">
        <p14:creationId xmlns:p14="http://schemas.microsoft.com/office/powerpoint/2010/main" val="18993478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6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5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863"/>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4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9280" y="472821"/>
            <a:ext cx="11514667" cy="1154137"/>
          </a:xfrm>
        </p:spPr>
        <p:txBody>
          <a:bodyPr/>
          <a:lstStyle/>
          <a:p>
            <a:r>
              <a:rPr lang="ru-RU" dirty="0">
                <a:latin typeface="+mj-lt"/>
              </a:rPr>
              <a:t>Особенность 2</a:t>
            </a:r>
            <a:r>
              <a:rPr lang="ru-RU" dirty="0" smtClean="0">
                <a:latin typeface="+mj-lt"/>
              </a:rPr>
              <a:t>: </a:t>
            </a:r>
            <a:r>
              <a:rPr lang="ru-RU" sz="2400" dirty="0" smtClean="0">
                <a:latin typeface="+mj-lt"/>
              </a:rPr>
              <a:t>ЦОД </a:t>
            </a:r>
            <a:r>
              <a:rPr lang="ru-RU" sz="2400" dirty="0">
                <a:latin typeface="+mj-lt"/>
              </a:rPr>
              <a:t>должен быть программно-определяемым</a:t>
            </a:r>
            <a:endParaRPr lang="en-US" dirty="0">
              <a:latin typeface="+mj-lt"/>
            </a:endParaRPr>
          </a:p>
        </p:txBody>
      </p:sp>
      <p:grpSp>
        <p:nvGrpSpPr>
          <p:cNvPr id="2" name="Group 1"/>
          <p:cNvGrpSpPr/>
          <p:nvPr/>
        </p:nvGrpSpPr>
        <p:grpSpPr>
          <a:xfrm>
            <a:off x="238460" y="1954097"/>
            <a:ext cx="3692897" cy="3769375"/>
            <a:chOff x="235993" y="1465570"/>
            <a:chExt cx="2769673" cy="2827031"/>
          </a:xfrm>
        </p:grpSpPr>
        <p:pic>
          <p:nvPicPr>
            <p:cNvPr id="6" name="Picture 2" descr="http://www.vmstarter.nl/wp-content/uploads/2013/03/image.png"/>
            <p:cNvPicPr>
              <a:picLocks noChangeAspect="1" noChangeArrowheads="1"/>
            </p:cNvPicPr>
            <p:nvPr/>
          </p:nvPicPr>
          <p:blipFill rotWithShape="1">
            <a:blip r:embed="rId2">
              <a:extLst>
                <a:ext uri="{28A0092B-C50C-407E-A947-70E740481C1C}">
                  <a14:useLocalDpi xmlns:a14="http://schemas.microsoft.com/office/drawing/2010/main" val="0"/>
                </a:ext>
              </a:extLst>
            </a:blip>
            <a:srcRect b="35243"/>
            <a:stretch/>
          </p:blipFill>
          <p:spPr bwMode="auto">
            <a:xfrm>
              <a:off x="677333" y="1465570"/>
              <a:ext cx="1768829" cy="1827964"/>
            </a:xfrm>
            <a:prstGeom prst="rect">
              <a:avLst/>
            </a:prstGeom>
            <a:noFill/>
            <a:extLst>
              <a:ext uri="{909E8E84-426E-40DD-AFC4-6F175D3DCCD1}">
                <a14:hiddenFill xmlns:a14="http://schemas.microsoft.com/office/drawing/2010/main">
                  <a:solidFill>
                    <a:srgbClr val="FFFFFF"/>
                  </a:solidFill>
                </a14:hiddenFill>
              </a:ext>
            </a:extLst>
          </p:spPr>
        </p:pic>
        <p:sp>
          <p:nvSpPr>
            <p:cNvPr id="8" name="Rounded Rectangle 7"/>
            <p:cNvSpPr/>
            <p:nvPr/>
          </p:nvSpPr>
          <p:spPr>
            <a:xfrm>
              <a:off x="235993" y="3420535"/>
              <a:ext cx="2769673" cy="872066"/>
            </a:xfrm>
            <a:prstGeom prst="roundRect">
              <a:avLst/>
            </a:prstGeom>
            <a:solidFill>
              <a:srgbClr val="425563"/>
            </a:solidFill>
            <a:ln w="38100" cap="flat" cmpd="sng" algn="ctr">
              <a:noFill/>
              <a:prstDash val="solid"/>
              <a:headEnd/>
              <a:tailEnd/>
            </a:ln>
            <a:effectLst>
              <a:outerShdw blurRad="40000" dist="20000" dir="5400000" rotWithShape="0">
                <a:srgbClr val="000000">
                  <a:alpha val="38000"/>
                </a:srgbClr>
              </a:outerShdw>
            </a:effectLst>
          </p:spPr>
          <p:txBody>
            <a:bodyPr rot="0" spcFirstLastPara="0" vertOverflow="overflow" horzOverflow="overflow" vert="horz" wrap="square" lIns="91452" tIns="73161" rIns="91452" bIns="45727" numCol="1" spcCol="0" rtlCol="0" fromWordArt="0" anchor="t" anchorCtr="0" forceAA="0" compatLnSpc="1">
              <a:prstTxWarp prst="textNoShape">
                <a:avLst/>
              </a:prstTxWarp>
              <a:noAutofit/>
            </a:bodyPr>
            <a:lstStyle/>
            <a:p>
              <a:pPr algn="ctr" defTabSz="457210">
                <a:lnSpc>
                  <a:spcPct val="120000"/>
                </a:lnSpc>
                <a:spcAft>
                  <a:spcPts val="140"/>
                </a:spcAft>
                <a:defRPr/>
              </a:pPr>
              <a:r>
                <a:rPr lang="ru-RU" sz="2133" kern="0" dirty="0">
                  <a:solidFill>
                    <a:prstClr val="white"/>
                  </a:solidFill>
                </a:rPr>
                <a:t>вся ИТ-инфраструктура </a:t>
              </a:r>
              <a:r>
                <a:rPr lang="ru-RU" sz="2133" kern="0" dirty="0" err="1">
                  <a:solidFill>
                    <a:prstClr val="white"/>
                  </a:solidFill>
                </a:rPr>
                <a:t>виртуализована</a:t>
              </a:r>
              <a:r>
                <a:rPr lang="ru-RU" sz="2133" kern="0" dirty="0">
                  <a:solidFill>
                    <a:prstClr val="white"/>
                  </a:solidFill>
                </a:rPr>
                <a:t>;</a:t>
              </a:r>
            </a:p>
          </p:txBody>
        </p:sp>
      </p:grpSp>
      <p:grpSp>
        <p:nvGrpSpPr>
          <p:cNvPr id="11" name="Group 10"/>
          <p:cNvGrpSpPr/>
          <p:nvPr/>
        </p:nvGrpSpPr>
        <p:grpSpPr>
          <a:xfrm>
            <a:off x="4130304" y="2077158"/>
            <a:ext cx="3692897" cy="3646313"/>
            <a:chOff x="3173926" y="1557866"/>
            <a:chExt cx="2769673" cy="2734735"/>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68685" y="1557866"/>
              <a:ext cx="1976974" cy="1667933"/>
            </a:xfrm>
            <a:prstGeom prst="rect">
              <a:avLst/>
            </a:prstGeom>
          </p:spPr>
        </p:pic>
        <p:sp>
          <p:nvSpPr>
            <p:cNvPr id="9" name="Rounded Rectangle 8"/>
            <p:cNvSpPr/>
            <p:nvPr/>
          </p:nvSpPr>
          <p:spPr>
            <a:xfrm>
              <a:off x="3173926" y="3420535"/>
              <a:ext cx="2769673" cy="872066"/>
            </a:xfrm>
            <a:prstGeom prst="roundRect">
              <a:avLst/>
            </a:prstGeom>
            <a:solidFill>
              <a:srgbClr val="425563"/>
            </a:solidFill>
            <a:ln w="38100" cap="flat" cmpd="sng" algn="ctr">
              <a:noFill/>
              <a:prstDash val="solid"/>
              <a:headEnd/>
              <a:tailEnd/>
            </a:ln>
            <a:effectLst>
              <a:outerShdw blurRad="40000" dist="20000" dir="5400000" rotWithShape="0">
                <a:srgbClr val="000000">
                  <a:alpha val="38000"/>
                </a:srgbClr>
              </a:outerShdw>
            </a:effectLst>
          </p:spPr>
          <p:txBody>
            <a:bodyPr rot="0" spcFirstLastPara="0" vertOverflow="overflow" horzOverflow="overflow" vert="horz" wrap="square" lIns="91452" tIns="73161" rIns="91452" bIns="45727" numCol="1" spcCol="0" rtlCol="0" fromWordArt="0" anchor="t" anchorCtr="0" forceAA="0" compatLnSpc="1">
              <a:prstTxWarp prst="textNoShape">
                <a:avLst/>
              </a:prstTxWarp>
              <a:noAutofit/>
            </a:bodyPr>
            <a:lstStyle/>
            <a:p>
              <a:pPr algn="ctr" defTabSz="457210">
                <a:lnSpc>
                  <a:spcPct val="120000"/>
                </a:lnSpc>
                <a:spcAft>
                  <a:spcPts val="140"/>
                </a:spcAft>
                <a:defRPr/>
              </a:pPr>
              <a:r>
                <a:rPr lang="ru-RU" sz="2133" kern="0" dirty="0">
                  <a:solidFill>
                    <a:prstClr val="white"/>
                  </a:solidFill>
                </a:rPr>
                <a:t>вся ИТ-инфраструктура доставляется как сервис</a:t>
              </a:r>
              <a:r>
                <a:rPr lang="en-US" sz="2133" kern="0" dirty="0">
                  <a:solidFill>
                    <a:prstClr val="white"/>
                  </a:solidFill>
                </a:rPr>
                <a:t>;</a:t>
              </a:r>
              <a:endParaRPr lang="ru-RU" sz="2133" kern="0" dirty="0">
                <a:solidFill>
                  <a:prstClr val="white"/>
                </a:solidFill>
              </a:endParaRPr>
            </a:p>
          </p:txBody>
        </p:sp>
      </p:grpSp>
      <p:grpSp>
        <p:nvGrpSpPr>
          <p:cNvPr id="19" name="Group 18"/>
          <p:cNvGrpSpPr/>
          <p:nvPr/>
        </p:nvGrpSpPr>
        <p:grpSpPr>
          <a:xfrm>
            <a:off x="8015111" y="2223912"/>
            <a:ext cx="4007556" cy="3499557"/>
            <a:chOff x="6111860" y="1667933"/>
            <a:chExt cx="2769673" cy="2624668"/>
          </a:xfrm>
        </p:grpSpPr>
        <p:grpSp>
          <p:nvGrpSpPr>
            <p:cNvPr id="12" name="Group 11"/>
            <p:cNvGrpSpPr/>
            <p:nvPr/>
          </p:nvGrpSpPr>
          <p:grpSpPr>
            <a:xfrm>
              <a:off x="6111860" y="1667933"/>
              <a:ext cx="2769673" cy="2624668"/>
              <a:chOff x="6111860" y="1667933"/>
              <a:chExt cx="2769673" cy="2624668"/>
            </a:xfrm>
          </p:grpSpPr>
          <p:pic>
            <p:nvPicPr>
              <p:cNvPr id="5" name="Picture 2" descr="http://www.hp.com/rnd/images/dia_faq_2224top2.jpg"/>
              <p:cNvPicPr>
                <a:picLocks noChangeAspect="1" noChangeArrowheads="1"/>
              </p:cNvPicPr>
              <p:nvPr/>
            </p:nvPicPr>
            <p:blipFill>
              <a:blip r:embed="rId4" cstate="print"/>
              <a:srcRect/>
              <a:stretch>
                <a:fillRect/>
              </a:stretch>
            </p:blipFill>
            <p:spPr bwMode="auto">
              <a:xfrm>
                <a:off x="6542294" y="1667933"/>
                <a:ext cx="1825290" cy="1557867"/>
              </a:xfrm>
              <a:prstGeom prst="rect">
                <a:avLst/>
              </a:prstGeom>
              <a:noFill/>
              <a:ln w="9525">
                <a:noFill/>
                <a:miter lim="800000"/>
                <a:headEnd/>
                <a:tailEnd/>
              </a:ln>
            </p:spPr>
          </p:pic>
          <p:sp>
            <p:nvSpPr>
              <p:cNvPr id="10" name="Rounded Rectangle 9"/>
              <p:cNvSpPr/>
              <p:nvPr/>
            </p:nvSpPr>
            <p:spPr>
              <a:xfrm>
                <a:off x="6111860" y="3420535"/>
                <a:ext cx="2769673" cy="872066"/>
              </a:xfrm>
              <a:prstGeom prst="roundRect">
                <a:avLst/>
              </a:prstGeom>
              <a:solidFill>
                <a:srgbClr val="425563"/>
              </a:solidFill>
              <a:ln w="38100" cap="flat" cmpd="sng" algn="ctr">
                <a:noFill/>
                <a:prstDash val="solid"/>
                <a:headEnd/>
                <a:tailEnd/>
              </a:ln>
              <a:effectLst>
                <a:outerShdw blurRad="40000" dist="20000" dir="5400000" rotWithShape="0">
                  <a:srgbClr val="000000">
                    <a:alpha val="38000"/>
                  </a:srgbClr>
                </a:outerShdw>
              </a:effectLst>
            </p:spPr>
            <p:txBody>
              <a:bodyPr rot="0" spcFirstLastPara="0" vertOverflow="overflow" horzOverflow="overflow" vert="horz" wrap="square" lIns="91452" tIns="73161" rIns="91452" bIns="45727" numCol="1" spcCol="0" rtlCol="0" fromWordArt="0" anchor="t" anchorCtr="0" forceAA="0" compatLnSpc="1">
                <a:prstTxWarp prst="textNoShape">
                  <a:avLst/>
                </a:prstTxWarp>
                <a:noAutofit/>
              </a:bodyPr>
              <a:lstStyle/>
              <a:p>
                <a:pPr algn="ctr" defTabSz="457210">
                  <a:lnSpc>
                    <a:spcPct val="120000"/>
                  </a:lnSpc>
                  <a:spcAft>
                    <a:spcPts val="140"/>
                  </a:spcAft>
                  <a:defRPr/>
                </a:pPr>
                <a:r>
                  <a:rPr lang="ru-RU" sz="2133" kern="0" dirty="0">
                    <a:solidFill>
                      <a:prstClr val="white"/>
                    </a:solidFill>
                  </a:rPr>
                  <a:t>управление ресурсами ЦОД выполняется </a:t>
                </a:r>
                <a:r>
                  <a:rPr lang="ru-RU" sz="2133" kern="0" dirty="0" err="1">
                    <a:solidFill>
                      <a:prstClr val="white"/>
                    </a:solidFill>
                  </a:rPr>
                  <a:t>программно</a:t>
                </a:r>
                <a:r>
                  <a:rPr lang="ru-RU" sz="2133" kern="0" dirty="0">
                    <a:solidFill>
                      <a:prstClr val="white"/>
                    </a:solidFill>
                  </a:rPr>
                  <a:t>;</a:t>
                </a:r>
              </a:p>
            </p:txBody>
          </p:sp>
        </p:grpSp>
        <p:cxnSp>
          <p:nvCxnSpPr>
            <p:cNvPr id="13" name="Straight Connector 12"/>
            <p:cNvCxnSpPr/>
            <p:nvPr/>
          </p:nvCxnSpPr>
          <p:spPr>
            <a:xfrm>
              <a:off x="6640286" y="2432956"/>
              <a:ext cx="299357" cy="23948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4790010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6400" y="472821"/>
            <a:ext cx="11514667" cy="1154137"/>
          </a:xfrm>
        </p:spPr>
        <p:txBody>
          <a:bodyPr/>
          <a:lstStyle/>
          <a:p>
            <a:r>
              <a:rPr lang="ru-RU" dirty="0">
                <a:latin typeface="+mj-lt"/>
              </a:rPr>
              <a:t>Особенность 3:</a:t>
            </a:r>
            <a:r>
              <a:rPr lang="ru-RU" sz="2400" dirty="0">
                <a:latin typeface="+mj-lt"/>
              </a:rPr>
              <a:t/>
            </a:r>
            <a:br>
              <a:rPr lang="ru-RU" sz="2400" dirty="0">
                <a:latin typeface="+mj-lt"/>
              </a:rPr>
            </a:br>
            <a:r>
              <a:rPr lang="ru-RU" sz="2400" dirty="0">
                <a:latin typeface="+mj-lt"/>
              </a:rPr>
              <a:t>В основе реализации лежат облачные технологии / концепции</a:t>
            </a:r>
            <a:endParaRPr lang="en-US" sz="2400" dirty="0">
              <a:latin typeface="+mj-lt"/>
            </a:endParaRPr>
          </a:p>
        </p:txBody>
      </p:sp>
      <p:grpSp>
        <p:nvGrpSpPr>
          <p:cNvPr id="15" name="Group 14"/>
          <p:cNvGrpSpPr/>
          <p:nvPr/>
        </p:nvGrpSpPr>
        <p:grpSpPr>
          <a:xfrm>
            <a:off x="6993533" y="2304289"/>
            <a:ext cx="4679180" cy="835376"/>
            <a:chOff x="5245147" y="1524001"/>
            <a:chExt cx="3509385" cy="626532"/>
          </a:xfrm>
        </p:grpSpPr>
        <p:sp>
          <p:nvSpPr>
            <p:cNvPr id="56" name="Right Arrow 55"/>
            <p:cNvSpPr/>
            <p:nvPr/>
          </p:nvSpPr>
          <p:spPr>
            <a:xfrm flipH="1">
              <a:off x="5245147" y="1708415"/>
              <a:ext cx="400050" cy="254692"/>
            </a:xfrm>
            <a:prstGeom prst="rightArrow">
              <a:avLst/>
            </a:prstGeom>
            <a:solidFill>
              <a:srgbClr val="B9B8BB"/>
            </a:solidFill>
            <a:ln w="9525" cap="flat" cmpd="sng" algn="ctr">
              <a:noFill/>
              <a:prstDash val="solid"/>
            </a:ln>
            <a:effectLst/>
          </p:spPr>
          <p:txBody>
            <a:bodyPr rtlCol="0" anchor="ctr"/>
            <a:lstStyle/>
            <a:p>
              <a:pPr algn="ctr" defTabSz="1219068">
                <a:defRPr/>
              </a:pPr>
              <a:endParaRPr lang="en-US" sz="2400" kern="0">
                <a:solidFill>
                  <a:prstClr val="white"/>
                </a:solidFill>
              </a:endParaRPr>
            </a:p>
          </p:txBody>
        </p:sp>
        <p:grpSp>
          <p:nvGrpSpPr>
            <p:cNvPr id="63" name="Group 58"/>
            <p:cNvGrpSpPr/>
            <p:nvPr/>
          </p:nvGrpSpPr>
          <p:grpSpPr>
            <a:xfrm>
              <a:off x="5638603" y="1592245"/>
              <a:ext cx="652130" cy="473622"/>
              <a:chOff x="4910651" y="1918800"/>
              <a:chExt cx="652130" cy="473622"/>
            </a:xfrm>
          </p:grpSpPr>
          <p:sp>
            <p:nvSpPr>
              <p:cNvPr id="64" name="Rectangle 63"/>
              <p:cNvSpPr/>
              <p:nvPr/>
            </p:nvSpPr>
            <p:spPr>
              <a:xfrm>
                <a:off x="4910847" y="1990724"/>
                <a:ext cx="651934" cy="214313"/>
              </a:xfrm>
              <a:prstGeom prst="rect">
                <a:avLst/>
              </a:prstGeom>
              <a:noFill/>
              <a:ln w="9525" cap="flat" cmpd="sng" algn="ctr">
                <a:noFill/>
                <a:prstDash val="solid"/>
              </a:ln>
              <a:effectLst/>
            </p:spPr>
            <p:txBody>
              <a:bodyPr wrap="none" rtlCol="0" anchor="ctr"/>
              <a:lstStyle/>
              <a:p>
                <a:pPr algn="ctr" defTabSz="1219068">
                  <a:defRPr/>
                </a:pPr>
                <a:r>
                  <a:rPr lang="ru-RU" sz="1067" b="1" kern="0" dirty="0"/>
                  <a:t>создание</a:t>
                </a:r>
                <a:endParaRPr lang="en-US" sz="1067" b="1" kern="0" dirty="0"/>
              </a:p>
            </p:txBody>
          </p:sp>
          <p:sp>
            <p:nvSpPr>
              <p:cNvPr id="65" name="Freeform 272"/>
              <p:cNvSpPr>
                <a:spLocks noEditPoints="1"/>
              </p:cNvSpPr>
              <p:nvPr/>
            </p:nvSpPr>
            <p:spPr bwMode="auto">
              <a:xfrm>
                <a:off x="4910651" y="1918800"/>
                <a:ext cx="635196" cy="473622"/>
              </a:xfrm>
              <a:custGeom>
                <a:avLst/>
                <a:gdLst>
                  <a:gd name="T0" fmla="*/ 360 w 360"/>
                  <a:gd name="T1" fmla="*/ 240 h 280"/>
                  <a:gd name="T2" fmla="*/ 360 w 360"/>
                  <a:gd name="T3" fmla="*/ 24 h 280"/>
                  <a:gd name="T4" fmla="*/ 336 w 360"/>
                  <a:gd name="T5" fmla="*/ 0 h 280"/>
                  <a:gd name="T6" fmla="*/ 0 w 360"/>
                  <a:gd name="T7" fmla="*/ 0 h 280"/>
                  <a:gd name="T8" fmla="*/ 0 w 360"/>
                  <a:gd name="T9" fmla="*/ 216 h 280"/>
                  <a:gd name="T10" fmla="*/ 24 w 360"/>
                  <a:gd name="T11" fmla="*/ 240 h 280"/>
                  <a:gd name="T12" fmla="*/ 144 w 360"/>
                  <a:gd name="T13" fmla="*/ 240 h 280"/>
                  <a:gd name="T14" fmla="*/ 144 w 360"/>
                  <a:gd name="T15" fmla="*/ 264 h 280"/>
                  <a:gd name="T16" fmla="*/ 100 w 360"/>
                  <a:gd name="T17" fmla="*/ 264 h 280"/>
                  <a:gd name="T18" fmla="*/ 100 w 360"/>
                  <a:gd name="T19" fmla="*/ 280 h 280"/>
                  <a:gd name="T20" fmla="*/ 260 w 360"/>
                  <a:gd name="T21" fmla="*/ 280 h 280"/>
                  <a:gd name="T22" fmla="*/ 260 w 360"/>
                  <a:gd name="T23" fmla="*/ 264 h 280"/>
                  <a:gd name="T24" fmla="*/ 216 w 360"/>
                  <a:gd name="T25" fmla="*/ 264 h 280"/>
                  <a:gd name="T26" fmla="*/ 216 w 360"/>
                  <a:gd name="T27" fmla="*/ 240 h 280"/>
                  <a:gd name="T28" fmla="*/ 360 w 360"/>
                  <a:gd name="T29" fmla="*/ 240 h 280"/>
                  <a:gd name="T30" fmla="*/ 24 w 360"/>
                  <a:gd name="T31" fmla="*/ 24 h 280"/>
                  <a:gd name="T32" fmla="*/ 336 w 360"/>
                  <a:gd name="T33" fmla="*/ 24 h 280"/>
                  <a:gd name="T34" fmla="*/ 336 w 360"/>
                  <a:gd name="T35" fmla="*/ 216 h 280"/>
                  <a:gd name="T36" fmla="*/ 24 w 360"/>
                  <a:gd name="T37" fmla="*/ 216 h 280"/>
                  <a:gd name="T38" fmla="*/ 24 w 360"/>
                  <a:gd name="T39" fmla="*/ 2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0" h="280">
                    <a:moveTo>
                      <a:pt x="360" y="240"/>
                    </a:moveTo>
                    <a:cubicBezTo>
                      <a:pt x="360" y="24"/>
                      <a:pt x="360" y="24"/>
                      <a:pt x="360" y="24"/>
                    </a:cubicBezTo>
                    <a:cubicBezTo>
                      <a:pt x="360" y="11"/>
                      <a:pt x="349" y="0"/>
                      <a:pt x="336" y="0"/>
                    </a:cubicBezTo>
                    <a:cubicBezTo>
                      <a:pt x="0" y="0"/>
                      <a:pt x="0" y="0"/>
                      <a:pt x="0" y="0"/>
                    </a:cubicBezTo>
                    <a:cubicBezTo>
                      <a:pt x="0" y="216"/>
                      <a:pt x="0" y="216"/>
                      <a:pt x="0" y="216"/>
                    </a:cubicBezTo>
                    <a:cubicBezTo>
                      <a:pt x="0" y="229"/>
                      <a:pt x="11" y="240"/>
                      <a:pt x="24" y="240"/>
                    </a:cubicBezTo>
                    <a:cubicBezTo>
                      <a:pt x="144" y="240"/>
                      <a:pt x="144" y="240"/>
                      <a:pt x="144" y="240"/>
                    </a:cubicBezTo>
                    <a:cubicBezTo>
                      <a:pt x="144" y="264"/>
                      <a:pt x="144" y="264"/>
                      <a:pt x="144" y="264"/>
                    </a:cubicBezTo>
                    <a:cubicBezTo>
                      <a:pt x="100" y="264"/>
                      <a:pt x="100" y="264"/>
                      <a:pt x="100" y="264"/>
                    </a:cubicBezTo>
                    <a:cubicBezTo>
                      <a:pt x="100" y="280"/>
                      <a:pt x="100" y="280"/>
                      <a:pt x="100" y="280"/>
                    </a:cubicBezTo>
                    <a:cubicBezTo>
                      <a:pt x="260" y="280"/>
                      <a:pt x="260" y="280"/>
                      <a:pt x="260" y="280"/>
                    </a:cubicBezTo>
                    <a:cubicBezTo>
                      <a:pt x="260" y="264"/>
                      <a:pt x="260" y="264"/>
                      <a:pt x="260" y="264"/>
                    </a:cubicBezTo>
                    <a:cubicBezTo>
                      <a:pt x="216" y="264"/>
                      <a:pt x="216" y="264"/>
                      <a:pt x="216" y="264"/>
                    </a:cubicBezTo>
                    <a:cubicBezTo>
                      <a:pt x="216" y="240"/>
                      <a:pt x="216" y="240"/>
                      <a:pt x="216" y="240"/>
                    </a:cubicBezTo>
                    <a:lnTo>
                      <a:pt x="360" y="240"/>
                    </a:lnTo>
                    <a:close/>
                    <a:moveTo>
                      <a:pt x="24" y="24"/>
                    </a:moveTo>
                    <a:cubicBezTo>
                      <a:pt x="336" y="24"/>
                      <a:pt x="336" y="24"/>
                      <a:pt x="336" y="24"/>
                    </a:cubicBezTo>
                    <a:cubicBezTo>
                      <a:pt x="336" y="216"/>
                      <a:pt x="336" y="216"/>
                      <a:pt x="336" y="216"/>
                    </a:cubicBezTo>
                    <a:cubicBezTo>
                      <a:pt x="24" y="216"/>
                      <a:pt x="24" y="216"/>
                      <a:pt x="24" y="216"/>
                    </a:cubicBezTo>
                    <a:lnTo>
                      <a:pt x="24" y="24"/>
                    </a:lnTo>
                    <a:close/>
                  </a:path>
                </a:pathLst>
              </a:custGeom>
              <a:solidFill>
                <a:srgbClr val="425563"/>
              </a:solidFill>
              <a:ln>
                <a:noFill/>
              </a:ln>
            </p:spPr>
            <p:txBody>
              <a:bodyPr vert="horz" wrap="square" lIns="121920" tIns="60960" rIns="121920" bIns="60960" numCol="1" anchor="t" anchorCtr="0" compatLnSpc="1">
                <a:prstTxWarp prst="textNoShape">
                  <a:avLst/>
                </a:prstTxWarp>
              </a:bodyPr>
              <a:lstStyle/>
              <a:p>
                <a:pPr defTabSz="1219068">
                  <a:defRPr/>
                </a:pPr>
                <a:endParaRPr lang="en-US" sz="2400" kern="0">
                  <a:solidFill>
                    <a:prstClr val="black"/>
                  </a:solidFill>
                </a:endParaRPr>
              </a:p>
            </p:txBody>
          </p:sp>
        </p:grpSp>
        <p:sp>
          <p:nvSpPr>
            <p:cNvPr id="95" name="Rounded Rectangle 94"/>
            <p:cNvSpPr/>
            <p:nvPr/>
          </p:nvSpPr>
          <p:spPr>
            <a:xfrm>
              <a:off x="6874933" y="1524001"/>
              <a:ext cx="1879599" cy="626532"/>
            </a:xfrm>
            <a:prstGeom prst="roundRect">
              <a:avLst/>
            </a:prstGeom>
            <a:solidFill>
              <a:srgbClr val="425563"/>
            </a:solidFill>
            <a:ln w="38100" cap="flat" cmpd="sng" algn="ctr">
              <a:noFill/>
              <a:prstDash val="solid"/>
              <a:headEnd/>
              <a:tailEnd/>
            </a:ln>
            <a:effectLst>
              <a:outerShdw blurRad="40000" dist="20000" dir="5400000" rotWithShape="0">
                <a:srgbClr val="000000">
                  <a:alpha val="38000"/>
                </a:srgbClr>
              </a:outerShdw>
            </a:effectLst>
          </p:spPr>
          <p:txBody>
            <a:bodyPr rot="0" spcFirstLastPara="0" vertOverflow="overflow" horzOverflow="overflow" vert="horz" wrap="square" lIns="121920" tIns="97536" rIns="121920" bIns="60960" numCol="1" spcCol="0" rtlCol="0" fromWordArt="0" anchor="t" anchorCtr="0" forceAA="0" compatLnSpc="1">
              <a:prstTxWarp prst="textNoShape">
                <a:avLst/>
              </a:prstTxWarp>
              <a:noAutofit/>
            </a:bodyPr>
            <a:lstStyle/>
            <a:p>
              <a:pPr algn="ctr">
                <a:lnSpc>
                  <a:spcPct val="120000"/>
                </a:lnSpc>
                <a:spcAft>
                  <a:spcPts val="187"/>
                </a:spcAft>
                <a:defRPr/>
              </a:pPr>
              <a:r>
                <a:rPr lang="ru-RU" sz="1600" b="1" kern="0" dirty="0">
                  <a:solidFill>
                    <a:prstClr val="white"/>
                  </a:solidFill>
                </a:rPr>
                <a:t>Управление каталогом сервисов</a:t>
              </a:r>
              <a:endParaRPr lang="en-US" sz="1600" kern="0" dirty="0">
                <a:solidFill>
                  <a:prstClr val="white"/>
                </a:solidFill>
              </a:endParaRPr>
            </a:p>
          </p:txBody>
        </p:sp>
        <p:cxnSp>
          <p:nvCxnSpPr>
            <p:cNvPr id="4" name="Straight Arrow Connector 3"/>
            <p:cNvCxnSpPr>
              <a:stCxn id="95" idx="1"/>
            </p:cNvCxnSpPr>
            <p:nvPr/>
          </p:nvCxnSpPr>
          <p:spPr>
            <a:xfrm flipH="1">
              <a:off x="6358467" y="1837267"/>
              <a:ext cx="516466" cy="0"/>
            </a:xfrm>
            <a:prstGeom prst="straightConnector1">
              <a:avLst/>
            </a:prstGeom>
            <a:ln w="57150" cmpd="sng">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grpSp>
      <p:grpSp>
        <p:nvGrpSpPr>
          <p:cNvPr id="7" name="Group 6"/>
          <p:cNvGrpSpPr/>
          <p:nvPr/>
        </p:nvGrpSpPr>
        <p:grpSpPr>
          <a:xfrm>
            <a:off x="4030137" y="4437893"/>
            <a:ext cx="7902223" cy="857953"/>
            <a:chOff x="3022600" y="3124201"/>
            <a:chExt cx="5926667" cy="643465"/>
          </a:xfrm>
        </p:grpSpPr>
        <p:sp>
          <p:nvSpPr>
            <p:cNvPr id="54" name="Left-Right Arrow 53"/>
            <p:cNvSpPr/>
            <p:nvPr/>
          </p:nvSpPr>
          <p:spPr>
            <a:xfrm>
              <a:off x="3022600" y="3159382"/>
              <a:ext cx="3031066" cy="608284"/>
            </a:xfrm>
            <a:prstGeom prst="leftRightArrow">
              <a:avLst>
                <a:gd name="adj1" fmla="val 71142"/>
                <a:gd name="adj2" fmla="val 50000"/>
              </a:avLst>
            </a:prstGeom>
            <a:solidFill>
              <a:srgbClr val="425563"/>
            </a:solidFill>
            <a:ln w="9525" cap="flat" cmpd="sng" algn="ctr">
              <a:noFill/>
              <a:prstDash val="solid"/>
            </a:ln>
            <a:effectLst/>
          </p:spPr>
          <p:txBody>
            <a:bodyPr anchor="ctr"/>
            <a:lstStyle/>
            <a:p>
              <a:pPr algn="ctr" defTabSz="1219068">
                <a:defRPr/>
              </a:pPr>
              <a:r>
                <a:rPr lang="en-US" sz="1600" kern="0" dirty="0">
                  <a:solidFill>
                    <a:prstClr val="white"/>
                  </a:solidFill>
                </a:rPr>
                <a:t>HP </a:t>
              </a:r>
              <a:r>
                <a:rPr lang="en-US" sz="1600" kern="0" dirty="0" err="1">
                  <a:solidFill>
                    <a:prstClr val="white"/>
                  </a:solidFill>
                </a:rPr>
                <a:t>Helion</a:t>
              </a:r>
              <a:r>
                <a:rPr lang="en-US" sz="1600" kern="0" dirty="0">
                  <a:solidFill>
                    <a:prstClr val="white"/>
                  </a:solidFill>
                </a:rPr>
                <a:t> </a:t>
              </a:r>
              <a:r>
                <a:rPr lang="en-US" sz="1600" kern="0" dirty="0" err="1">
                  <a:solidFill>
                    <a:prstClr val="white"/>
                  </a:solidFill>
                </a:rPr>
                <a:t>OpenStack</a:t>
              </a:r>
              <a:r>
                <a:rPr lang="en-US" sz="1600" kern="0" dirty="0">
                  <a:solidFill>
                    <a:prstClr val="white"/>
                  </a:solidFill>
                </a:rPr>
                <a:t/>
              </a:r>
              <a:br>
                <a:rPr lang="en-US" sz="1600" kern="0" dirty="0">
                  <a:solidFill>
                    <a:prstClr val="white"/>
                  </a:solidFill>
                </a:rPr>
              </a:br>
              <a:r>
                <a:rPr lang="en-US" sz="1600" kern="0" dirty="0">
                  <a:solidFill>
                    <a:prstClr val="white"/>
                  </a:solidFill>
                </a:rPr>
                <a:t>open, extensible architecture</a:t>
              </a:r>
            </a:p>
          </p:txBody>
        </p:sp>
        <p:sp>
          <p:nvSpPr>
            <p:cNvPr id="97" name="Rounded Rectangle 96"/>
            <p:cNvSpPr/>
            <p:nvPr/>
          </p:nvSpPr>
          <p:spPr>
            <a:xfrm>
              <a:off x="6951132" y="3124201"/>
              <a:ext cx="1998135" cy="626532"/>
            </a:xfrm>
            <a:prstGeom prst="roundRect">
              <a:avLst/>
            </a:prstGeom>
            <a:solidFill>
              <a:srgbClr val="425563"/>
            </a:solidFill>
            <a:ln w="38100" cap="flat" cmpd="sng" algn="ctr">
              <a:noFill/>
              <a:prstDash val="solid"/>
              <a:headEnd/>
              <a:tailEnd/>
            </a:ln>
            <a:effectLst>
              <a:outerShdw blurRad="40000" dist="20000" dir="5400000" rotWithShape="0">
                <a:srgbClr val="000000">
                  <a:alpha val="38000"/>
                </a:srgbClr>
              </a:outerShdw>
            </a:effectLst>
          </p:spPr>
          <p:txBody>
            <a:bodyPr rot="0" spcFirstLastPara="0" vertOverflow="overflow" horzOverflow="overflow" vert="horz" wrap="square" lIns="121920" tIns="97536" rIns="121920" bIns="60960" numCol="1" spcCol="0" rtlCol="0" fromWordArt="0" anchor="t" anchorCtr="0" forceAA="0" compatLnSpc="1">
              <a:prstTxWarp prst="textNoShape">
                <a:avLst/>
              </a:prstTxWarp>
              <a:noAutofit/>
            </a:bodyPr>
            <a:lstStyle/>
            <a:p>
              <a:pPr algn="ctr">
                <a:lnSpc>
                  <a:spcPct val="120000"/>
                </a:lnSpc>
                <a:spcAft>
                  <a:spcPts val="187"/>
                </a:spcAft>
                <a:defRPr/>
              </a:pPr>
              <a:r>
                <a:rPr lang="ru-RU" sz="1600" b="1" kern="0" dirty="0">
                  <a:solidFill>
                    <a:prstClr val="white"/>
                  </a:solidFill>
                </a:rPr>
                <a:t>Продукты на базе технологии </a:t>
              </a:r>
              <a:r>
                <a:rPr lang="en-US" sz="1600" b="1" kern="0" dirty="0" err="1">
                  <a:solidFill>
                    <a:prstClr val="white"/>
                  </a:solidFill>
                </a:rPr>
                <a:t>OpenStack</a:t>
              </a:r>
              <a:endParaRPr lang="en-US" sz="1600" kern="0" dirty="0">
                <a:solidFill>
                  <a:prstClr val="white"/>
                </a:solidFill>
              </a:endParaRPr>
            </a:p>
          </p:txBody>
        </p:sp>
        <p:cxnSp>
          <p:nvCxnSpPr>
            <p:cNvPr id="98" name="Straight Arrow Connector 97"/>
            <p:cNvCxnSpPr>
              <a:stCxn id="97" idx="1"/>
            </p:cNvCxnSpPr>
            <p:nvPr/>
          </p:nvCxnSpPr>
          <p:spPr>
            <a:xfrm flipH="1" flipV="1">
              <a:off x="6087534" y="3429000"/>
              <a:ext cx="863598" cy="8467"/>
            </a:xfrm>
            <a:prstGeom prst="straightConnector1">
              <a:avLst/>
            </a:prstGeom>
            <a:ln w="57150" cmpd="sng">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grpSp>
      <p:grpSp>
        <p:nvGrpSpPr>
          <p:cNvPr id="14" name="Group 13"/>
          <p:cNvGrpSpPr/>
          <p:nvPr/>
        </p:nvGrpSpPr>
        <p:grpSpPr>
          <a:xfrm>
            <a:off x="361244" y="2191401"/>
            <a:ext cx="4654925" cy="857952"/>
            <a:chOff x="270933" y="1439335"/>
            <a:chExt cx="3491194" cy="643464"/>
          </a:xfrm>
        </p:grpSpPr>
        <p:sp>
          <p:nvSpPr>
            <p:cNvPr id="57" name="Right Arrow 56"/>
            <p:cNvSpPr/>
            <p:nvPr/>
          </p:nvSpPr>
          <p:spPr>
            <a:xfrm>
              <a:off x="3362077" y="1708415"/>
              <a:ext cx="400050" cy="254692"/>
            </a:xfrm>
            <a:prstGeom prst="rightArrow">
              <a:avLst/>
            </a:prstGeom>
            <a:solidFill>
              <a:srgbClr val="B9B8BB"/>
            </a:solidFill>
            <a:ln w="9525" cap="flat" cmpd="sng" algn="ctr">
              <a:noFill/>
              <a:prstDash val="solid"/>
            </a:ln>
            <a:effectLst/>
          </p:spPr>
          <p:txBody>
            <a:bodyPr rtlCol="0" anchor="ctr"/>
            <a:lstStyle/>
            <a:p>
              <a:pPr algn="ctr" defTabSz="1219068">
                <a:defRPr/>
              </a:pPr>
              <a:endParaRPr lang="en-US" sz="2400" kern="0">
                <a:solidFill>
                  <a:prstClr val="white"/>
                </a:solidFill>
              </a:endParaRPr>
            </a:p>
          </p:txBody>
        </p:sp>
        <p:grpSp>
          <p:nvGrpSpPr>
            <p:cNvPr id="62" name="Group 8"/>
            <p:cNvGrpSpPr/>
            <p:nvPr/>
          </p:nvGrpSpPr>
          <p:grpSpPr>
            <a:xfrm>
              <a:off x="2751666" y="1592244"/>
              <a:ext cx="647129" cy="490555"/>
              <a:chOff x="4827393" y="1918799"/>
              <a:chExt cx="647129" cy="490555"/>
            </a:xfrm>
          </p:grpSpPr>
          <p:sp>
            <p:nvSpPr>
              <p:cNvPr id="66" name="Rectangle 65"/>
              <p:cNvSpPr/>
              <p:nvPr/>
            </p:nvSpPr>
            <p:spPr>
              <a:xfrm>
                <a:off x="4869727" y="1990724"/>
                <a:ext cx="541866" cy="214313"/>
              </a:xfrm>
              <a:prstGeom prst="rect">
                <a:avLst/>
              </a:prstGeom>
              <a:noFill/>
              <a:ln w="9525" cap="flat" cmpd="sng" algn="ctr">
                <a:noFill/>
                <a:prstDash val="solid"/>
              </a:ln>
              <a:effectLst/>
            </p:spPr>
            <p:txBody>
              <a:bodyPr wrap="none" rtlCol="0" anchor="ctr"/>
              <a:lstStyle/>
              <a:p>
                <a:pPr algn="ctr" defTabSz="1219068">
                  <a:defRPr/>
                </a:pPr>
                <a:r>
                  <a:rPr lang="ru-RU" sz="1067" b="1" kern="0" dirty="0" err="1"/>
                  <a:t>Исполь</a:t>
                </a:r>
                <a:r>
                  <a:rPr lang="ru-RU" sz="1067" b="1" kern="0" dirty="0"/>
                  <a:t>-</a:t>
                </a:r>
                <a:br>
                  <a:rPr lang="ru-RU" sz="1067" b="1" kern="0" dirty="0"/>
                </a:br>
                <a:r>
                  <a:rPr lang="ru-RU" sz="1067" b="1" kern="0" dirty="0" err="1"/>
                  <a:t>зование</a:t>
                </a:r>
                <a:endParaRPr lang="en-US" sz="1067" b="1" kern="0" dirty="0"/>
              </a:p>
            </p:txBody>
          </p:sp>
          <p:sp>
            <p:nvSpPr>
              <p:cNvPr id="67" name="Freeform 272"/>
              <p:cNvSpPr>
                <a:spLocks noEditPoints="1"/>
              </p:cNvSpPr>
              <p:nvPr/>
            </p:nvSpPr>
            <p:spPr bwMode="auto">
              <a:xfrm>
                <a:off x="4827393" y="1918799"/>
                <a:ext cx="647129" cy="490555"/>
              </a:xfrm>
              <a:custGeom>
                <a:avLst/>
                <a:gdLst>
                  <a:gd name="T0" fmla="*/ 360 w 360"/>
                  <a:gd name="T1" fmla="*/ 240 h 280"/>
                  <a:gd name="T2" fmla="*/ 360 w 360"/>
                  <a:gd name="T3" fmla="*/ 24 h 280"/>
                  <a:gd name="T4" fmla="*/ 336 w 360"/>
                  <a:gd name="T5" fmla="*/ 0 h 280"/>
                  <a:gd name="T6" fmla="*/ 0 w 360"/>
                  <a:gd name="T7" fmla="*/ 0 h 280"/>
                  <a:gd name="T8" fmla="*/ 0 w 360"/>
                  <a:gd name="T9" fmla="*/ 216 h 280"/>
                  <a:gd name="T10" fmla="*/ 24 w 360"/>
                  <a:gd name="T11" fmla="*/ 240 h 280"/>
                  <a:gd name="T12" fmla="*/ 144 w 360"/>
                  <a:gd name="T13" fmla="*/ 240 h 280"/>
                  <a:gd name="T14" fmla="*/ 144 w 360"/>
                  <a:gd name="T15" fmla="*/ 264 h 280"/>
                  <a:gd name="T16" fmla="*/ 100 w 360"/>
                  <a:gd name="T17" fmla="*/ 264 h 280"/>
                  <a:gd name="T18" fmla="*/ 100 w 360"/>
                  <a:gd name="T19" fmla="*/ 280 h 280"/>
                  <a:gd name="T20" fmla="*/ 260 w 360"/>
                  <a:gd name="T21" fmla="*/ 280 h 280"/>
                  <a:gd name="T22" fmla="*/ 260 w 360"/>
                  <a:gd name="T23" fmla="*/ 264 h 280"/>
                  <a:gd name="T24" fmla="*/ 216 w 360"/>
                  <a:gd name="T25" fmla="*/ 264 h 280"/>
                  <a:gd name="T26" fmla="*/ 216 w 360"/>
                  <a:gd name="T27" fmla="*/ 240 h 280"/>
                  <a:gd name="T28" fmla="*/ 360 w 360"/>
                  <a:gd name="T29" fmla="*/ 240 h 280"/>
                  <a:gd name="T30" fmla="*/ 24 w 360"/>
                  <a:gd name="T31" fmla="*/ 24 h 280"/>
                  <a:gd name="T32" fmla="*/ 336 w 360"/>
                  <a:gd name="T33" fmla="*/ 24 h 280"/>
                  <a:gd name="T34" fmla="*/ 336 w 360"/>
                  <a:gd name="T35" fmla="*/ 216 h 280"/>
                  <a:gd name="T36" fmla="*/ 24 w 360"/>
                  <a:gd name="T37" fmla="*/ 216 h 280"/>
                  <a:gd name="T38" fmla="*/ 24 w 360"/>
                  <a:gd name="T39" fmla="*/ 2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0" h="280">
                    <a:moveTo>
                      <a:pt x="360" y="240"/>
                    </a:moveTo>
                    <a:cubicBezTo>
                      <a:pt x="360" y="24"/>
                      <a:pt x="360" y="24"/>
                      <a:pt x="360" y="24"/>
                    </a:cubicBezTo>
                    <a:cubicBezTo>
                      <a:pt x="360" y="11"/>
                      <a:pt x="349" y="0"/>
                      <a:pt x="336" y="0"/>
                    </a:cubicBezTo>
                    <a:cubicBezTo>
                      <a:pt x="0" y="0"/>
                      <a:pt x="0" y="0"/>
                      <a:pt x="0" y="0"/>
                    </a:cubicBezTo>
                    <a:cubicBezTo>
                      <a:pt x="0" y="216"/>
                      <a:pt x="0" y="216"/>
                      <a:pt x="0" y="216"/>
                    </a:cubicBezTo>
                    <a:cubicBezTo>
                      <a:pt x="0" y="229"/>
                      <a:pt x="11" y="240"/>
                      <a:pt x="24" y="240"/>
                    </a:cubicBezTo>
                    <a:cubicBezTo>
                      <a:pt x="144" y="240"/>
                      <a:pt x="144" y="240"/>
                      <a:pt x="144" y="240"/>
                    </a:cubicBezTo>
                    <a:cubicBezTo>
                      <a:pt x="144" y="264"/>
                      <a:pt x="144" y="264"/>
                      <a:pt x="144" y="264"/>
                    </a:cubicBezTo>
                    <a:cubicBezTo>
                      <a:pt x="100" y="264"/>
                      <a:pt x="100" y="264"/>
                      <a:pt x="100" y="264"/>
                    </a:cubicBezTo>
                    <a:cubicBezTo>
                      <a:pt x="100" y="280"/>
                      <a:pt x="100" y="280"/>
                      <a:pt x="100" y="280"/>
                    </a:cubicBezTo>
                    <a:cubicBezTo>
                      <a:pt x="260" y="280"/>
                      <a:pt x="260" y="280"/>
                      <a:pt x="260" y="280"/>
                    </a:cubicBezTo>
                    <a:cubicBezTo>
                      <a:pt x="260" y="264"/>
                      <a:pt x="260" y="264"/>
                      <a:pt x="260" y="264"/>
                    </a:cubicBezTo>
                    <a:cubicBezTo>
                      <a:pt x="216" y="264"/>
                      <a:pt x="216" y="264"/>
                      <a:pt x="216" y="264"/>
                    </a:cubicBezTo>
                    <a:cubicBezTo>
                      <a:pt x="216" y="240"/>
                      <a:pt x="216" y="240"/>
                      <a:pt x="216" y="240"/>
                    </a:cubicBezTo>
                    <a:lnTo>
                      <a:pt x="360" y="240"/>
                    </a:lnTo>
                    <a:close/>
                    <a:moveTo>
                      <a:pt x="24" y="24"/>
                    </a:moveTo>
                    <a:cubicBezTo>
                      <a:pt x="336" y="24"/>
                      <a:pt x="336" y="24"/>
                      <a:pt x="336" y="24"/>
                    </a:cubicBezTo>
                    <a:cubicBezTo>
                      <a:pt x="336" y="216"/>
                      <a:pt x="336" y="216"/>
                      <a:pt x="336" y="216"/>
                    </a:cubicBezTo>
                    <a:cubicBezTo>
                      <a:pt x="24" y="216"/>
                      <a:pt x="24" y="216"/>
                      <a:pt x="24" y="216"/>
                    </a:cubicBezTo>
                    <a:lnTo>
                      <a:pt x="24" y="24"/>
                    </a:lnTo>
                    <a:close/>
                  </a:path>
                </a:pathLst>
              </a:custGeom>
              <a:solidFill>
                <a:srgbClr val="425563"/>
              </a:solidFill>
              <a:ln>
                <a:noFill/>
              </a:ln>
            </p:spPr>
            <p:txBody>
              <a:bodyPr vert="horz" wrap="square" lIns="121920" tIns="60960" rIns="121920" bIns="60960" numCol="1" anchor="t" anchorCtr="0" compatLnSpc="1">
                <a:prstTxWarp prst="textNoShape">
                  <a:avLst/>
                </a:prstTxWarp>
              </a:bodyPr>
              <a:lstStyle/>
              <a:p>
                <a:pPr defTabSz="1219068">
                  <a:defRPr/>
                </a:pPr>
                <a:endParaRPr lang="en-US" sz="2400" kern="0">
                  <a:solidFill>
                    <a:prstClr val="black"/>
                  </a:solidFill>
                </a:endParaRPr>
              </a:p>
            </p:txBody>
          </p:sp>
        </p:grpSp>
        <p:sp>
          <p:nvSpPr>
            <p:cNvPr id="94" name="Rounded Rectangle 93"/>
            <p:cNvSpPr/>
            <p:nvPr/>
          </p:nvSpPr>
          <p:spPr>
            <a:xfrm>
              <a:off x="270933" y="1439335"/>
              <a:ext cx="1791883" cy="626532"/>
            </a:xfrm>
            <a:prstGeom prst="roundRect">
              <a:avLst/>
            </a:prstGeom>
            <a:solidFill>
              <a:srgbClr val="425563"/>
            </a:solidFill>
            <a:ln w="38100" cap="flat" cmpd="sng" algn="ctr">
              <a:noFill/>
              <a:prstDash val="solid"/>
              <a:headEnd/>
              <a:tailEnd/>
            </a:ln>
            <a:effectLst>
              <a:outerShdw blurRad="40000" dist="20000" dir="5400000" rotWithShape="0">
                <a:srgbClr val="000000">
                  <a:alpha val="38000"/>
                </a:srgbClr>
              </a:outerShdw>
            </a:effectLst>
          </p:spPr>
          <p:txBody>
            <a:bodyPr rot="0" spcFirstLastPara="0" vertOverflow="overflow" horzOverflow="overflow" vert="horz" wrap="square" lIns="121920" tIns="97536" rIns="121920" bIns="60960" numCol="1" spcCol="0" rtlCol="0" fromWordArt="0" anchor="t" anchorCtr="0" forceAA="0" compatLnSpc="1">
              <a:prstTxWarp prst="textNoShape">
                <a:avLst/>
              </a:prstTxWarp>
              <a:noAutofit/>
            </a:bodyPr>
            <a:lstStyle/>
            <a:p>
              <a:pPr algn="ctr">
                <a:lnSpc>
                  <a:spcPct val="120000"/>
                </a:lnSpc>
                <a:spcAft>
                  <a:spcPts val="187"/>
                </a:spcAft>
                <a:defRPr/>
              </a:pPr>
              <a:r>
                <a:rPr lang="ru-RU" sz="1600" b="1" kern="0" dirty="0">
                  <a:solidFill>
                    <a:prstClr val="white"/>
                  </a:solidFill>
                </a:rPr>
                <a:t>Доступ к сервису через портал услуг</a:t>
              </a:r>
              <a:endParaRPr lang="en-US" sz="1600" kern="0" dirty="0">
                <a:solidFill>
                  <a:prstClr val="white"/>
                </a:solidFill>
              </a:endParaRPr>
            </a:p>
          </p:txBody>
        </p:sp>
        <p:cxnSp>
          <p:nvCxnSpPr>
            <p:cNvPr id="99" name="Straight Arrow Connector 98"/>
            <p:cNvCxnSpPr/>
            <p:nvPr/>
          </p:nvCxnSpPr>
          <p:spPr>
            <a:xfrm>
              <a:off x="1947332" y="1769534"/>
              <a:ext cx="745068" cy="0"/>
            </a:xfrm>
            <a:prstGeom prst="straightConnector1">
              <a:avLst/>
            </a:prstGeom>
            <a:ln w="57150" cmpd="sng">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grpSp>
      <p:grpSp>
        <p:nvGrpSpPr>
          <p:cNvPr id="6" name="Group 5"/>
          <p:cNvGrpSpPr/>
          <p:nvPr/>
        </p:nvGrpSpPr>
        <p:grpSpPr>
          <a:xfrm>
            <a:off x="282225" y="3692984"/>
            <a:ext cx="7658212" cy="993737"/>
            <a:chOff x="211667" y="2565519"/>
            <a:chExt cx="5743659" cy="745303"/>
          </a:xfrm>
        </p:grpSpPr>
        <p:sp>
          <p:nvSpPr>
            <p:cNvPr id="49" name="Freeform 48"/>
            <p:cNvSpPr>
              <a:spLocks/>
            </p:cNvSpPr>
            <p:nvPr/>
          </p:nvSpPr>
          <p:spPr bwMode="auto">
            <a:xfrm>
              <a:off x="4662915" y="2616319"/>
              <a:ext cx="1292411" cy="694503"/>
            </a:xfrm>
            <a:custGeom>
              <a:avLst/>
              <a:gdLst>
                <a:gd name="T0" fmla="*/ 414 w 446"/>
                <a:gd name="T1" fmla="*/ 158 h 240"/>
                <a:gd name="T2" fmla="*/ 394 w 446"/>
                <a:gd name="T3" fmla="*/ 155 h 240"/>
                <a:gd name="T4" fmla="*/ 348 w 446"/>
                <a:gd name="T5" fmla="*/ 91 h 240"/>
                <a:gd name="T6" fmla="*/ 285 w 446"/>
                <a:gd name="T7" fmla="*/ 92 h 240"/>
                <a:gd name="T8" fmla="*/ 228 w 446"/>
                <a:gd name="T9" fmla="*/ 22 h 240"/>
                <a:gd name="T10" fmla="*/ 98 w 446"/>
                <a:gd name="T11" fmla="*/ 73 h 240"/>
                <a:gd name="T12" fmla="*/ 91 w 446"/>
                <a:gd name="T13" fmla="*/ 98 h 240"/>
                <a:gd name="T14" fmla="*/ 16 w 446"/>
                <a:gd name="T15" fmla="*/ 140 h 240"/>
                <a:gd name="T16" fmla="*/ 53 w 446"/>
                <a:gd name="T17" fmla="*/ 234 h 240"/>
                <a:gd name="T18" fmla="*/ 81 w 446"/>
                <a:gd name="T19" fmla="*/ 240 h 240"/>
                <a:gd name="T20" fmla="*/ 402 w 446"/>
                <a:gd name="T21" fmla="*/ 240 h 240"/>
                <a:gd name="T22" fmla="*/ 436 w 446"/>
                <a:gd name="T23" fmla="*/ 214 h 240"/>
                <a:gd name="T24" fmla="*/ 414 w 446"/>
                <a:gd name="T25" fmla="*/ 15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6" h="240">
                  <a:moveTo>
                    <a:pt x="414" y="158"/>
                  </a:moveTo>
                  <a:cubicBezTo>
                    <a:pt x="408" y="155"/>
                    <a:pt x="401" y="154"/>
                    <a:pt x="394" y="155"/>
                  </a:cubicBezTo>
                  <a:cubicBezTo>
                    <a:pt x="392" y="128"/>
                    <a:pt x="375" y="103"/>
                    <a:pt x="348" y="91"/>
                  </a:cubicBezTo>
                  <a:cubicBezTo>
                    <a:pt x="327" y="82"/>
                    <a:pt x="304" y="83"/>
                    <a:pt x="285" y="92"/>
                  </a:cubicBezTo>
                  <a:cubicBezTo>
                    <a:pt x="278" y="61"/>
                    <a:pt x="258" y="35"/>
                    <a:pt x="228" y="22"/>
                  </a:cubicBezTo>
                  <a:cubicBezTo>
                    <a:pt x="178" y="0"/>
                    <a:pt x="120" y="23"/>
                    <a:pt x="98" y="73"/>
                  </a:cubicBezTo>
                  <a:cubicBezTo>
                    <a:pt x="94" y="81"/>
                    <a:pt x="92" y="89"/>
                    <a:pt x="91" y="98"/>
                  </a:cubicBezTo>
                  <a:cubicBezTo>
                    <a:pt x="60" y="94"/>
                    <a:pt x="29" y="110"/>
                    <a:pt x="16" y="140"/>
                  </a:cubicBezTo>
                  <a:cubicBezTo>
                    <a:pt x="0" y="176"/>
                    <a:pt x="17" y="218"/>
                    <a:pt x="53" y="234"/>
                  </a:cubicBezTo>
                  <a:cubicBezTo>
                    <a:pt x="62" y="238"/>
                    <a:pt x="72" y="240"/>
                    <a:pt x="81" y="240"/>
                  </a:cubicBezTo>
                  <a:cubicBezTo>
                    <a:pt x="402" y="240"/>
                    <a:pt x="402" y="240"/>
                    <a:pt x="402" y="240"/>
                  </a:cubicBezTo>
                  <a:cubicBezTo>
                    <a:pt x="417" y="238"/>
                    <a:pt x="430" y="228"/>
                    <a:pt x="436" y="214"/>
                  </a:cubicBezTo>
                  <a:cubicBezTo>
                    <a:pt x="446" y="192"/>
                    <a:pt x="436" y="167"/>
                    <a:pt x="414" y="158"/>
                  </a:cubicBezTo>
                </a:path>
              </a:pathLst>
            </a:custGeom>
            <a:solidFill>
              <a:schemeClr val="bg1">
                <a:lumMod val="85000"/>
              </a:schemeClr>
            </a:solidFill>
            <a:ln>
              <a:noFill/>
            </a:ln>
          </p:spPr>
          <p:txBody>
            <a:bodyPr vert="horz" wrap="square" lIns="304800" tIns="60960" rIns="121920" bIns="60960" numCol="1" anchor="t" anchorCtr="1" compatLnSpc="1">
              <a:prstTxWarp prst="textNoShape">
                <a:avLst/>
              </a:prstTxWarp>
            </a:bodyPr>
            <a:lstStyle/>
            <a:p>
              <a:pPr defTabSz="1219068">
                <a:defRPr/>
              </a:pPr>
              <a:r>
                <a:rPr lang="en-US" sz="1600" kern="0" dirty="0">
                  <a:solidFill>
                    <a:prstClr val="black"/>
                  </a:solidFill>
                </a:rPr>
                <a:t> </a:t>
              </a:r>
              <a:br>
                <a:rPr lang="en-US" sz="1600" kern="0" dirty="0">
                  <a:solidFill>
                    <a:prstClr val="black"/>
                  </a:solidFill>
                </a:rPr>
              </a:br>
              <a:endParaRPr lang="en-US" sz="2400" kern="0" dirty="0">
                <a:solidFill>
                  <a:prstClr val="black"/>
                </a:solidFill>
              </a:endParaRPr>
            </a:p>
          </p:txBody>
        </p:sp>
        <p:sp>
          <p:nvSpPr>
            <p:cNvPr id="50" name="Freeform 137"/>
            <p:cNvSpPr>
              <a:spLocks/>
            </p:cNvSpPr>
            <p:nvPr/>
          </p:nvSpPr>
          <p:spPr bwMode="auto">
            <a:xfrm>
              <a:off x="3167397" y="2616319"/>
              <a:ext cx="1292411" cy="694503"/>
            </a:xfrm>
            <a:custGeom>
              <a:avLst/>
              <a:gdLst>
                <a:gd name="T0" fmla="*/ 414 w 446"/>
                <a:gd name="T1" fmla="*/ 158 h 240"/>
                <a:gd name="T2" fmla="*/ 394 w 446"/>
                <a:gd name="T3" fmla="*/ 155 h 240"/>
                <a:gd name="T4" fmla="*/ 348 w 446"/>
                <a:gd name="T5" fmla="*/ 91 h 240"/>
                <a:gd name="T6" fmla="*/ 285 w 446"/>
                <a:gd name="T7" fmla="*/ 92 h 240"/>
                <a:gd name="T8" fmla="*/ 228 w 446"/>
                <a:gd name="T9" fmla="*/ 22 h 240"/>
                <a:gd name="T10" fmla="*/ 98 w 446"/>
                <a:gd name="T11" fmla="*/ 73 h 240"/>
                <a:gd name="T12" fmla="*/ 91 w 446"/>
                <a:gd name="T13" fmla="*/ 98 h 240"/>
                <a:gd name="T14" fmla="*/ 16 w 446"/>
                <a:gd name="T15" fmla="*/ 140 h 240"/>
                <a:gd name="T16" fmla="*/ 53 w 446"/>
                <a:gd name="T17" fmla="*/ 234 h 240"/>
                <a:gd name="T18" fmla="*/ 81 w 446"/>
                <a:gd name="T19" fmla="*/ 240 h 240"/>
                <a:gd name="T20" fmla="*/ 402 w 446"/>
                <a:gd name="T21" fmla="*/ 240 h 240"/>
                <a:gd name="T22" fmla="*/ 436 w 446"/>
                <a:gd name="T23" fmla="*/ 214 h 240"/>
                <a:gd name="T24" fmla="*/ 414 w 446"/>
                <a:gd name="T25" fmla="*/ 15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6" h="240">
                  <a:moveTo>
                    <a:pt x="414" y="158"/>
                  </a:moveTo>
                  <a:cubicBezTo>
                    <a:pt x="408" y="155"/>
                    <a:pt x="401" y="154"/>
                    <a:pt x="394" y="155"/>
                  </a:cubicBezTo>
                  <a:cubicBezTo>
                    <a:pt x="392" y="128"/>
                    <a:pt x="375" y="103"/>
                    <a:pt x="348" y="91"/>
                  </a:cubicBezTo>
                  <a:cubicBezTo>
                    <a:pt x="327" y="82"/>
                    <a:pt x="304" y="83"/>
                    <a:pt x="285" y="92"/>
                  </a:cubicBezTo>
                  <a:cubicBezTo>
                    <a:pt x="278" y="61"/>
                    <a:pt x="258" y="35"/>
                    <a:pt x="228" y="22"/>
                  </a:cubicBezTo>
                  <a:cubicBezTo>
                    <a:pt x="178" y="0"/>
                    <a:pt x="120" y="23"/>
                    <a:pt x="98" y="73"/>
                  </a:cubicBezTo>
                  <a:cubicBezTo>
                    <a:pt x="94" y="81"/>
                    <a:pt x="92" y="89"/>
                    <a:pt x="91" y="98"/>
                  </a:cubicBezTo>
                  <a:cubicBezTo>
                    <a:pt x="60" y="94"/>
                    <a:pt x="29" y="110"/>
                    <a:pt x="16" y="140"/>
                  </a:cubicBezTo>
                  <a:cubicBezTo>
                    <a:pt x="0" y="176"/>
                    <a:pt x="17" y="218"/>
                    <a:pt x="53" y="234"/>
                  </a:cubicBezTo>
                  <a:cubicBezTo>
                    <a:pt x="62" y="238"/>
                    <a:pt x="72" y="240"/>
                    <a:pt x="81" y="240"/>
                  </a:cubicBezTo>
                  <a:cubicBezTo>
                    <a:pt x="402" y="240"/>
                    <a:pt x="402" y="240"/>
                    <a:pt x="402" y="240"/>
                  </a:cubicBezTo>
                  <a:cubicBezTo>
                    <a:pt x="417" y="238"/>
                    <a:pt x="430" y="228"/>
                    <a:pt x="436" y="214"/>
                  </a:cubicBezTo>
                  <a:cubicBezTo>
                    <a:pt x="446" y="192"/>
                    <a:pt x="436" y="167"/>
                    <a:pt x="414" y="158"/>
                  </a:cubicBezTo>
                </a:path>
              </a:pathLst>
            </a:custGeom>
            <a:solidFill>
              <a:schemeClr val="bg1">
                <a:lumMod val="85000"/>
              </a:schemeClr>
            </a:solidFill>
            <a:ln>
              <a:noFill/>
            </a:ln>
          </p:spPr>
          <p:txBody>
            <a:bodyPr vert="horz" wrap="square" lIns="304800" tIns="60960" rIns="121920" bIns="60960" numCol="1" anchor="t" anchorCtr="1" compatLnSpc="1">
              <a:prstTxWarp prst="textNoShape">
                <a:avLst/>
              </a:prstTxWarp>
            </a:bodyPr>
            <a:lstStyle/>
            <a:p>
              <a:pPr defTabSz="1219068">
                <a:defRPr/>
              </a:pPr>
              <a:r>
                <a:rPr lang="en-US" sz="1600" kern="0" dirty="0">
                  <a:solidFill>
                    <a:prstClr val="black"/>
                  </a:solidFill>
                </a:rPr>
                <a:t> </a:t>
              </a:r>
              <a:br>
                <a:rPr lang="en-US" sz="1600" kern="0" dirty="0">
                  <a:solidFill>
                    <a:prstClr val="black"/>
                  </a:solidFill>
                </a:rPr>
              </a:br>
              <a:endParaRPr lang="en-US" sz="2400" kern="0" dirty="0">
                <a:solidFill>
                  <a:prstClr val="black"/>
                </a:solidFill>
              </a:endParaRPr>
            </a:p>
          </p:txBody>
        </p:sp>
        <p:sp>
          <p:nvSpPr>
            <p:cNvPr id="51" name="Freeform 137"/>
            <p:cNvSpPr>
              <a:spLocks/>
            </p:cNvSpPr>
            <p:nvPr/>
          </p:nvSpPr>
          <p:spPr bwMode="auto">
            <a:xfrm>
              <a:off x="3836236" y="2565519"/>
              <a:ext cx="1292411" cy="694503"/>
            </a:xfrm>
            <a:custGeom>
              <a:avLst/>
              <a:gdLst>
                <a:gd name="T0" fmla="*/ 414 w 446"/>
                <a:gd name="T1" fmla="*/ 158 h 240"/>
                <a:gd name="T2" fmla="*/ 394 w 446"/>
                <a:gd name="T3" fmla="*/ 155 h 240"/>
                <a:gd name="T4" fmla="*/ 348 w 446"/>
                <a:gd name="T5" fmla="*/ 91 h 240"/>
                <a:gd name="T6" fmla="*/ 285 w 446"/>
                <a:gd name="T7" fmla="*/ 92 h 240"/>
                <a:gd name="T8" fmla="*/ 228 w 446"/>
                <a:gd name="T9" fmla="*/ 22 h 240"/>
                <a:gd name="T10" fmla="*/ 98 w 446"/>
                <a:gd name="T11" fmla="*/ 73 h 240"/>
                <a:gd name="T12" fmla="*/ 91 w 446"/>
                <a:gd name="T13" fmla="*/ 98 h 240"/>
                <a:gd name="T14" fmla="*/ 16 w 446"/>
                <a:gd name="T15" fmla="*/ 140 h 240"/>
                <a:gd name="T16" fmla="*/ 53 w 446"/>
                <a:gd name="T17" fmla="*/ 234 h 240"/>
                <a:gd name="T18" fmla="*/ 81 w 446"/>
                <a:gd name="T19" fmla="*/ 240 h 240"/>
                <a:gd name="T20" fmla="*/ 402 w 446"/>
                <a:gd name="T21" fmla="*/ 240 h 240"/>
                <a:gd name="T22" fmla="*/ 436 w 446"/>
                <a:gd name="T23" fmla="*/ 214 h 240"/>
                <a:gd name="T24" fmla="*/ 414 w 446"/>
                <a:gd name="T25" fmla="*/ 15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6" h="240">
                  <a:moveTo>
                    <a:pt x="414" y="158"/>
                  </a:moveTo>
                  <a:cubicBezTo>
                    <a:pt x="408" y="155"/>
                    <a:pt x="401" y="154"/>
                    <a:pt x="394" y="155"/>
                  </a:cubicBezTo>
                  <a:cubicBezTo>
                    <a:pt x="392" y="128"/>
                    <a:pt x="375" y="103"/>
                    <a:pt x="348" y="91"/>
                  </a:cubicBezTo>
                  <a:cubicBezTo>
                    <a:pt x="327" y="82"/>
                    <a:pt x="304" y="83"/>
                    <a:pt x="285" y="92"/>
                  </a:cubicBezTo>
                  <a:cubicBezTo>
                    <a:pt x="278" y="61"/>
                    <a:pt x="258" y="35"/>
                    <a:pt x="228" y="22"/>
                  </a:cubicBezTo>
                  <a:cubicBezTo>
                    <a:pt x="178" y="0"/>
                    <a:pt x="120" y="23"/>
                    <a:pt x="98" y="73"/>
                  </a:cubicBezTo>
                  <a:cubicBezTo>
                    <a:pt x="94" y="81"/>
                    <a:pt x="92" y="89"/>
                    <a:pt x="91" y="98"/>
                  </a:cubicBezTo>
                  <a:cubicBezTo>
                    <a:pt x="60" y="94"/>
                    <a:pt x="29" y="110"/>
                    <a:pt x="16" y="140"/>
                  </a:cubicBezTo>
                  <a:cubicBezTo>
                    <a:pt x="0" y="176"/>
                    <a:pt x="17" y="218"/>
                    <a:pt x="53" y="234"/>
                  </a:cubicBezTo>
                  <a:cubicBezTo>
                    <a:pt x="62" y="238"/>
                    <a:pt x="72" y="240"/>
                    <a:pt x="81" y="240"/>
                  </a:cubicBezTo>
                  <a:cubicBezTo>
                    <a:pt x="402" y="240"/>
                    <a:pt x="402" y="240"/>
                    <a:pt x="402" y="240"/>
                  </a:cubicBezTo>
                  <a:cubicBezTo>
                    <a:pt x="417" y="238"/>
                    <a:pt x="430" y="228"/>
                    <a:pt x="436" y="214"/>
                  </a:cubicBezTo>
                  <a:cubicBezTo>
                    <a:pt x="446" y="192"/>
                    <a:pt x="436" y="167"/>
                    <a:pt x="414" y="158"/>
                  </a:cubicBezTo>
                </a:path>
              </a:pathLst>
            </a:custGeom>
            <a:solidFill>
              <a:srgbClr val="B9B8BB"/>
            </a:solidFill>
            <a:ln>
              <a:noFill/>
            </a:ln>
          </p:spPr>
          <p:txBody>
            <a:bodyPr vert="horz" wrap="square" lIns="304800" tIns="60960" rIns="121920" bIns="60960" numCol="1" anchor="t" anchorCtr="1" compatLnSpc="1">
              <a:prstTxWarp prst="textNoShape">
                <a:avLst/>
              </a:prstTxWarp>
            </a:bodyPr>
            <a:lstStyle/>
            <a:p>
              <a:pPr algn="ctr" defTabSz="1219068">
                <a:defRPr/>
              </a:pPr>
              <a:r>
                <a:rPr lang="en-US" sz="1600" kern="0" dirty="0">
                  <a:solidFill>
                    <a:prstClr val="black"/>
                  </a:solidFill>
                </a:rPr>
                <a:t> </a:t>
              </a:r>
              <a:br>
                <a:rPr lang="en-US" sz="1600" kern="0" dirty="0">
                  <a:solidFill>
                    <a:prstClr val="black"/>
                  </a:solidFill>
                </a:rPr>
              </a:br>
              <a:r>
                <a:rPr lang="ru-RU" sz="1600" kern="0" dirty="0">
                  <a:solidFill>
                    <a:prstClr val="black"/>
                  </a:solidFill>
                </a:rPr>
                <a:t>Управление </a:t>
              </a:r>
              <a:br>
                <a:rPr lang="ru-RU" sz="1600" kern="0" dirty="0">
                  <a:solidFill>
                    <a:prstClr val="black"/>
                  </a:solidFill>
                </a:rPr>
              </a:br>
              <a:r>
                <a:rPr lang="ru-RU" sz="1600" kern="0" dirty="0">
                  <a:solidFill>
                    <a:prstClr val="black"/>
                  </a:solidFill>
                </a:rPr>
                <a:t>ресурсами</a:t>
              </a:r>
              <a:endParaRPr lang="en-US" sz="2400" kern="0" dirty="0">
                <a:solidFill>
                  <a:prstClr val="black"/>
                </a:solidFill>
              </a:endParaRPr>
            </a:p>
          </p:txBody>
        </p:sp>
        <p:sp>
          <p:nvSpPr>
            <p:cNvPr id="96" name="Rounded Rectangle 95"/>
            <p:cNvSpPr/>
            <p:nvPr/>
          </p:nvSpPr>
          <p:spPr>
            <a:xfrm>
              <a:off x="211667" y="2675469"/>
              <a:ext cx="2032000" cy="626532"/>
            </a:xfrm>
            <a:prstGeom prst="roundRect">
              <a:avLst/>
            </a:prstGeom>
            <a:solidFill>
              <a:srgbClr val="425563"/>
            </a:solidFill>
            <a:ln w="38100" cap="flat" cmpd="sng" algn="ctr">
              <a:noFill/>
              <a:prstDash val="solid"/>
              <a:headEnd/>
              <a:tailEnd/>
            </a:ln>
            <a:effectLst>
              <a:outerShdw blurRad="40000" dist="20000" dir="5400000" rotWithShape="0">
                <a:srgbClr val="000000">
                  <a:alpha val="38000"/>
                </a:srgbClr>
              </a:outerShdw>
            </a:effectLst>
          </p:spPr>
          <p:txBody>
            <a:bodyPr rot="0" spcFirstLastPara="0" vertOverflow="overflow" horzOverflow="overflow" vert="horz" wrap="square" lIns="121920" tIns="97536" rIns="121920" bIns="60960" numCol="1" spcCol="0" rtlCol="0" fromWordArt="0" anchor="t" anchorCtr="0" forceAA="0" compatLnSpc="1">
              <a:prstTxWarp prst="textNoShape">
                <a:avLst/>
              </a:prstTxWarp>
              <a:noAutofit/>
            </a:bodyPr>
            <a:lstStyle/>
            <a:p>
              <a:pPr algn="ctr">
                <a:lnSpc>
                  <a:spcPct val="120000"/>
                </a:lnSpc>
                <a:spcAft>
                  <a:spcPts val="187"/>
                </a:spcAft>
                <a:defRPr/>
              </a:pPr>
              <a:r>
                <a:rPr lang="ru-RU" sz="1600" b="1" kern="0" dirty="0">
                  <a:solidFill>
                    <a:prstClr val="white"/>
                  </a:solidFill>
                </a:rPr>
                <a:t>Управление разверты-</a:t>
              </a:r>
              <a:r>
                <a:rPr lang="ru-RU" sz="1600" b="1" kern="0" dirty="0" err="1">
                  <a:solidFill>
                    <a:prstClr val="white"/>
                  </a:solidFill>
                </a:rPr>
                <a:t>ванием</a:t>
              </a:r>
              <a:r>
                <a:rPr lang="ru-RU" sz="1600" b="1" kern="0" dirty="0">
                  <a:solidFill>
                    <a:prstClr val="white"/>
                  </a:solidFill>
                </a:rPr>
                <a:t> сервиса</a:t>
              </a:r>
              <a:endParaRPr lang="en-US" sz="1600" kern="0" dirty="0">
                <a:solidFill>
                  <a:prstClr val="white"/>
                </a:solidFill>
              </a:endParaRPr>
            </a:p>
          </p:txBody>
        </p:sp>
        <p:cxnSp>
          <p:nvCxnSpPr>
            <p:cNvPr id="100" name="Straight Arrow Connector 99"/>
            <p:cNvCxnSpPr/>
            <p:nvPr/>
          </p:nvCxnSpPr>
          <p:spPr>
            <a:xfrm flipV="1">
              <a:off x="2226733" y="2971800"/>
              <a:ext cx="897467" cy="1"/>
            </a:xfrm>
            <a:prstGeom prst="straightConnector1">
              <a:avLst/>
            </a:prstGeom>
            <a:ln w="57150" cmpd="sng">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grpSp>
      <p:grpSp>
        <p:nvGrpSpPr>
          <p:cNvPr id="8" name="Group 7"/>
          <p:cNvGrpSpPr/>
          <p:nvPr/>
        </p:nvGrpSpPr>
        <p:grpSpPr>
          <a:xfrm>
            <a:off x="417689" y="5250453"/>
            <a:ext cx="8257931" cy="1047168"/>
            <a:chOff x="313267" y="3733622"/>
            <a:chExt cx="6193448" cy="785376"/>
          </a:xfrm>
        </p:grpSpPr>
        <p:grpSp>
          <p:nvGrpSpPr>
            <p:cNvPr id="52" name="Group 10"/>
            <p:cNvGrpSpPr/>
            <p:nvPr/>
          </p:nvGrpSpPr>
          <p:grpSpPr>
            <a:xfrm>
              <a:off x="2829195" y="3733622"/>
              <a:ext cx="3506537" cy="501220"/>
              <a:chOff x="4659155" y="3817227"/>
              <a:chExt cx="3506537" cy="501220"/>
            </a:xfrm>
          </p:grpSpPr>
          <p:grpSp>
            <p:nvGrpSpPr>
              <p:cNvPr id="74" name="Group 67"/>
              <p:cNvGrpSpPr>
                <a:grpSpLocks noChangeAspect="1"/>
              </p:cNvGrpSpPr>
              <p:nvPr/>
            </p:nvGrpSpPr>
            <p:grpSpPr>
              <a:xfrm>
                <a:off x="7517958" y="3838117"/>
                <a:ext cx="647734" cy="459440"/>
                <a:chOff x="573088" y="973138"/>
                <a:chExt cx="819150" cy="581025"/>
              </a:xfrm>
              <a:solidFill>
                <a:srgbClr val="87898B"/>
              </a:solidFill>
            </p:grpSpPr>
            <p:sp>
              <p:nvSpPr>
                <p:cNvPr id="90" name="Freeform 5"/>
                <p:cNvSpPr>
                  <a:spLocks/>
                </p:cNvSpPr>
                <p:nvPr/>
              </p:nvSpPr>
              <p:spPr bwMode="auto">
                <a:xfrm>
                  <a:off x="573088" y="1101725"/>
                  <a:ext cx="819150" cy="452438"/>
                </a:xfrm>
                <a:custGeom>
                  <a:avLst/>
                  <a:gdLst/>
                  <a:ahLst/>
                  <a:cxnLst>
                    <a:cxn ang="0">
                      <a:pos x="367" y="127"/>
                    </a:cxn>
                    <a:cxn ang="0">
                      <a:pos x="366" y="127"/>
                    </a:cxn>
                    <a:cxn ang="0">
                      <a:pos x="366" y="127"/>
                    </a:cxn>
                    <a:cxn ang="0">
                      <a:pos x="354" y="123"/>
                    </a:cxn>
                    <a:cxn ang="0">
                      <a:pos x="333" y="85"/>
                    </a:cxn>
                    <a:cxn ang="0">
                      <a:pos x="316" y="96"/>
                    </a:cxn>
                    <a:cxn ang="0">
                      <a:pos x="335" y="134"/>
                    </a:cxn>
                    <a:cxn ang="0">
                      <a:pos x="336" y="144"/>
                    </a:cxn>
                    <a:cxn ang="0">
                      <a:pos x="346" y="143"/>
                    </a:cxn>
                    <a:cxn ang="0">
                      <a:pos x="348" y="143"/>
                    </a:cxn>
                    <a:cxn ang="0">
                      <a:pos x="359" y="145"/>
                    </a:cxn>
                    <a:cxn ang="0">
                      <a:pos x="359" y="145"/>
                    </a:cxn>
                    <a:cxn ang="0">
                      <a:pos x="375" y="170"/>
                    </a:cxn>
                    <a:cxn ang="0">
                      <a:pos x="372" y="180"/>
                    </a:cxn>
                    <a:cxn ang="0">
                      <a:pos x="351" y="197"/>
                    </a:cxn>
                    <a:cxn ang="0">
                      <a:pos x="73" y="197"/>
                    </a:cxn>
                    <a:cxn ang="0">
                      <a:pos x="72" y="197"/>
                    </a:cxn>
                    <a:cxn ang="0">
                      <a:pos x="72" y="197"/>
                    </a:cxn>
                    <a:cxn ang="0">
                      <a:pos x="51" y="193"/>
                    </a:cxn>
                    <a:cxn ang="0">
                      <a:pos x="20" y="145"/>
                    </a:cxn>
                    <a:cxn ang="0">
                      <a:pos x="24" y="124"/>
                    </a:cxn>
                    <a:cxn ang="0">
                      <a:pos x="72" y="93"/>
                    </a:cxn>
                    <a:cxn ang="0">
                      <a:pos x="79" y="93"/>
                    </a:cxn>
                    <a:cxn ang="0">
                      <a:pos x="89" y="94"/>
                    </a:cxn>
                    <a:cxn ang="0">
                      <a:pos x="90" y="85"/>
                    </a:cxn>
                    <a:cxn ang="0">
                      <a:pos x="96" y="66"/>
                    </a:cxn>
                    <a:cxn ang="0">
                      <a:pos x="166" y="20"/>
                    </a:cxn>
                    <a:cxn ang="0">
                      <a:pos x="188" y="23"/>
                    </a:cxn>
                    <a:cxn ang="0">
                      <a:pos x="188" y="14"/>
                    </a:cxn>
                    <a:cxn ang="0">
                      <a:pos x="189" y="3"/>
                    </a:cxn>
                    <a:cxn ang="0">
                      <a:pos x="166" y="0"/>
                    </a:cxn>
                    <a:cxn ang="0">
                      <a:pos x="77" y="58"/>
                    </a:cxn>
                    <a:cxn ang="0">
                      <a:pos x="72" y="73"/>
                    </a:cxn>
                    <a:cxn ang="0">
                      <a:pos x="72" y="73"/>
                    </a:cxn>
                    <a:cxn ang="0">
                      <a:pos x="6" y="116"/>
                    </a:cxn>
                    <a:cxn ang="0">
                      <a:pos x="0" y="145"/>
                    </a:cxn>
                    <a:cxn ang="0">
                      <a:pos x="44" y="211"/>
                    </a:cxn>
                    <a:cxn ang="0">
                      <a:pos x="71" y="217"/>
                    </a:cxn>
                    <a:cxn ang="0">
                      <a:pos x="71" y="217"/>
                    </a:cxn>
                    <a:cxn ang="0">
                      <a:pos x="352" y="217"/>
                    </a:cxn>
                    <a:cxn ang="0">
                      <a:pos x="352" y="217"/>
                    </a:cxn>
                    <a:cxn ang="0">
                      <a:pos x="391" y="188"/>
                    </a:cxn>
                    <a:cxn ang="0">
                      <a:pos x="395" y="170"/>
                    </a:cxn>
                    <a:cxn ang="0">
                      <a:pos x="367" y="127"/>
                    </a:cxn>
                  </a:cxnLst>
                  <a:rect l="0" t="0" r="r" b="b"/>
                  <a:pathLst>
                    <a:path w="395" h="217">
                      <a:moveTo>
                        <a:pt x="367" y="127"/>
                      </a:moveTo>
                      <a:cubicBezTo>
                        <a:pt x="366" y="127"/>
                        <a:pt x="366" y="127"/>
                        <a:pt x="366" y="127"/>
                      </a:cubicBezTo>
                      <a:cubicBezTo>
                        <a:pt x="366" y="127"/>
                        <a:pt x="366" y="127"/>
                        <a:pt x="366" y="127"/>
                      </a:cubicBezTo>
                      <a:cubicBezTo>
                        <a:pt x="362" y="125"/>
                        <a:pt x="358" y="124"/>
                        <a:pt x="354" y="123"/>
                      </a:cubicBezTo>
                      <a:cubicBezTo>
                        <a:pt x="351" y="109"/>
                        <a:pt x="344" y="96"/>
                        <a:pt x="333" y="85"/>
                      </a:cubicBezTo>
                      <a:cubicBezTo>
                        <a:pt x="328" y="89"/>
                        <a:pt x="322" y="93"/>
                        <a:pt x="316" y="96"/>
                      </a:cubicBezTo>
                      <a:cubicBezTo>
                        <a:pt x="327" y="106"/>
                        <a:pt x="334" y="119"/>
                        <a:pt x="335" y="134"/>
                      </a:cubicBezTo>
                      <a:cubicBezTo>
                        <a:pt x="336" y="144"/>
                        <a:pt x="336" y="144"/>
                        <a:pt x="336" y="144"/>
                      </a:cubicBezTo>
                      <a:cubicBezTo>
                        <a:pt x="346" y="143"/>
                        <a:pt x="346" y="143"/>
                        <a:pt x="346" y="143"/>
                      </a:cubicBezTo>
                      <a:cubicBezTo>
                        <a:pt x="347" y="143"/>
                        <a:pt x="347" y="143"/>
                        <a:pt x="348" y="143"/>
                      </a:cubicBezTo>
                      <a:cubicBezTo>
                        <a:pt x="352" y="143"/>
                        <a:pt x="355" y="144"/>
                        <a:pt x="359" y="145"/>
                      </a:cubicBezTo>
                      <a:cubicBezTo>
                        <a:pt x="359" y="145"/>
                        <a:pt x="359" y="145"/>
                        <a:pt x="359" y="145"/>
                      </a:cubicBezTo>
                      <a:cubicBezTo>
                        <a:pt x="369" y="149"/>
                        <a:pt x="375" y="159"/>
                        <a:pt x="375" y="170"/>
                      </a:cubicBezTo>
                      <a:cubicBezTo>
                        <a:pt x="375" y="173"/>
                        <a:pt x="374" y="177"/>
                        <a:pt x="372" y="180"/>
                      </a:cubicBezTo>
                      <a:cubicBezTo>
                        <a:pt x="368" y="190"/>
                        <a:pt x="360" y="196"/>
                        <a:pt x="351" y="197"/>
                      </a:cubicBezTo>
                      <a:cubicBezTo>
                        <a:pt x="73" y="197"/>
                        <a:pt x="73" y="197"/>
                        <a:pt x="73" y="197"/>
                      </a:cubicBezTo>
                      <a:cubicBezTo>
                        <a:pt x="72" y="197"/>
                        <a:pt x="72" y="197"/>
                        <a:pt x="72" y="197"/>
                      </a:cubicBezTo>
                      <a:cubicBezTo>
                        <a:pt x="72" y="197"/>
                        <a:pt x="72" y="197"/>
                        <a:pt x="72" y="197"/>
                      </a:cubicBezTo>
                      <a:cubicBezTo>
                        <a:pt x="65" y="197"/>
                        <a:pt x="58" y="196"/>
                        <a:pt x="51" y="193"/>
                      </a:cubicBezTo>
                      <a:cubicBezTo>
                        <a:pt x="32" y="184"/>
                        <a:pt x="20" y="165"/>
                        <a:pt x="20" y="145"/>
                      </a:cubicBezTo>
                      <a:cubicBezTo>
                        <a:pt x="20" y="138"/>
                        <a:pt x="21" y="131"/>
                        <a:pt x="24" y="124"/>
                      </a:cubicBezTo>
                      <a:cubicBezTo>
                        <a:pt x="33" y="104"/>
                        <a:pt x="52" y="93"/>
                        <a:pt x="72" y="93"/>
                      </a:cubicBezTo>
                      <a:cubicBezTo>
                        <a:pt x="75" y="93"/>
                        <a:pt x="77" y="93"/>
                        <a:pt x="79" y="93"/>
                      </a:cubicBezTo>
                      <a:cubicBezTo>
                        <a:pt x="89" y="94"/>
                        <a:pt x="89" y="94"/>
                        <a:pt x="89" y="94"/>
                      </a:cubicBezTo>
                      <a:cubicBezTo>
                        <a:pt x="90" y="85"/>
                        <a:pt x="90" y="85"/>
                        <a:pt x="90" y="85"/>
                      </a:cubicBezTo>
                      <a:cubicBezTo>
                        <a:pt x="91" y="78"/>
                        <a:pt x="93" y="72"/>
                        <a:pt x="96" y="66"/>
                      </a:cubicBezTo>
                      <a:cubicBezTo>
                        <a:pt x="108" y="37"/>
                        <a:pt x="136" y="20"/>
                        <a:pt x="166" y="20"/>
                      </a:cubicBezTo>
                      <a:cubicBezTo>
                        <a:pt x="173" y="20"/>
                        <a:pt x="181" y="21"/>
                        <a:pt x="188" y="23"/>
                      </a:cubicBezTo>
                      <a:cubicBezTo>
                        <a:pt x="188" y="20"/>
                        <a:pt x="188" y="17"/>
                        <a:pt x="188" y="14"/>
                      </a:cubicBezTo>
                      <a:cubicBezTo>
                        <a:pt x="188" y="10"/>
                        <a:pt x="188" y="7"/>
                        <a:pt x="189" y="3"/>
                      </a:cubicBezTo>
                      <a:cubicBezTo>
                        <a:pt x="181" y="1"/>
                        <a:pt x="173" y="0"/>
                        <a:pt x="166" y="0"/>
                      </a:cubicBezTo>
                      <a:cubicBezTo>
                        <a:pt x="129" y="0"/>
                        <a:pt x="93" y="21"/>
                        <a:pt x="77" y="58"/>
                      </a:cubicBezTo>
                      <a:cubicBezTo>
                        <a:pt x="75" y="63"/>
                        <a:pt x="74" y="68"/>
                        <a:pt x="72" y="73"/>
                      </a:cubicBezTo>
                      <a:cubicBezTo>
                        <a:pt x="72" y="73"/>
                        <a:pt x="72" y="73"/>
                        <a:pt x="72" y="73"/>
                      </a:cubicBezTo>
                      <a:cubicBezTo>
                        <a:pt x="44" y="73"/>
                        <a:pt x="18" y="89"/>
                        <a:pt x="6" y="116"/>
                      </a:cubicBezTo>
                      <a:cubicBezTo>
                        <a:pt x="2" y="125"/>
                        <a:pt x="0" y="135"/>
                        <a:pt x="0" y="145"/>
                      </a:cubicBezTo>
                      <a:cubicBezTo>
                        <a:pt x="0" y="173"/>
                        <a:pt x="16" y="199"/>
                        <a:pt x="44" y="211"/>
                      </a:cubicBezTo>
                      <a:cubicBezTo>
                        <a:pt x="52" y="215"/>
                        <a:pt x="62" y="217"/>
                        <a:pt x="71" y="217"/>
                      </a:cubicBezTo>
                      <a:cubicBezTo>
                        <a:pt x="71" y="217"/>
                        <a:pt x="71" y="217"/>
                        <a:pt x="71" y="217"/>
                      </a:cubicBezTo>
                      <a:cubicBezTo>
                        <a:pt x="352" y="217"/>
                        <a:pt x="352" y="217"/>
                        <a:pt x="352" y="217"/>
                      </a:cubicBezTo>
                      <a:cubicBezTo>
                        <a:pt x="352" y="217"/>
                        <a:pt x="352" y="217"/>
                        <a:pt x="352" y="217"/>
                      </a:cubicBezTo>
                      <a:cubicBezTo>
                        <a:pt x="369" y="215"/>
                        <a:pt x="384" y="204"/>
                        <a:pt x="391" y="188"/>
                      </a:cubicBezTo>
                      <a:cubicBezTo>
                        <a:pt x="393" y="182"/>
                        <a:pt x="395" y="176"/>
                        <a:pt x="395" y="170"/>
                      </a:cubicBezTo>
                      <a:cubicBezTo>
                        <a:pt x="395" y="151"/>
                        <a:pt x="384" y="134"/>
                        <a:pt x="367" y="127"/>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068">
                    <a:defRPr/>
                  </a:pPr>
                  <a:endParaRPr lang="en-US" sz="2400" kern="0">
                    <a:solidFill>
                      <a:prstClr val="black"/>
                    </a:solidFill>
                  </a:endParaRPr>
                </a:p>
              </p:txBody>
            </p:sp>
            <p:sp>
              <p:nvSpPr>
                <p:cNvPr id="91" name="Freeform 6"/>
                <p:cNvSpPr>
                  <a:spLocks noEditPoints="1"/>
                </p:cNvSpPr>
                <p:nvPr/>
              </p:nvSpPr>
              <p:spPr bwMode="auto">
                <a:xfrm>
                  <a:off x="992188" y="973138"/>
                  <a:ext cx="314325" cy="315913"/>
                </a:xfrm>
                <a:custGeom>
                  <a:avLst/>
                  <a:gdLst/>
                  <a:ahLst/>
                  <a:cxnLst>
                    <a:cxn ang="0">
                      <a:pos x="118" y="81"/>
                    </a:cxn>
                    <a:cxn ang="0">
                      <a:pos x="135" y="107"/>
                    </a:cxn>
                    <a:cxn ang="0">
                      <a:pos x="94" y="140"/>
                    </a:cxn>
                    <a:cxn ang="0">
                      <a:pos x="129" y="117"/>
                    </a:cxn>
                    <a:cxn ang="0">
                      <a:pos x="23" y="117"/>
                    </a:cxn>
                    <a:cxn ang="0">
                      <a:pos x="57" y="140"/>
                    </a:cxn>
                    <a:cxn ang="0">
                      <a:pos x="17" y="107"/>
                    </a:cxn>
                    <a:cxn ang="0">
                      <a:pos x="33" y="81"/>
                    </a:cxn>
                    <a:cxn ang="0">
                      <a:pos x="17" y="107"/>
                    </a:cxn>
                    <a:cxn ang="0">
                      <a:pos x="38" y="45"/>
                    </a:cxn>
                    <a:cxn ang="0">
                      <a:pos x="10" y="72"/>
                    </a:cxn>
                    <a:cxn ang="0">
                      <a:pos x="57" y="13"/>
                    </a:cxn>
                    <a:cxn ang="0">
                      <a:pos x="23" y="36"/>
                    </a:cxn>
                    <a:cxn ang="0">
                      <a:pos x="129" y="36"/>
                    </a:cxn>
                    <a:cxn ang="0">
                      <a:pos x="94" y="13"/>
                    </a:cxn>
                    <a:cxn ang="0">
                      <a:pos x="81" y="72"/>
                    </a:cxn>
                    <a:cxn ang="0">
                      <a:pos x="103" y="45"/>
                    </a:cxn>
                    <a:cxn ang="0">
                      <a:pos x="81" y="72"/>
                    </a:cxn>
                    <a:cxn ang="0">
                      <a:pos x="81" y="81"/>
                    </a:cxn>
                    <a:cxn ang="0">
                      <a:pos x="104" y="107"/>
                    </a:cxn>
                    <a:cxn ang="0">
                      <a:pos x="81" y="139"/>
                    </a:cxn>
                    <a:cxn ang="0">
                      <a:pos x="99" y="117"/>
                    </a:cxn>
                    <a:cxn ang="0">
                      <a:pos x="71" y="117"/>
                    </a:cxn>
                    <a:cxn ang="0">
                      <a:pos x="52" y="117"/>
                    </a:cxn>
                    <a:cxn ang="0">
                      <a:pos x="71" y="81"/>
                    </a:cxn>
                    <a:cxn ang="0">
                      <a:pos x="48" y="107"/>
                    </a:cxn>
                    <a:cxn ang="0">
                      <a:pos x="71" y="81"/>
                    </a:cxn>
                    <a:cxn ang="0">
                      <a:pos x="71" y="72"/>
                    </a:cxn>
                    <a:cxn ang="0">
                      <a:pos x="48" y="45"/>
                    </a:cxn>
                    <a:cxn ang="0">
                      <a:pos x="71" y="13"/>
                    </a:cxn>
                    <a:cxn ang="0">
                      <a:pos x="52" y="36"/>
                    </a:cxn>
                    <a:cxn ang="0">
                      <a:pos x="99" y="36"/>
                    </a:cxn>
                    <a:cxn ang="0">
                      <a:pos x="81" y="14"/>
                    </a:cxn>
                    <a:cxn ang="0">
                      <a:pos x="135" y="45"/>
                    </a:cxn>
                    <a:cxn ang="0">
                      <a:pos x="118" y="72"/>
                    </a:cxn>
                    <a:cxn ang="0">
                      <a:pos x="135" y="45"/>
                    </a:cxn>
                    <a:cxn ang="0">
                      <a:pos x="0" y="76"/>
                    </a:cxn>
                    <a:cxn ang="0">
                      <a:pos x="152" y="76"/>
                    </a:cxn>
                  </a:cxnLst>
                  <a:rect l="0" t="0" r="r" b="b"/>
                  <a:pathLst>
                    <a:path w="152" h="152">
                      <a:moveTo>
                        <a:pt x="114" y="107"/>
                      </a:moveTo>
                      <a:cubicBezTo>
                        <a:pt x="116" y="99"/>
                        <a:pt x="118" y="90"/>
                        <a:pt x="118" y="81"/>
                      </a:cubicBezTo>
                      <a:cubicBezTo>
                        <a:pt x="142" y="81"/>
                        <a:pt x="142" y="81"/>
                        <a:pt x="142" y="81"/>
                      </a:cubicBezTo>
                      <a:cubicBezTo>
                        <a:pt x="141" y="91"/>
                        <a:pt x="139" y="99"/>
                        <a:pt x="135" y="107"/>
                      </a:cubicBezTo>
                      <a:lnTo>
                        <a:pt x="114" y="107"/>
                      </a:lnTo>
                      <a:close/>
                      <a:moveTo>
                        <a:pt x="94" y="140"/>
                      </a:moveTo>
                      <a:cubicBezTo>
                        <a:pt x="101" y="134"/>
                        <a:pt x="106" y="126"/>
                        <a:pt x="110" y="117"/>
                      </a:cubicBezTo>
                      <a:cubicBezTo>
                        <a:pt x="129" y="117"/>
                        <a:pt x="129" y="117"/>
                        <a:pt x="129" y="117"/>
                      </a:cubicBezTo>
                      <a:cubicBezTo>
                        <a:pt x="120" y="128"/>
                        <a:pt x="108" y="136"/>
                        <a:pt x="94" y="140"/>
                      </a:cubicBezTo>
                      <a:moveTo>
                        <a:pt x="23" y="117"/>
                      </a:moveTo>
                      <a:cubicBezTo>
                        <a:pt x="41" y="117"/>
                        <a:pt x="41" y="117"/>
                        <a:pt x="41" y="117"/>
                      </a:cubicBezTo>
                      <a:cubicBezTo>
                        <a:pt x="45" y="126"/>
                        <a:pt x="51" y="134"/>
                        <a:pt x="57" y="140"/>
                      </a:cubicBezTo>
                      <a:cubicBezTo>
                        <a:pt x="44" y="136"/>
                        <a:pt x="32" y="128"/>
                        <a:pt x="23" y="117"/>
                      </a:cubicBezTo>
                      <a:moveTo>
                        <a:pt x="17" y="107"/>
                      </a:moveTo>
                      <a:cubicBezTo>
                        <a:pt x="13" y="99"/>
                        <a:pt x="10" y="91"/>
                        <a:pt x="10" y="81"/>
                      </a:cubicBezTo>
                      <a:cubicBezTo>
                        <a:pt x="33" y="81"/>
                        <a:pt x="33" y="81"/>
                        <a:pt x="33" y="81"/>
                      </a:cubicBezTo>
                      <a:cubicBezTo>
                        <a:pt x="34" y="90"/>
                        <a:pt x="35" y="99"/>
                        <a:pt x="38" y="107"/>
                      </a:cubicBezTo>
                      <a:lnTo>
                        <a:pt x="17" y="107"/>
                      </a:lnTo>
                      <a:close/>
                      <a:moveTo>
                        <a:pt x="17" y="45"/>
                      </a:moveTo>
                      <a:cubicBezTo>
                        <a:pt x="38" y="45"/>
                        <a:pt x="38" y="45"/>
                        <a:pt x="38" y="45"/>
                      </a:cubicBezTo>
                      <a:cubicBezTo>
                        <a:pt x="35" y="54"/>
                        <a:pt x="34" y="62"/>
                        <a:pt x="33" y="72"/>
                      </a:cubicBezTo>
                      <a:cubicBezTo>
                        <a:pt x="10" y="72"/>
                        <a:pt x="10" y="72"/>
                        <a:pt x="10" y="72"/>
                      </a:cubicBezTo>
                      <a:cubicBezTo>
                        <a:pt x="10" y="62"/>
                        <a:pt x="13" y="53"/>
                        <a:pt x="17" y="45"/>
                      </a:cubicBezTo>
                      <a:moveTo>
                        <a:pt x="57" y="13"/>
                      </a:moveTo>
                      <a:cubicBezTo>
                        <a:pt x="51" y="19"/>
                        <a:pt x="45" y="27"/>
                        <a:pt x="41" y="36"/>
                      </a:cubicBezTo>
                      <a:cubicBezTo>
                        <a:pt x="23" y="36"/>
                        <a:pt x="23" y="36"/>
                        <a:pt x="23" y="36"/>
                      </a:cubicBezTo>
                      <a:cubicBezTo>
                        <a:pt x="32" y="25"/>
                        <a:pt x="44" y="17"/>
                        <a:pt x="57" y="13"/>
                      </a:cubicBezTo>
                      <a:moveTo>
                        <a:pt x="129" y="36"/>
                      </a:moveTo>
                      <a:cubicBezTo>
                        <a:pt x="110" y="36"/>
                        <a:pt x="110" y="36"/>
                        <a:pt x="110" y="36"/>
                      </a:cubicBezTo>
                      <a:cubicBezTo>
                        <a:pt x="106" y="27"/>
                        <a:pt x="100" y="19"/>
                        <a:pt x="94" y="13"/>
                      </a:cubicBezTo>
                      <a:cubicBezTo>
                        <a:pt x="108" y="16"/>
                        <a:pt x="120" y="25"/>
                        <a:pt x="129" y="36"/>
                      </a:cubicBezTo>
                      <a:moveTo>
                        <a:pt x="81" y="72"/>
                      </a:moveTo>
                      <a:cubicBezTo>
                        <a:pt x="81" y="45"/>
                        <a:pt x="81" y="45"/>
                        <a:pt x="81" y="45"/>
                      </a:cubicBezTo>
                      <a:cubicBezTo>
                        <a:pt x="103" y="45"/>
                        <a:pt x="103" y="45"/>
                        <a:pt x="103" y="45"/>
                      </a:cubicBezTo>
                      <a:cubicBezTo>
                        <a:pt x="106" y="54"/>
                        <a:pt x="108" y="62"/>
                        <a:pt x="109" y="72"/>
                      </a:cubicBezTo>
                      <a:lnTo>
                        <a:pt x="81" y="72"/>
                      </a:lnTo>
                      <a:close/>
                      <a:moveTo>
                        <a:pt x="81" y="107"/>
                      </a:moveTo>
                      <a:cubicBezTo>
                        <a:pt x="81" y="81"/>
                        <a:pt x="81" y="81"/>
                        <a:pt x="81" y="81"/>
                      </a:cubicBezTo>
                      <a:cubicBezTo>
                        <a:pt x="109" y="81"/>
                        <a:pt x="109" y="81"/>
                        <a:pt x="109" y="81"/>
                      </a:cubicBezTo>
                      <a:cubicBezTo>
                        <a:pt x="108" y="90"/>
                        <a:pt x="106" y="99"/>
                        <a:pt x="104" y="107"/>
                      </a:cubicBezTo>
                      <a:lnTo>
                        <a:pt x="81" y="107"/>
                      </a:lnTo>
                      <a:close/>
                      <a:moveTo>
                        <a:pt x="81" y="139"/>
                      </a:moveTo>
                      <a:cubicBezTo>
                        <a:pt x="81" y="117"/>
                        <a:pt x="81" y="117"/>
                        <a:pt x="81" y="117"/>
                      </a:cubicBezTo>
                      <a:cubicBezTo>
                        <a:pt x="99" y="117"/>
                        <a:pt x="99" y="117"/>
                        <a:pt x="99" y="117"/>
                      </a:cubicBezTo>
                      <a:cubicBezTo>
                        <a:pt x="95" y="126"/>
                        <a:pt x="88" y="134"/>
                        <a:pt x="81" y="139"/>
                      </a:cubicBezTo>
                      <a:moveTo>
                        <a:pt x="71" y="117"/>
                      </a:moveTo>
                      <a:cubicBezTo>
                        <a:pt x="71" y="139"/>
                        <a:pt x="71" y="139"/>
                        <a:pt x="71" y="139"/>
                      </a:cubicBezTo>
                      <a:cubicBezTo>
                        <a:pt x="63" y="134"/>
                        <a:pt x="57" y="126"/>
                        <a:pt x="52" y="117"/>
                      </a:cubicBezTo>
                      <a:lnTo>
                        <a:pt x="71" y="117"/>
                      </a:lnTo>
                      <a:close/>
                      <a:moveTo>
                        <a:pt x="71" y="81"/>
                      </a:moveTo>
                      <a:cubicBezTo>
                        <a:pt x="71" y="107"/>
                        <a:pt x="71" y="107"/>
                        <a:pt x="71" y="107"/>
                      </a:cubicBezTo>
                      <a:cubicBezTo>
                        <a:pt x="48" y="107"/>
                        <a:pt x="48" y="107"/>
                        <a:pt x="48" y="107"/>
                      </a:cubicBezTo>
                      <a:cubicBezTo>
                        <a:pt x="45" y="99"/>
                        <a:pt x="43" y="90"/>
                        <a:pt x="43" y="81"/>
                      </a:cubicBezTo>
                      <a:lnTo>
                        <a:pt x="71" y="81"/>
                      </a:lnTo>
                      <a:close/>
                      <a:moveTo>
                        <a:pt x="71" y="45"/>
                      </a:moveTo>
                      <a:cubicBezTo>
                        <a:pt x="71" y="72"/>
                        <a:pt x="71" y="72"/>
                        <a:pt x="71" y="72"/>
                      </a:cubicBezTo>
                      <a:cubicBezTo>
                        <a:pt x="43" y="72"/>
                        <a:pt x="43" y="72"/>
                        <a:pt x="43" y="72"/>
                      </a:cubicBezTo>
                      <a:cubicBezTo>
                        <a:pt x="43" y="62"/>
                        <a:pt x="45" y="54"/>
                        <a:pt x="48" y="45"/>
                      </a:cubicBezTo>
                      <a:lnTo>
                        <a:pt x="71" y="45"/>
                      </a:lnTo>
                      <a:close/>
                      <a:moveTo>
                        <a:pt x="71" y="13"/>
                      </a:moveTo>
                      <a:cubicBezTo>
                        <a:pt x="71" y="36"/>
                        <a:pt x="71" y="36"/>
                        <a:pt x="71" y="36"/>
                      </a:cubicBezTo>
                      <a:cubicBezTo>
                        <a:pt x="52" y="36"/>
                        <a:pt x="52" y="36"/>
                        <a:pt x="52" y="36"/>
                      </a:cubicBezTo>
                      <a:cubicBezTo>
                        <a:pt x="57" y="27"/>
                        <a:pt x="63" y="19"/>
                        <a:pt x="71" y="13"/>
                      </a:cubicBezTo>
                      <a:moveTo>
                        <a:pt x="99" y="36"/>
                      </a:moveTo>
                      <a:cubicBezTo>
                        <a:pt x="81" y="36"/>
                        <a:pt x="81" y="36"/>
                        <a:pt x="81" y="36"/>
                      </a:cubicBezTo>
                      <a:cubicBezTo>
                        <a:pt x="81" y="14"/>
                        <a:pt x="81" y="14"/>
                        <a:pt x="81" y="14"/>
                      </a:cubicBezTo>
                      <a:cubicBezTo>
                        <a:pt x="88" y="19"/>
                        <a:pt x="94" y="27"/>
                        <a:pt x="99" y="36"/>
                      </a:cubicBezTo>
                      <a:moveTo>
                        <a:pt x="135" y="45"/>
                      </a:moveTo>
                      <a:cubicBezTo>
                        <a:pt x="139" y="53"/>
                        <a:pt x="141" y="62"/>
                        <a:pt x="142" y="72"/>
                      </a:cubicBezTo>
                      <a:cubicBezTo>
                        <a:pt x="118" y="72"/>
                        <a:pt x="118" y="72"/>
                        <a:pt x="118" y="72"/>
                      </a:cubicBezTo>
                      <a:cubicBezTo>
                        <a:pt x="118" y="62"/>
                        <a:pt x="116" y="54"/>
                        <a:pt x="114" y="45"/>
                      </a:cubicBezTo>
                      <a:lnTo>
                        <a:pt x="135" y="45"/>
                      </a:lnTo>
                      <a:close/>
                      <a:moveTo>
                        <a:pt x="76" y="0"/>
                      </a:moveTo>
                      <a:cubicBezTo>
                        <a:pt x="34" y="0"/>
                        <a:pt x="0" y="35"/>
                        <a:pt x="0" y="76"/>
                      </a:cubicBezTo>
                      <a:cubicBezTo>
                        <a:pt x="0" y="118"/>
                        <a:pt x="34" y="152"/>
                        <a:pt x="76" y="152"/>
                      </a:cubicBezTo>
                      <a:cubicBezTo>
                        <a:pt x="118" y="152"/>
                        <a:pt x="152" y="118"/>
                        <a:pt x="152" y="76"/>
                      </a:cubicBezTo>
                      <a:cubicBezTo>
                        <a:pt x="152" y="35"/>
                        <a:pt x="118" y="0"/>
                        <a:pt x="76" y="0"/>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068">
                    <a:defRPr/>
                  </a:pPr>
                  <a:endParaRPr lang="en-US" sz="2400" kern="0">
                    <a:solidFill>
                      <a:prstClr val="black"/>
                    </a:solidFill>
                  </a:endParaRPr>
                </a:p>
              </p:txBody>
            </p:sp>
          </p:grpSp>
          <p:grpSp>
            <p:nvGrpSpPr>
              <p:cNvPr id="75" name="Group 70"/>
              <p:cNvGrpSpPr>
                <a:grpSpLocks noChangeAspect="1"/>
              </p:cNvGrpSpPr>
              <p:nvPr/>
            </p:nvGrpSpPr>
            <p:grpSpPr>
              <a:xfrm>
                <a:off x="5553077" y="3851669"/>
                <a:ext cx="649224" cy="432337"/>
                <a:chOff x="4857750" y="3446463"/>
                <a:chExt cx="815975" cy="577850"/>
              </a:xfrm>
              <a:solidFill>
                <a:srgbClr val="87898B"/>
              </a:solidFill>
            </p:grpSpPr>
            <p:sp>
              <p:nvSpPr>
                <p:cNvPr id="88" name="Freeform 81"/>
                <p:cNvSpPr>
                  <a:spLocks/>
                </p:cNvSpPr>
                <p:nvPr/>
              </p:nvSpPr>
              <p:spPr bwMode="auto">
                <a:xfrm>
                  <a:off x="4857750" y="3573463"/>
                  <a:ext cx="815975" cy="450850"/>
                </a:xfrm>
                <a:custGeom>
                  <a:avLst/>
                  <a:gdLst/>
                  <a:ahLst/>
                  <a:cxnLst>
                    <a:cxn ang="0">
                      <a:pos x="367" y="127"/>
                    </a:cxn>
                    <a:cxn ang="0">
                      <a:pos x="367" y="127"/>
                    </a:cxn>
                    <a:cxn ang="0">
                      <a:pos x="367" y="127"/>
                    </a:cxn>
                    <a:cxn ang="0">
                      <a:pos x="354" y="124"/>
                    </a:cxn>
                    <a:cxn ang="0">
                      <a:pos x="347" y="104"/>
                    </a:cxn>
                    <a:cxn ang="0">
                      <a:pos x="323" y="104"/>
                    </a:cxn>
                    <a:cxn ang="0">
                      <a:pos x="335" y="135"/>
                    </a:cxn>
                    <a:cxn ang="0">
                      <a:pos x="336" y="145"/>
                    </a:cxn>
                    <a:cxn ang="0">
                      <a:pos x="346" y="144"/>
                    </a:cxn>
                    <a:cxn ang="0">
                      <a:pos x="349" y="144"/>
                    </a:cxn>
                    <a:cxn ang="0">
                      <a:pos x="359" y="146"/>
                    </a:cxn>
                    <a:cxn ang="0">
                      <a:pos x="359" y="146"/>
                    </a:cxn>
                    <a:cxn ang="0">
                      <a:pos x="375" y="170"/>
                    </a:cxn>
                    <a:cxn ang="0">
                      <a:pos x="373" y="181"/>
                    </a:cxn>
                    <a:cxn ang="0">
                      <a:pos x="351" y="198"/>
                    </a:cxn>
                    <a:cxn ang="0">
                      <a:pos x="73" y="198"/>
                    </a:cxn>
                    <a:cxn ang="0">
                      <a:pos x="72" y="198"/>
                    </a:cxn>
                    <a:cxn ang="0">
                      <a:pos x="52" y="194"/>
                    </a:cxn>
                    <a:cxn ang="0">
                      <a:pos x="20" y="146"/>
                    </a:cxn>
                    <a:cxn ang="0">
                      <a:pos x="24" y="125"/>
                    </a:cxn>
                    <a:cxn ang="0">
                      <a:pos x="72" y="93"/>
                    </a:cxn>
                    <a:cxn ang="0">
                      <a:pos x="79" y="94"/>
                    </a:cxn>
                    <a:cxn ang="0">
                      <a:pos x="89" y="95"/>
                    </a:cxn>
                    <a:cxn ang="0">
                      <a:pos x="91" y="85"/>
                    </a:cxn>
                    <a:cxn ang="0">
                      <a:pos x="96" y="66"/>
                    </a:cxn>
                    <a:cxn ang="0">
                      <a:pos x="166" y="20"/>
                    </a:cxn>
                    <a:cxn ang="0">
                      <a:pos x="196" y="27"/>
                    </a:cxn>
                    <a:cxn ang="0">
                      <a:pos x="214" y="38"/>
                    </a:cxn>
                    <a:cxn ang="0">
                      <a:pos x="214" y="14"/>
                    </a:cxn>
                    <a:cxn ang="0">
                      <a:pos x="204" y="8"/>
                    </a:cxn>
                    <a:cxn ang="0">
                      <a:pos x="166" y="0"/>
                    </a:cxn>
                    <a:cxn ang="0">
                      <a:pos x="78" y="58"/>
                    </a:cxn>
                    <a:cxn ang="0">
                      <a:pos x="73" y="73"/>
                    </a:cxn>
                    <a:cxn ang="0">
                      <a:pos x="72" y="73"/>
                    </a:cxn>
                    <a:cxn ang="0">
                      <a:pos x="6" y="117"/>
                    </a:cxn>
                    <a:cxn ang="0">
                      <a:pos x="0" y="146"/>
                    </a:cxn>
                    <a:cxn ang="0">
                      <a:pos x="44" y="212"/>
                    </a:cxn>
                    <a:cxn ang="0">
                      <a:pos x="71" y="218"/>
                    </a:cxn>
                    <a:cxn ang="0">
                      <a:pos x="71" y="218"/>
                    </a:cxn>
                    <a:cxn ang="0">
                      <a:pos x="352" y="218"/>
                    </a:cxn>
                    <a:cxn ang="0">
                      <a:pos x="353" y="218"/>
                    </a:cxn>
                    <a:cxn ang="0">
                      <a:pos x="391" y="189"/>
                    </a:cxn>
                    <a:cxn ang="0">
                      <a:pos x="395" y="170"/>
                    </a:cxn>
                    <a:cxn ang="0">
                      <a:pos x="367" y="127"/>
                    </a:cxn>
                  </a:cxnLst>
                  <a:rect l="0" t="0" r="r" b="b"/>
                  <a:pathLst>
                    <a:path w="395" h="218">
                      <a:moveTo>
                        <a:pt x="367" y="127"/>
                      </a:moveTo>
                      <a:cubicBezTo>
                        <a:pt x="367" y="127"/>
                        <a:pt x="367" y="127"/>
                        <a:pt x="367" y="127"/>
                      </a:cubicBezTo>
                      <a:cubicBezTo>
                        <a:pt x="367" y="127"/>
                        <a:pt x="367" y="127"/>
                        <a:pt x="367" y="127"/>
                      </a:cubicBezTo>
                      <a:cubicBezTo>
                        <a:pt x="363" y="125"/>
                        <a:pt x="358" y="124"/>
                        <a:pt x="354" y="124"/>
                      </a:cubicBezTo>
                      <a:cubicBezTo>
                        <a:pt x="353" y="117"/>
                        <a:pt x="350" y="110"/>
                        <a:pt x="347" y="104"/>
                      </a:cubicBezTo>
                      <a:cubicBezTo>
                        <a:pt x="323" y="104"/>
                        <a:pt x="323" y="104"/>
                        <a:pt x="323" y="104"/>
                      </a:cubicBezTo>
                      <a:cubicBezTo>
                        <a:pt x="330" y="113"/>
                        <a:pt x="334" y="123"/>
                        <a:pt x="335" y="135"/>
                      </a:cubicBezTo>
                      <a:cubicBezTo>
                        <a:pt x="336" y="145"/>
                        <a:pt x="336" y="145"/>
                        <a:pt x="336" y="145"/>
                      </a:cubicBezTo>
                      <a:cubicBezTo>
                        <a:pt x="346" y="144"/>
                        <a:pt x="346" y="144"/>
                        <a:pt x="346" y="144"/>
                      </a:cubicBezTo>
                      <a:cubicBezTo>
                        <a:pt x="347" y="144"/>
                        <a:pt x="348" y="144"/>
                        <a:pt x="349" y="144"/>
                      </a:cubicBezTo>
                      <a:cubicBezTo>
                        <a:pt x="352" y="144"/>
                        <a:pt x="356" y="144"/>
                        <a:pt x="359" y="146"/>
                      </a:cubicBezTo>
                      <a:cubicBezTo>
                        <a:pt x="359" y="146"/>
                        <a:pt x="359" y="146"/>
                        <a:pt x="359" y="146"/>
                      </a:cubicBezTo>
                      <a:cubicBezTo>
                        <a:pt x="369" y="150"/>
                        <a:pt x="375" y="160"/>
                        <a:pt x="375" y="170"/>
                      </a:cubicBezTo>
                      <a:cubicBezTo>
                        <a:pt x="375" y="174"/>
                        <a:pt x="374" y="178"/>
                        <a:pt x="373" y="181"/>
                      </a:cubicBezTo>
                      <a:cubicBezTo>
                        <a:pt x="369" y="190"/>
                        <a:pt x="360" y="197"/>
                        <a:pt x="351" y="198"/>
                      </a:cubicBezTo>
                      <a:cubicBezTo>
                        <a:pt x="73" y="198"/>
                        <a:pt x="73" y="198"/>
                        <a:pt x="73" y="198"/>
                      </a:cubicBezTo>
                      <a:cubicBezTo>
                        <a:pt x="72" y="198"/>
                        <a:pt x="72" y="198"/>
                        <a:pt x="72" y="198"/>
                      </a:cubicBezTo>
                      <a:cubicBezTo>
                        <a:pt x="65" y="198"/>
                        <a:pt x="58" y="197"/>
                        <a:pt x="52" y="194"/>
                      </a:cubicBezTo>
                      <a:cubicBezTo>
                        <a:pt x="32" y="185"/>
                        <a:pt x="20" y="166"/>
                        <a:pt x="20" y="146"/>
                      </a:cubicBezTo>
                      <a:cubicBezTo>
                        <a:pt x="20" y="139"/>
                        <a:pt x="21" y="132"/>
                        <a:pt x="24" y="125"/>
                      </a:cubicBezTo>
                      <a:cubicBezTo>
                        <a:pt x="33" y="105"/>
                        <a:pt x="52" y="93"/>
                        <a:pt x="72" y="93"/>
                      </a:cubicBezTo>
                      <a:cubicBezTo>
                        <a:pt x="75" y="93"/>
                        <a:pt x="77" y="93"/>
                        <a:pt x="79" y="94"/>
                      </a:cubicBezTo>
                      <a:cubicBezTo>
                        <a:pt x="89" y="95"/>
                        <a:pt x="89" y="95"/>
                        <a:pt x="89" y="95"/>
                      </a:cubicBezTo>
                      <a:cubicBezTo>
                        <a:pt x="91" y="85"/>
                        <a:pt x="91" y="85"/>
                        <a:pt x="91" y="85"/>
                      </a:cubicBezTo>
                      <a:cubicBezTo>
                        <a:pt x="92" y="79"/>
                        <a:pt x="93" y="72"/>
                        <a:pt x="96" y="66"/>
                      </a:cubicBezTo>
                      <a:cubicBezTo>
                        <a:pt x="108" y="37"/>
                        <a:pt x="136" y="20"/>
                        <a:pt x="166" y="20"/>
                      </a:cubicBezTo>
                      <a:cubicBezTo>
                        <a:pt x="176" y="20"/>
                        <a:pt x="186" y="22"/>
                        <a:pt x="196" y="27"/>
                      </a:cubicBezTo>
                      <a:cubicBezTo>
                        <a:pt x="203" y="30"/>
                        <a:pt x="209" y="33"/>
                        <a:pt x="214" y="38"/>
                      </a:cubicBezTo>
                      <a:cubicBezTo>
                        <a:pt x="214" y="14"/>
                        <a:pt x="214" y="14"/>
                        <a:pt x="214" y="14"/>
                      </a:cubicBezTo>
                      <a:cubicBezTo>
                        <a:pt x="211" y="12"/>
                        <a:pt x="208" y="10"/>
                        <a:pt x="204" y="8"/>
                      </a:cubicBezTo>
                      <a:cubicBezTo>
                        <a:pt x="192" y="3"/>
                        <a:pt x="179" y="0"/>
                        <a:pt x="166" y="0"/>
                      </a:cubicBezTo>
                      <a:cubicBezTo>
                        <a:pt x="129" y="0"/>
                        <a:pt x="93" y="22"/>
                        <a:pt x="78" y="58"/>
                      </a:cubicBezTo>
                      <a:cubicBezTo>
                        <a:pt x="75" y="63"/>
                        <a:pt x="74" y="68"/>
                        <a:pt x="73" y="73"/>
                      </a:cubicBezTo>
                      <a:cubicBezTo>
                        <a:pt x="72" y="73"/>
                        <a:pt x="72" y="73"/>
                        <a:pt x="72" y="73"/>
                      </a:cubicBezTo>
                      <a:cubicBezTo>
                        <a:pt x="44" y="73"/>
                        <a:pt x="18" y="90"/>
                        <a:pt x="6" y="117"/>
                      </a:cubicBezTo>
                      <a:cubicBezTo>
                        <a:pt x="2" y="126"/>
                        <a:pt x="0" y="136"/>
                        <a:pt x="0" y="146"/>
                      </a:cubicBezTo>
                      <a:cubicBezTo>
                        <a:pt x="0" y="173"/>
                        <a:pt x="16" y="200"/>
                        <a:pt x="44" y="212"/>
                      </a:cubicBezTo>
                      <a:cubicBezTo>
                        <a:pt x="53" y="216"/>
                        <a:pt x="62" y="218"/>
                        <a:pt x="71" y="218"/>
                      </a:cubicBezTo>
                      <a:cubicBezTo>
                        <a:pt x="71" y="218"/>
                        <a:pt x="71" y="218"/>
                        <a:pt x="71" y="218"/>
                      </a:cubicBezTo>
                      <a:cubicBezTo>
                        <a:pt x="352" y="218"/>
                        <a:pt x="352" y="218"/>
                        <a:pt x="352" y="218"/>
                      </a:cubicBezTo>
                      <a:cubicBezTo>
                        <a:pt x="353" y="218"/>
                        <a:pt x="353" y="218"/>
                        <a:pt x="353" y="218"/>
                      </a:cubicBezTo>
                      <a:cubicBezTo>
                        <a:pt x="370" y="216"/>
                        <a:pt x="384" y="205"/>
                        <a:pt x="391" y="189"/>
                      </a:cubicBezTo>
                      <a:cubicBezTo>
                        <a:pt x="394" y="183"/>
                        <a:pt x="395" y="177"/>
                        <a:pt x="395" y="170"/>
                      </a:cubicBezTo>
                      <a:cubicBezTo>
                        <a:pt x="395" y="152"/>
                        <a:pt x="385" y="135"/>
                        <a:pt x="367" y="127"/>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068">
                    <a:defRPr/>
                  </a:pPr>
                  <a:endParaRPr lang="en-US" sz="2400" kern="0">
                    <a:solidFill>
                      <a:prstClr val="black"/>
                    </a:solidFill>
                  </a:endParaRPr>
                </a:p>
              </p:txBody>
            </p:sp>
            <p:sp>
              <p:nvSpPr>
                <p:cNvPr id="89" name="Freeform 82"/>
                <p:cNvSpPr>
                  <a:spLocks noEditPoints="1"/>
                </p:cNvSpPr>
                <p:nvPr/>
              </p:nvSpPr>
              <p:spPr bwMode="auto">
                <a:xfrm>
                  <a:off x="5327650" y="3446463"/>
                  <a:ext cx="263525" cy="312738"/>
                </a:xfrm>
                <a:custGeom>
                  <a:avLst/>
                  <a:gdLst/>
                  <a:ahLst/>
                  <a:cxnLst>
                    <a:cxn ang="0">
                      <a:pos x="18" y="69"/>
                    </a:cxn>
                    <a:cxn ang="0">
                      <a:pos x="0" y="69"/>
                    </a:cxn>
                    <a:cxn ang="0">
                      <a:pos x="0" y="141"/>
                    </a:cxn>
                    <a:cxn ang="0">
                      <a:pos x="10" y="151"/>
                    </a:cxn>
                    <a:cxn ang="0">
                      <a:pos x="127" y="151"/>
                    </a:cxn>
                    <a:cxn ang="0">
                      <a:pos x="127" y="79"/>
                    </a:cxn>
                    <a:cxn ang="0">
                      <a:pos x="118" y="69"/>
                    </a:cxn>
                    <a:cxn ang="0">
                      <a:pos x="108" y="69"/>
                    </a:cxn>
                    <a:cxn ang="0">
                      <a:pos x="108" y="45"/>
                    </a:cxn>
                    <a:cxn ang="0">
                      <a:pos x="63" y="0"/>
                    </a:cxn>
                    <a:cxn ang="0">
                      <a:pos x="18" y="45"/>
                    </a:cxn>
                    <a:cxn ang="0">
                      <a:pos x="18" y="69"/>
                    </a:cxn>
                    <a:cxn ang="0">
                      <a:pos x="37" y="45"/>
                    </a:cxn>
                    <a:cxn ang="0">
                      <a:pos x="63" y="19"/>
                    </a:cxn>
                    <a:cxn ang="0">
                      <a:pos x="89" y="45"/>
                    </a:cxn>
                    <a:cxn ang="0">
                      <a:pos x="89" y="69"/>
                    </a:cxn>
                    <a:cxn ang="0">
                      <a:pos x="37" y="69"/>
                    </a:cxn>
                    <a:cxn ang="0">
                      <a:pos x="37" y="45"/>
                    </a:cxn>
                  </a:cxnLst>
                  <a:rect l="0" t="0" r="r" b="b"/>
                  <a:pathLst>
                    <a:path w="127" h="151">
                      <a:moveTo>
                        <a:pt x="18" y="69"/>
                      </a:moveTo>
                      <a:cubicBezTo>
                        <a:pt x="0" y="69"/>
                        <a:pt x="0" y="69"/>
                        <a:pt x="0" y="69"/>
                      </a:cubicBezTo>
                      <a:cubicBezTo>
                        <a:pt x="0" y="141"/>
                        <a:pt x="0" y="141"/>
                        <a:pt x="0" y="141"/>
                      </a:cubicBezTo>
                      <a:cubicBezTo>
                        <a:pt x="0" y="147"/>
                        <a:pt x="5" y="151"/>
                        <a:pt x="10" y="151"/>
                      </a:cubicBezTo>
                      <a:cubicBezTo>
                        <a:pt x="127" y="151"/>
                        <a:pt x="127" y="151"/>
                        <a:pt x="127" y="151"/>
                      </a:cubicBezTo>
                      <a:cubicBezTo>
                        <a:pt x="127" y="79"/>
                        <a:pt x="127" y="79"/>
                        <a:pt x="127" y="79"/>
                      </a:cubicBezTo>
                      <a:cubicBezTo>
                        <a:pt x="127" y="73"/>
                        <a:pt x="123" y="69"/>
                        <a:pt x="118" y="69"/>
                      </a:cubicBezTo>
                      <a:cubicBezTo>
                        <a:pt x="108" y="69"/>
                        <a:pt x="108" y="69"/>
                        <a:pt x="108" y="69"/>
                      </a:cubicBezTo>
                      <a:cubicBezTo>
                        <a:pt x="108" y="45"/>
                        <a:pt x="108" y="45"/>
                        <a:pt x="108" y="45"/>
                      </a:cubicBezTo>
                      <a:cubicBezTo>
                        <a:pt x="108" y="20"/>
                        <a:pt x="88" y="0"/>
                        <a:pt x="63" y="0"/>
                      </a:cubicBezTo>
                      <a:cubicBezTo>
                        <a:pt x="38" y="0"/>
                        <a:pt x="18" y="20"/>
                        <a:pt x="18" y="45"/>
                      </a:cubicBezTo>
                      <a:lnTo>
                        <a:pt x="18" y="69"/>
                      </a:lnTo>
                      <a:close/>
                      <a:moveTo>
                        <a:pt x="37" y="45"/>
                      </a:moveTo>
                      <a:cubicBezTo>
                        <a:pt x="37" y="31"/>
                        <a:pt x="49" y="19"/>
                        <a:pt x="63" y="19"/>
                      </a:cubicBezTo>
                      <a:cubicBezTo>
                        <a:pt x="77" y="19"/>
                        <a:pt x="89" y="31"/>
                        <a:pt x="89" y="45"/>
                      </a:cubicBezTo>
                      <a:cubicBezTo>
                        <a:pt x="89" y="69"/>
                        <a:pt x="89" y="69"/>
                        <a:pt x="89" y="69"/>
                      </a:cubicBezTo>
                      <a:cubicBezTo>
                        <a:pt x="37" y="69"/>
                        <a:pt x="37" y="69"/>
                        <a:pt x="37" y="69"/>
                      </a:cubicBezTo>
                      <a:lnTo>
                        <a:pt x="37" y="45"/>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068">
                    <a:defRPr/>
                  </a:pPr>
                  <a:endParaRPr lang="en-US" sz="2400" kern="0">
                    <a:solidFill>
                      <a:prstClr val="black"/>
                    </a:solidFill>
                  </a:endParaRPr>
                </a:p>
              </p:txBody>
            </p:sp>
          </p:grpSp>
          <p:grpSp>
            <p:nvGrpSpPr>
              <p:cNvPr id="76" name="Group 73"/>
              <p:cNvGrpSpPr>
                <a:grpSpLocks noChangeAspect="1"/>
              </p:cNvGrpSpPr>
              <p:nvPr/>
            </p:nvGrpSpPr>
            <p:grpSpPr>
              <a:xfrm>
                <a:off x="6535518" y="3837538"/>
                <a:ext cx="649224" cy="460599"/>
                <a:chOff x="3452813" y="3524250"/>
                <a:chExt cx="704850" cy="500063"/>
              </a:xfrm>
              <a:solidFill>
                <a:srgbClr val="87898B"/>
              </a:solidFill>
            </p:grpSpPr>
            <p:sp>
              <p:nvSpPr>
                <p:cNvPr id="85" name="Freeform 54"/>
                <p:cNvSpPr>
                  <a:spLocks/>
                </p:cNvSpPr>
                <p:nvPr/>
              </p:nvSpPr>
              <p:spPr bwMode="auto">
                <a:xfrm>
                  <a:off x="3452813" y="3633788"/>
                  <a:ext cx="704850" cy="390525"/>
                </a:xfrm>
                <a:custGeom>
                  <a:avLst/>
                  <a:gdLst/>
                  <a:ahLst/>
                  <a:cxnLst>
                    <a:cxn ang="0">
                      <a:pos x="364" y="126"/>
                    </a:cxn>
                    <a:cxn ang="0">
                      <a:pos x="364" y="126"/>
                    </a:cxn>
                    <a:cxn ang="0">
                      <a:pos x="364" y="126"/>
                    </a:cxn>
                    <a:cxn ang="0">
                      <a:pos x="351" y="122"/>
                    </a:cxn>
                    <a:cxn ang="0">
                      <a:pos x="342" y="99"/>
                    </a:cxn>
                    <a:cxn ang="0">
                      <a:pos x="317" y="99"/>
                    </a:cxn>
                    <a:cxn ang="0">
                      <a:pos x="333" y="133"/>
                    </a:cxn>
                    <a:cxn ang="0">
                      <a:pos x="334" y="143"/>
                    </a:cxn>
                    <a:cxn ang="0">
                      <a:pos x="344" y="142"/>
                    </a:cxn>
                    <a:cxn ang="0">
                      <a:pos x="346" y="142"/>
                    </a:cxn>
                    <a:cxn ang="0">
                      <a:pos x="356" y="144"/>
                    </a:cxn>
                    <a:cxn ang="0">
                      <a:pos x="356" y="144"/>
                    </a:cxn>
                    <a:cxn ang="0">
                      <a:pos x="372" y="168"/>
                    </a:cxn>
                    <a:cxn ang="0">
                      <a:pos x="370" y="179"/>
                    </a:cxn>
                    <a:cxn ang="0">
                      <a:pos x="349" y="196"/>
                    </a:cxn>
                    <a:cxn ang="0">
                      <a:pos x="72" y="196"/>
                    </a:cxn>
                    <a:cxn ang="0">
                      <a:pos x="72" y="196"/>
                    </a:cxn>
                    <a:cxn ang="0">
                      <a:pos x="72" y="196"/>
                    </a:cxn>
                    <a:cxn ang="0">
                      <a:pos x="51" y="191"/>
                    </a:cxn>
                    <a:cxn ang="0">
                      <a:pos x="20" y="144"/>
                    </a:cxn>
                    <a:cxn ang="0">
                      <a:pos x="24" y="123"/>
                    </a:cxn>
                    <a:cxn ang="0">
                      <a:pos x="72" y="92"/>
                    </a:cxn>
                    <a:cxn ang="0">
                      <a:pos x="79" y="92"/>
                    </a:cxn>
                    <a:cxn ang="0">
                      <a:pos x="88" y="94"/>
                    </a:cxn>
                    <a:cxn ang="0">
                      <a:pos x="90" y="84"/>
                    </a:cxn>
                    <a:cxn ang="0">
                      <a:pos x="95" y="65"/>
                    </a:cxn>
                    <a:cxn ang="0">
                      <a:pos x="164" y="20"/>
                    </a:cxn>
                    <a:cxn ang="0">
                      <a:pos x="194" y="26"/>
                    </a:cxn>
                    <a:cxn ang="0">
                      <a:pos x="217" y="41"/>
                    </a:cxn>
                    <a:cxn ang="0">
                      <a:pos x="217" y="15"/>
                    </a:cxn>
                    <a:cxn ang="0">
                      <a:pos x="202" y="8"/>
                    </a:cxn>
                    <a:cxn ang="0">
                      <a:pos x="164" y="0"/>
                    </a:cxn>
                    <a:cxn ang="0">
                      <a:pos x="77" y="57"/>
                    </a:cxn>
                    <a:cxn ang="0">
                      <a:pos x="72" y="72"/>
                    </a:cxn>
                    <a:cxn ang="0">
                      <a:pos x="72" y="72"/>
                    </a:cxn>
                    <a:cxn ang="0">
                      <a:pos x="6" y="115"/>
                    </a:cxn>
                    <a:cxn ang="0">
                      <a:pos x="0" y="144"/>
                    </a:cxn>
                    <a:cxn ang="0">
                      <a:pos x="43" y="210"/>
                    </a:cxn>
                    <a:cxn ang="0">
                      <a:pos x="70" y="216"/>
                    </a:cxn>
                    <a:cxn ang="0">
                      <a:pos x="71" y="216"/>
                    </a:cxn>
                    <a:cxn ang="0">
                      <a:pos x="349" y="216"/>
                    </a:cxn>
                    <a:cxn ang="0">
                      <a:pos x="350" y="216"/>
                    </a:cxn>
                    <a:cxn ang="0">
                      <a:pos x="388" y="187"/>
                    </a:cxn>
                    <a:cxn ang="0">
                      <a:pos x="392" y="168"/>
                    </a:cxn>
                    <a:cxn ang="0">
                      <a:pos x="364" y="126"/>
                    </a:cxn>
                  </a:cxnLst>
                  <a:rect l="0" t="0" r="r" b="b"/>
                  <a:pathLst>
                    <a:path w="392" h="216">
                      <a:moveTo>
                        <a:pt x="364" y="126"/>
                      </a:moveTo>
                      <a:cubicBezTo>
                        <a:pt x="364" y="126"/>
                        <a:pt x="364" y="126"/>
                        <a:pt x="364" y="126"/>
                      </a:cubicBezTo>
                      <a:cubicBezTo>
                        <a:pt x="364" y="126"/>
                        <a:pt x="364" y="126"/>
                        <a:pt x="364" y="126"/>
                      </a:cubicBezTo>
                      <a:cubicBezTo>
                        <a:pt x="360" y="124"/>
                        <a:pt x="355" y="123"/>
                        <a:pt x="351" y="122"/>
                      </a:cubicBezTo>
                      <a:cubicBezTo>
                        <a:pt x="349" y="114"/>
                        <a:pt x="346" y="106"/>
                        <a:pt x="342" y="99"/>
                      </a:cubicBezTo>
                      <a:cubicBezTo>
                        <a:pt x="317" y="99"/>
                        <a:pt x="317" y="99"/>
                        <a:pt x="317" y="99"/>
                      </a:cubicBezTo>
                      <a:cubicBezTo>
                        <a:pt x="326" y="108"/>
                        <a:pt x="332" y="120"/>
                        <a:pt x="333" y="133"/>
                      </a:cubicBezTo>
                      <a:cubicBezTo>
                        <a:pt x="334" y="143"/>
                        <a:pt x="334" y="143"/>
                        <a:pt x="334" y="143"/>
                      </a:cubicBezTo>
                      <a:cubicBezTo>
                        <a:pt x="344" y="142"/>
                        <a:pt x="344" y="142"/>
                        <a:pt x="344" y="142"/>
                      </a:cubicBezTo>
                      <a:cubicBezTo>
                        <a:pt x="344" y="142"/>
                        <a:pt x="345" y="142"/>
                        <a:pt x="346" y="142"/>
                      </a:cubicBezTo>
                      <a:cubicBezTo>
                        <a:pt x="349" y="142"/>
                        <a:pt x="353" y="143"/>
                        <a:pt x="356" y="144"/>
                      </a:cubicBezTo>
                      <a:cubicBezTo>
                        <a:pt x="356" y="144"/>
                        <a:pt x="356" y="144"/>
                        <a:pt x="356" y="144"/>
                      </a:cubicBezTo>
                      <a:cubicBezTo>
                        <a:pt x="366" y="148"/>
                        <a:pt x="372" y="158"/>
                        <a:pt x="372" y="168"/>
                      </a:cubicBezTo>
                      <a:cubicBezTo>
                        <a:pt x="372" y="172"/>
                        <a:pt x="371" y="176"/>
                        <a:pt x="370" y="179"/>
                      </a:cubicBezTo>
                      <a:cubicBezTo>
                        <a:pt x="366" y="188"/>
                        <a:pt x="357" y="195"/>
                        <a:pt x="349" y="196"/>
                      </a:cubicBezTo>
                      <a:cubicBezTo>
                        <a:pt x="72" y="196"/>
                        <a:pt x="72" y="196"/>
                        <a:pt x="72" y="196"/>
                      </a:cubicBezTo>
                      <a:cubicBezTo>
                        <a:pt x="72" y="196"/>
                        <a:pt x="72" y="196"/>
                        <a:pt x="72" y="196"/>
                      </a:cubicBezTo>
                      <a:cubicBezTo>
                        <a:pt x="72" y="196"/>
                        <a:pt x="72" y="196"/>
                        <a:pt x="72" y="196"/>
                      </a:cubicBezTo>
                      <a:cubicBezTo>
                        <a:pt x="65" y="196"/>
                        <a:pt x="58" y="194"/>
                        <a:pt x="51" y="191"/>
                      </a:cubicBezTo>
                      <a:cubicBezTo>
                        <a:pt x="31" y="183"/>
                        <a:pt x="20" y="164"/>
                        <a:pt x="20" y="144"/>
                      </a:cubicBezTo>
                      <a:cubicBezTo>
                        <a:pt x="20" y="137"/>
                        <a:pt x="21" y="130"/>
                        <a:pt x="24" y="123"/>
                      </a:cubicBezTo>
                      <a:cubicBezTo>
                        <a:pt x="33" y="104"/>
                        <a:pt x="52" y="92"/>
                        <a:pt x="72" y="92"/>
                      </a:cubicBezTo>
                      <a:cubicBezTo>
                        <a:pt x="74" y="92"/>
                        <a:pt x="76" y="92"/>
                        <a:pt x="79" y="92"/>
                      </a:cubicBezTo>
                      <a:cubicBezTo>
                        <a:pt x="88" y="94"/>
                        <a:pt x="88" y="94"/>
                        <a:pt x="88" y="94"/>
                      </a:cubicBezTo>
                      <a:cubicBezTo>
                        <a:pt x="90" y="84"/>
                        <a:pt x="90" y="84"/>
                        <a:pt x="90" y="84"/>
                      </a:cubicBezTo>
                      <a:cubicBezTo>
                        <a:pt x="91" y="78"/>
                        <a:pt x="92" y="71"/>
                        <a:pt x="95" y="65"/>
                      </a:cubicBezTo>
                      <a:cubicBezTo>
                        <a:pt x="107" y="37"/>
                        <a:pt x="135" y="20"/>
                        <a:pt x="164" y="20"/>
                      </a:cubicBezTo>
                      <a:cubicBezTo>
                        <a:pt x="175" y="20"/>
                        <a:pt x="185" y="22"/>
                        <a:pt x="194" y="26"/>
                      </a:cubicBezTo>
                      <a:cubicBezTo>
                        <a:pt x="203" y="30"/>
                        <a:pt x="210" y="35"/>
                        <a:pt x="217" y="41"/>
                      </a:cubicBezTo>
                      <a:cubicBezTo>
                        <a:pt x="217" y="15"/>
                        <a:pt x="217" y="15"/>
                        <a:pt x="217" y="15"/>
                      </a:cubicBezTo>
                      <a:cubicBezTo>
                        <a:pt x="212" y="12"/>
                        <a:pt x="207" y="10"/>
                        <a:pt x="202" y="8"/>
                      </a:cubicBezTo>
                      <a:cubicBezTo>
                        <a:pt x="190" y="2"/>
                        <a:pt x="177" y="0"/>
                        <a:pt x="164" y="0"/>
                      </a:cubicBezTo>
                      <a:cubicBezTo>
                        <a:pt x="128" y="0"/>
                        <a:pt x="93" y="21"/>
                        <a:pt x="77" y="57"/>
                      </a:cubicBezTo>
                      <a:cubicBezTo>
                        <a:pt x="75" y="62"/>
                        <a:pt x="73" y="67"/>
                        <a:pt x="72" y="72"/>
                      </a:cubicBezTo>
                      <a:cubicBezTo>
                        <a:pt x="72" y="72"/>
                        <a:pt x="72" y="72"/>
                        <a:pt x="72" y="72"/>
                      </a:cubicBezTo>
                      <a:cubicBezTo>
                        <a:pt x="44" y="72"/>
                        <a:pt x="18" y="88"/>
                        <a:pt x="6" y="115"/>
                      </a:cubicBezTo>
                      <a:cubicBezTo>
                        <a:pt x="2" y="125"/>
                        <a:pt x="0" y="134"/>
                        <a:pt x="0" y="144"/>
                      </a:cubicBezTo>
                      <a:cubicBezTo>
                        <a:pt x="0" y="172"/>
                        <a:pt x="16" y="198"/>
                        <a:pt x="43" y="210"/>
                      </a:cubicBezTo>
                      <a:cubicBezTo>
                        <a:pt x="52" y="214"/>
                        <a:pt x="61" y="215"/>
                        <a:pt x="70" y="216"/>
                      </a:cubicBezTo>
                      <a:cubicBezTo>
                        <a:pt x="71" y="216"/>
                        <a:pt x="71" y="216"/>
                        <a:pt x="71" y="216"/>
                      </a:cubicBezTo>
                      <a:cubicBezTo>
                        <a:pt x="349" y="216"/>
                        <a:pt x="349" y="216"/>
                        <a:pt x="349" y="216"/>
                      </a:cubicBezTo>
                      <a:cubicBezTo>
                        <a:pt x="350" y="216"/>
                        <a:pt x="350" y="216"/>
                        <a:pt x="350" y="216"/>
                      </a:cubicBezTo>
                      <a:cubicBezTo>
                        <a:pt x="367" y="214"/>
                        <a:pt x="381" y="203"/>
                        <a:pt x="388" y="187"/>
                      </a:cubicBezTo>
                      <a:cubicBezTo>
                        <a:pt x="391" y="181"/>
                        <a:pt x="392" y="175"/>
                        <a:pt x="392" y="168"/>
                      </a:cubicBezTo>
                      <a:cubicBezTo>
                        <a:pt x="392" y="150"/>
                        <a:pt x="382" y="133"/>
                        <a:pt x="364" y="126"/>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068">
                    <a:defRPr/>
                  </a:pPr>
                  <a:endParaRPr lang="en-US" sz="2400" kern="0">
                    <a:solidFill>
                      <a:prstClr val="black"/>
                    </a:solidFill>
                  </a:endParaRPr>
                </a:p>
              </p:txBody>
            </p:sp>
            <p:sp>
              <p:nvSpPr>
                <p:cNvPr id="86" name="Freeform 55"/>
                <p:cNvSpPr>
                  <a:spLocks/>
                </p:cNvSpPr>
                <p:nvPr/>
              </p:nvSpPr>
              <p:spPr bwMode="auto">
                <a:xfrm>
                  <a:off x="3868738" y="3673475"/>
                  <a:ext cx="230188" cy="114300"/>
                </a:xfrm>
                <a:custGeom>
                  <a:avLst/>
                  <a:gdLst/>
                  <a:ahLst/>
                  <a:cxnLst>
                    <a:cxn ang="0">
                      <a:pos x="107" y="0"/>
                    </a:cxn>
                    <a:cxn ang="0">
                      <a:pos x="0" y="0"/>
                    </a:cxn>
                    <a:cxn ang="0">
                      <a:pos x="0" y="42"/>
                    </a:cxn>
                    <a:cxn ang="0">
                      <a:pos x="20" y="63"/>
                    </a:cxn>
                    <a:cxn ang="0">
                      <a:pos x="128" y="63"/>
                    </a:cxn>
                    <a:cxn ang="0">
                      <a:pos x="128" y="21"/>
                    </a:cxn>
                    <a:cxn ang="0">
                      <a:pos x="107" y="0"/>
                    </a:cxn>
                  </a:cxnLst>
                  <a:rect l="0" t="0" r="r" b="b"/>
                  <a:pathLst>
                    <a:path w="128" h="63">
                      <a:moveTo>
                        <a:pt x="107" y="0"/>
                      </a:moveTo>
                      <a:cubicBezTo>
                        <a:pt x="0" y="0"/>
                        <a:pt x="0" y="0"/>
                        <a:pt x="0" y="0"/>
                      </a:cubicBezTo>
                      <a:cubicBezTo>
                        <a:pt x="0" y="42"/>
                        <a:pt x="0" y="42"/>
                        <a:pt x="0" y="42"/>
                      </a:cubicBezTo>
                      <a:cubicBezTo>
                        <a:pt x="0" y="54"/>
                        <a:pt x="8" y="63"/>
                        <a:pt x="20" y="63"/>
                      </a:cubicBezTo>
                      <a:cubicBezTo>
                        <a:pt x="128" y="63"/>
                        <a:pt x="128" y="63"/>
                        <a:pt x="128" y="63"/>
                      </a:cubicBezTo>
                      <a:cubicBezTo>
                        <a:pt x="128" y="21"/>
                        <a:pt x="128" y="21"/>
                        <a:pt x="128" y="21"/>
                      </a:cubicBezTo>
                      <a:cubicBezTo>
                        <a:pt x="128" y="9"/>
                        <a:pt x="119" y="0"/>
                        <a:pt x="107" y="0"/>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068">
                    <a:defRPr/>
                  </a:pPr>
                  <a:endParaRPr lang="en-US" sz="2400" kern="0">
                    <a:solidFill>
                      <a:prstClr val="black"/>
                    </a:solidFill>
                  </a:endParaRPr>
                </a:p>
              </p:txBody>
            </p:sp>
            <p:sp>
              <p:nvSpPr>
                <p:cNvPr id="87" name="Oval 56"/>
                <p:cNvSpPr>
                  <a:spLocks noChangeArrowheads="1"/>
                </p:cNvSpPr>
                <p:nvPr/>
              </p:nvSpPr>
              <p:spPr bwMode="auto">
                <a:xfrm>
                  <a:off x="3921125" y="3524250"/>
                  <a:ext cx="122238" cy="128588"/>
                </a:xfrm>
                <a:prstGeom prst="ellipse">
                  <a:avLst/>
                </a:prstGeom>
                <a:grpFill/>
                <a:ln w="9525">
                  <a:noFill/>
                  <a:round/>
                  <a:headEnd/>
                  <a:tailEnd/>
                </a:ln>
              </p:spPr>
              <p:txBody>
                <a:bodyPr vert="horz" wrap="square" lIns="121920" tIns="60960" rIns="121920" bIns="60960" numCol="1" anchor="t" anchorCtr="0" compatLnSpc="1">
                  <a:prstTxWarp prst="textNoShape">
                    <a:avLst/>
                  </a:prstTxWarp>
                </a:bodyPr>
                <a:lstStyle/>
                <a:p>
                  <a:pPr defTabSz="1219068">
                    <a:defRPr/>
                  </a:pPr>
                  <a:endParaRPr lang="en-US" sz="2400" kern="0">
                    <a:solidFill>
                      <a:prstClr val="black"/>
                    </a:solidFill>
                  </a:endParaRPr>
                </a:p>
              </p:txBody>
            </p:sp>
          </p:grpSp>
          <p:grpSp>
            <p:nvGrpSpPr>
              <p:cNvPr id="77" name="Group 77"/>
              <p:cNvGrpSpPr>
                <a:grpSpLocks noChangeAspect="1"/>
              </p:cNvGrpSpPr>
              <p:nvPr/>
            </p:nvGrpSpPr>
            <p:grpSpPr>
              <a:xfrm>
                <a:off x="4659155" y="3817227"/>
                <a:ext cx="560705" cy="501220"/>
                <a:chOff x="1987551" y="3451225"/>
                <a:chExt cx="808037" cy="722313"/>
              </a:xfrm>
              <a:solidFill>
                <a:srgbClr val="87898B"/>
              </a:solidFill>
            </p:grpSpPr>
            <p:sp>
              <p:nvSpPr>
                <p:cNvPr id="78" name="Freeform 44"/>
                <p:cNvSpPr>
                  <a:spLocks noEditPoints="1"/>
                </p:cNvSpPr>
                <p:nvPr/>
              </p:nvSpPr>
              <p:spPr bwMode="auto">
                <a:xfrm>
                  <a:off x="2133600" y="3921125"/>
                  <a:ext cx="250825" cy="69850"/>
                </a:xfrm>
                <a:custGeom>
                  <a:avLst/>
                  <a:gdLst/>
                  <a:ahLst/>
                  <a:cxnLst>
                    <a:cxn ang="0">
                      <a:pos x="109" y="0"/>
                    </a:cxn>
                    <a:cxn ang="0">
                      <a:pos x="0" y="0"/>
                    </a:cxn>
                    <a:cxn ang="0">
                      <a:pos x="0" y="34"/>
                    </a:cxn>
                    <a:cxn ang="0">
                      <a:pos x="121" y="34"/>
                    </a:cxn>
                    <a:cxn ang="0">
                      <a:pos x="121" y="12"/>
                    </a:cxn>
                    <a:cxn ang="0">
                      <a:pos x="109" y="0"/>
                    </a:cxn>
                    <a:cxn ang="0">
                      <a:pos x="17" y="22"/>
                    </a:cxn>
                    <a:cxn ang="0">
                      <a:pos x="12" y="17"/>
                    </a:cxn>
                    <a:cxn ang="0">
                      <a:pos x="17" y="11"/>
                    </a:cxn>
                    <a:cxn ang="0">
                      <a:pos x="22" y="17"/>
                    </a:cxn>
                    <a:cxn ang="0">
                      <a:pos x="17" y="22"/>
                    </a:cxn>
                  </a:cxnLst>
                  <a:rect l="0" t="0" r="r" b="b"/>
                  <a:pathLst>
                    <a:path w="121" h="34">
                      <a:moveTo>
                        <a:pt x="109" y="0"/>
                      </a:moveTo>
                      <a:cubicBezTo>
                        <a:pt x="0" y="0"/>
                        <a:pt x="0" y="0"/>
                        <a:pt x="0" y="0"/>
                      </a:cubicBezTo>
                      <a:cubicBezTo>
                        <a:pt x="0" y="34"/>
                        <a:pt x="0" y="34"/>
                        <a:pt x="0" y="34"/>
                      </a:cubicBezTo>
                      <a:cubicBezTo>
                        <a:pt x="121" y="34"/>
                        <a:pt x="121" y="34"/>
                        <a:pt x="121" y="34"/>
                      </a:cubicBezTo>
                      <a:cubicBezTo>
                        <a:pt x="121" y="12"/>
                        <a:pt x="121" y="12"/>
                        <a:pt x="121" y="12"/>
                      </a:cubicBezTo>
                      <a:cubicBezTo>
                        <a:pt x="121" y="5"/>
                        <a:pt x="116" y="0"/>
                        <a:pt x="109" y="0"/>
                      </a:cubicBezTo>
                      <a:close/>
                      <a:moveTo>
                        <a:pt x="17" y="22"/>
                      </a:moveTo>
                      <a:cubicBezTo>
                        <a:pt x="14" y="22"/>
                        <a:pt x="12" y="20"/>
                        <a:pt x="12" y="17"/>
                      </a:cubicBezTo>
                      <a:cubicBezTo>
                        <a:pt x="12" y="14"/>
                        <a:pt x="14" y="11"/>
                        <a:pt x="17" y="11"/>
                      </a:cubicBezTo>
                      <a:cubicBezTo>
                        <a:pt x="20" y="11"/>
                        <a:pt x="22" y="14"/>
                        <a:pt x="22" y="17"/>
                      </a:cubicBezTo>
                      <a:cubicBezTo>
                        <a:pt x="22" y="20"/>
                        <a:pt x="20" y="22"/>
                        <a:pt x="17" y="22"/>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068">
                    <a:defRPr/>
                  </a:pPr>
                  <a:endParaRPr lang="en-US" sz="2400" kern="0">
                    <a:solidFill>
                      <a:prstClr val="black"/>
                    </a:solidFill>
                  </a:endParaRPr>
                </a:p>
              </p:txBody>
            </p:sp>
            <p:sp>
              <p:nvSpPr>
                <p:cNvPr id="79" name="Freeform 45"/>
                <p:cNvSpPr>
                  <a:spLocks noEditPoints="1"/>
                </p:cNvSpPr>
                <p:nvPr/>
              </p:nvSpPr>
              <p:spPr bwMode="auto">
                <a:xfrm>
                  <a:off x="2133600" y="4013200"/>
                  <a:ext cx="250825" cy="69850"/>
                </a:xfrm>
                <a:custGeom>
                  <a:avLst/>
                  <a:gdLst/>
                  <a:ahLst/>
                  <a:cxnLst>
                    <a:cxn ang="0">
                      <a:pos x="0" y="0"/>
                    </a:cxn>
                    <a:cxn ang="0">
                      <a:pos x="0" y="34"/>
                    </a:cxn>
                    <a:cxn ang="0">
                      <a:pos x="121" y="34"/>
                    </a:cxn>
                    <a:cxn ang="0">
                      <a:pos x="121" y="0"/>
                    </a:cxn>
                    <a:cxn ang="0">
                      <a:pos x="0" y="0"/>
                    </a:cxn>
                    <a:cxn ang="0">
                      <a:pos x="15" y="22"/>
                    </a:cxn>
                    <a:cxn ang="0">
                      <a:pos x="10" y="17"/>
                    </a:cxn>
                    <a:cxn ang="0">
                      <a:pos x="15" y="11"/>
                    </a:cxn>
                    <a:cxn ang="0">
                      <a:pos x="20" y="17"/>
                    </a:cxn>
                    <a:cxn ang="0">
                      <a:pos x="15" y="22"/>
                    </a:cxn>
                  </a:cxnLst>
                  <a:rect l="0" t="0" r="r" b="b"/>
                  <a:pathLst>
                    <a:path w="121" h="34">
                      <a:moveTo>
                        <a:pt x="0" y="0"/>
                      </a:moveTo>
                      <a:cubicBezTo>
                        <a:pt x="0" y="34"/>
                        <a:pt x="0" y="34"/>
                        <a:pt x="0" y="34"/>
                      </a:cubicBezTo>
                      <a:cubicBezTo>
                        <a:pt x="121" y="34"/>
                        <a:pt x="121" y="34"/>
                        <a:pt x="121" y="34"/>
                      </a:cubicBezTo>
                      <a:cubicBezTo>
                        <a:pt x="121" y="0"/>
                        <a:pt x="121" y="0"/>
                        <a:pt x="121" y="0"/>
                      </a:cubicBezTo>
                      <a:lnTo>
                        <a:pt x="0" y="0"/>
                      </a:lnTo>
                      <a:close/>
                      <a:moveTo>
                        <a:pt x="15" y="22"/>
                      </a:moveTo>
                      <a:cubicBezTo>
                        <a:pt x="12" y="22"/>
                        <a:pt x="10" y="20"/>
                        <a:pt x="10" y="17"/>
                      </a:cubicBezTo>
                      <a:cubicBezTo>
                        <a:pt x="10" y="14"/>
                        <a:pt x="12" y="11"/>
                        <a:pt x="15" y="11"/>
                      </a:cubicBezTo>
                      <a:cubicBezTo>
                        <a:pt x="18" y="11"/>
                        <a:pt x="20" y="14"/>
                        <a:pt x="20" y="17"/>
                      </a:cubicBezTo>
                      <a:cubicBezTo>
                        <a:pt x="20" y="20"/>
                        <a:pt x="18" y="22"/>
                        <a:pt x="15" y="22"/>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068">
                    <a:defRPr/>
                  </a:pPr>
                  <a:endParaRPr lang="en-US" sz="2400" kern="0">
                    <a:solidFill>
                      <a:prstClr val="black"/>
                    </a:solidFill>
                  </a:endParaRPr>
                </a:p>
              </p:txBody>
            </p:sp>
            <p:sp>
              <p:nvSpPr>
                <p:cNvPr id="80" name="Freeform 46"/>
                <p:cNvSpPr>
                  <a:spLocks noEditPoints="1"/>
                </p:cNvSpPr>
                <p:nvPr/>
              </p:nvSpPr>
              <p:spPr bwMode="auto">
                <a:xfrm>
                  <a:off x="2133600" y="4103688"/>
                  <a:ext cx="250825" cy="69850"/>
                </a:xfrm>
                <a:custGeom>
                  <a:avLst/>
                  <a:gdLst/>
                  <a:ahLst/>
                  <a:cxnLst>
                    <a:cxn ang="0">
                      <a:pos x="0" y="0"/>
                    </a:cxn>
                    <a:cxn ang="0">
                      <a:pos x="0" y="23"/>
                    </a:cxn>
                    <a:cxn ang="0">
                      <a:pos x="12" y="34"/>
                    </a:cxn>
                    <a:cxn ang="0">
                      <a:pos x="121" y="34"/>
                    </a:cxn>
                    <a:cxn ang="0">
                      <a:pos x="121" y="0"/>
                    </a:cxn>
                    <a:cxn ang="0">
                      <a:pos x="0" y="0"/>
                    </a:cxn>
                    <a:cxn ang="0">
                      <a:pos x="15" y="22"/>
                    </a:cxn>
                    <a:cxn ang="0">
                      <a:pos x="10" y="17"/>
                    </a:cxn>
                    <a:cxn ang="0">
                      <a:pos x="15" y="12"/>
                    </a:cxn>
                    <a:cxn ang="0">
                      <a:pos x="21" y="17"/>
                    </a:cxn>
                    <a:cxn ang="0">
                      <a:pos x="15" y="22"/>
                    </a:cxn>
                  </a:cxnLst>
                  <a:rect l="0" t="0" r="r" b="b"/>
                  <a:pathLst>
                    <a:path w="121" h="34">
                      <a:moveTo>
                        <a:pt x="0" y="0"/>
                      </a:moveTo>
                      <a:cubicBezTo>
                        <a:pt x="0" y="23"/>
                        <a:pt x="0" y="23"/>
                        <a:pt x="0" y="23"/>
                      </a:cubicBezTo>
                      <a:cubicBezTo>
                        <a:pt x="0" y="29"/>
                        <a:pt x="6" y="34"/>
                        <a:pt x="12" y="34"/>
                      </a:cubicBezTo>
                      <a:cubicBezTo>
                        <a:pt x="121" y="34"/>
                        <a:pt x="121" y="34"/>
                        <a:pt x="121" y="34"/>
                      </a:cubicBezTo>
                      <a:cubicBezTo>
                        <a:pt x="121" y="0"/>
                        <a:pt x="121" y="0"/>
                        <a:pt x="121" y="0"/>
                      </a:cubicBezTo>
                      <a:lnTo>
                        <a:pt x="0" y="0"/>
                      </a:lnTo>
                      <a:close/>
                      <a:moveTo>
                        <a:pt x="15" y="22"/>
                      </a:moveTo>
                      <a:cubicBezTo>
                        <a:pt x="12" y="22"/>
                        <a:pt x="10" y="20"/>
                        <a:pt x="10" y="17"/>
                      </a:cubicBezTo>
                      <a:cubicBezTo>
                        <a:pt x="10" y="14"/>
                        <a:pt x="12" y="12"/>
                        <a:pt x="15" y="12"/>
                      </a:cubicBezTo>
                      <a:cubicBezTo>
                        <a:pt x="18" y="12"/>
                        <a:pt x="21" y="14"/>
                        <a:pt x="21" y="17"/>
                      </a:cubicBezTo>
                      <a:cubicBezTo>
                        <a:pt x="21" y="20"/>
                        <a:pt x="18" y="22"/>
                        <a:pt x="15" y="22"/>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068">
                    <a:defRPr/>
                  </a:pPr>
                  <a:endParaRPr lang="en-US" sz="2400" kern="0">
                    <a:solidFill>
                      <a:prstClr val="black"/>
                    </a:solidFill>
                  </a:endParaRPr>
                </a:p>
              </p:txBody>
            </p:sp>
            <p:sp>
              <p:nvSpPr>
                <p:cNvPr id="81" name="Freeform 47"/>
                <p:cNvSpPr>
                  <a:spLocks noEditPoints="1"/>
                </p:cNvSpPr>
                <p:nvPr/>
              </p:nvSpPr>
              <p:spPr bwMode="auto">
                <a:xfrm>
                  <a:off x="2271713" y="3451225"/>
                  <a:ext cx="228600" cy="161925"/>
                </a:xfrm>
                <a:custGeom>
                  <a:avLst/>
                  <a:gdLst/>
                  <a:ahLst/>
                  <a:cxnLst>
                    <a:cxn ang="0">
                      <a:pos x="9" y="78"/>
                    </a:cxn>
                    <a:cxn ang="0">
                      <a:pos x="111" y="78"/>
                    </a:cxn>
                    <a:cxn ang="0">
                      <a:pos x="111" y="9"/>
                    </a:cxn>
                    <a:cxn ang="0">
                      <a:pos x="102" y="0"/>
                    </a:cxn>
                    <a:cxn ang="0">
                      <a:pos x="0" y="0"/>
                    </a:cxn>
                    <a:cxn ang="0">
                      <a:pos x="0" y="68"/>
                    </a:cxn>
                    <a:cxn ang="0">
                      <a:pos x="9" y="78"/>
                    </a:cxn>
                    <a:cxn ang="0">
                      <a:pos x="11" y="11"/>
                    </a:cxn>
                    <a:cxn ang="0">
                      <a:pos x="100" y="11"/>
                    </a:cxn>
                    <a:cxn ang="0">
                      <a:pos x="100" y="66"/>
                    </a:cxn>
                    <a:cxn ang="0">
                      <a:pos x="11" y="66"/>
                    </a:cxn>
                    <a:cxn ang="0">
                      <a:pos x="11" y="11"/>
                    </a:cxn>
                  </a:cxnLst>
                  <a:rect l="0" t="0" r="r" b="b"/>
                  <a:pathLst>
                    <a:path w="111" h="78">
                      <a:moveTo>
                        <a:pt x="9" y="78"/>
                      </a:moveTo>
                      <a:cubicBezTo>
                        <a:pt x="111" y="78"/>
                        <a:pt x="111" y="78"/>
                        <a:pt x="111" y="78"/>
                      </a:cubicBezTo>
                      <a:cubicBezTo>
                        <a:pt x="111" y="9"/>
                        <a:pt x="111" y="9"/>
                        <a:pt x="111" y="9"/>
                      </a:cubicBezTo>
                      <a:cubicBezTo>
                        <a:pt x="111" y="4"/>
                        <a:pt x="107" y="0"/>
                        <a:pt x="102" y="0"/>
                      </a:cubicBezTo>
                      <a:cubicBezTo>
                        <a:pt x="0" y="0"/>
                        <a:pt x="0" y="0"/>
                        <a:pt x="0" y="0"/>
                      </a:cubicBezTo>
                      <a:cubicBezTo>
                        <a:pt x="0" y="68"/>
                        <a:pt x="0" y="68"/>
                        <a:pt x="0" y="68"/>
                      </a:cubicBezTo>
                      <a:cubicBezTo>
                        <a:pt x="0" y="73"/>
                        <a:pt x="4" y="78"/>
                        <a:pt x="9" y="78"/>
                      </a:cubicBezTo>
                      <a:close/>
                      <a:moveTo>
                        <a:pt x="11" y="11"/>
                      </a:moveTo>
                      <a:cubicBezTo>
                        <a:pt x="100" y="11"/>
                        <a:pt x="100" y="11"/>
                        <a:pt x="100" y="11"/>
                      </a:cubicBezTo>
                      <a:cubicBezTo>
                        <a:pt x="100" y="66"/>
                        <a:pt x="100" y="66"/>
                        <a:pt x="100" y="66"/>
                      </a:cubicBezTo>
                      <a:cubicBezTo>
                        <a:pt x="11" y="66"/>
                        <a:pt x="11" y="66"/>
                        <a:pt x="11" y="66"/>
                      </a:cubicBezTo>
                      <a:lnTo>
                        <a:pt x="11" y="11"/>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068">
                    <a:defRPr/>
                  </a:pPr>
                  <a:endParaRPr lang="en-US" sz="2400" kern="0">
                    <a:solidFill>
                      <a:prstClr val="black"/>
                    </a:solidFill>
                  </a:endParaRPr>
                </a:p>
              </p:txBody>
            </p:sp>
            <p:sp>
              <p:nvSpPr>
                <p:cNvPr id="82" name="Freeform 48"/>
                <p:cNvSpPr>
                  <a:spLocks/>
                </p:cNvSpPr>
                <p:nvPr/>
              </p:nvSpPr>
              <p:spPr bwMode="auto">
                <a:xfrm>
                  <a:off x="2271713" y="3630613"/>
                  <a:ext cx="320675" cy="66675"/>
                </a:xfrm>
                <a:custGeom>
                  <a:avLst/>
                  <a:gdLst/>
                  <a:ahLst/>
                  <a:cxnLst>
                    <a:cxn ang="0">
                      <a:pos x="50" y="32"/>
                    </a:cxn>
                    <a:cxn ang="0">
                      <a:pos x="155" y="32"/>
                    </a:cxn>
                    <a:cxn ang="0">
                      <a:pos x="126" y="8"/>
                    </a:cxn>
                    <a:cxn ang="0">
                      <a:pos x="104" y="0"/>
                    </a:cxn>
                    <a:cxn ang="0">
                      <a:pos x="0" y="0"/>
                    </a:cxn>
                    <a:cxn ang="0">
                      <a:pos x="29" y="24"/>
                    </a:cxn>
                    <a:cxn ang="0">
                      <a:pos x="50" y="32"/>
                    </a:cxn>
                  </a:cxnLst>
                  <a:rect l="0" t="0" r="r" b="b"/>
                  <a:pathLst>
                    <a:path w="155" h="32">
                      <a:moveTo>
                        <a:pt x="50" y="32"/>
                      </a:moveTo>
                      <a:cubicBezTo>
                        <a:pt x="155" y="32"/>
                        <a:pt x="155" y="32"/>
                        <a:pt x="155" y="32"/>
                      </a:cubicBezTo>
                      <a:cubicBezTo>
                        <a:pt x="126" y="8"/>
                        <a:pt x="126" y="8"/>
                        <a:pt x="126" y="8"/>
                      </a:cubicBezTo>
                      <a:cubicBezTo>
                        <a:pt x="120" y="4"/>
                        <a:pt x="111" y="0"/>
                        <a:pt x="104" y="0"/>
                      </a:cubicBezTo>
                      <a:cubicBezTo>
                        <a:pt x="0" y="0"/>
                        <a:pt x="0" y="0"/>
                        <a:pt x="0" y="0"/>
                      </a:cubicBezTo>
                      <a:cubicBezTo>
                        <a:pt x="29" y="24"/>
                        <a:pt x="29" y="24"/>
                        <a:pt x="29" y="24"/>
                      </a:cubicBezTo>
                      <a:cubicBezTo>
                        <a:pt x="34" y="28"/>
                        <a:pt x="44" y="32"/>
                        <a:pt x="50" y="32"/>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068">
                    <a:defRPr/>
                  </a:pPr>
                  <a:endParaRPr lang="en-US" sz="2400" kern="0">
                    <a:solidFill>
                      <a:prstClr val="black"/>
                    </a:solidFill>
                  </a:endParaRPr>
                </a:p>
              </p:txBody>
            </p:sp>
            <p:sp>
              <p:nvSpPr>
                <p:cNvPr id="83" name="Freeform 49"/>
                <p:cNvSpPr>
                  <a:spLocks/>
                </p:cNvSpPr>
                <p:nvPr/>
              </p:nvSpPr>
              <p:spPr bwMode="auto">
                <a:xfrm>
                  <a:off x="1987551" y="3722688"/>
                  <a:ext cx="808037" cy="176213"/>
                </a:xfrm>
                <a:custGeom>
                  <a:avLst/>
                  <a:gdLst/>
                  <a:ahLst/>
                  <a:cxnLst>
                    <a:cxn ang="0">
                      <a:pos x="218" y="31"/>
                    </a:cxn>
                    <a:cxn ang="0">
                      <a:pos x="218" y="11"/>
                    </a:cxn>
                    <a:cxn ang="0">
                      <a:pos x="218" y="0"/>
                    </a:cxn>
                    <a:cxn ang="0">
                      <a:pos x="207" y="0"/>
                    </a:cxn>
                    <a:cxn ang="0">
                      <a:pos x="195" y="0"/>
                    </a:cxn>
                    <a:cxn ang="0">
                      <a:pos x="195" y="31"/>
                    </a:cxn>
                    <a:cxn ang="0">
                      <a:pos x="60" y="31"/>
                    </a:cxn>
                    <a:cxn ang="0">
                      <a:pos x="31" y="11"/>
                    </a:cxn>
                    <a:cxn ang="0">
                      <a:pos x="0" y="42"/>
                    </a:cxn>
                    <a:cxn ang="0">
                      <a:pos x="31" y="74"/>
                    </a:cxn>
                    <a:cxn ang="0">
                      <a:pos x="60" y="54"/>
                    </a:cxn>
                    <a:cxn ang="0">
                      <a:pos x="117" y="54"/>
                    </a:cxn>
                    <a:cxn ang="0">
                      <a:pos x="117" y="85"/>
                    </a:cxn>
                    <a:cxn ang="0">
                      <a:pos x="140" y="85"/>
                    </a:cxn>
                    <a:cxn ang="0">
                      <a:pos x="140" y="85"/>
                    </a:cxn>
                    <a:cxn ang="0">
                      <a:pos x="140" y="54"/>
                    </a:cxn>
                    <a:cxn ang="0">
                      <a:pos x="273" y="54"/>
                    </a:cxn>
                    <a:cxn ang="0">
                      <a:pos x="273" y="74"/>
                    </a:cxn>
                    <a:cxn ang="0">
                      <a:pos x="273" y="85"/>
                    </a:cxn>
                    <a:cxn ang="0">
                      <a:pos x="284" y="85"/>
                    </a:cxn>
                    <a:cxn ang="0">
                      <a:pos x="296" y="85"/>
                    </a:cxn>
                    <a:cxn ang="0">
                      <a:pos x="296" y="54"/>
                    </a:cxn>
                    <a:cxn ang="0">
                      <a:pos x="390" y="54"/>
                    </a:cxn>
                    <a:cxn ang="0">
                      <a:pos x="390" y="31"/>
                    </a:cxn>
                    <a:cxn ang="0">
                      <a:pos x="218" y="31"/>
                    </a:cxn>
                  </a:cxnLst>
                  <a:rect l="0" t="0" r="r" b="b"/>
                  <a:pathLst>
                    <a:path w="390" h="85">
                      <a:moveTo>
                        <a:pt x="218" y="31"/>
                      </a:moveTo>
                      <a:cubicBezTo>
                        <a:pt x="218" y="11"/>
                        <a:pt x="218" y="11"/>
                        <a:pt x="218" y="11"/>
                      </a:cubicBezTo>
                      <a:cubicBezTo>
                        <a:pt x="218" y="0"/>
                        <a:pt x="218" y="0"/>
                        <a:pt x="218" y="0"/>
                      </a:cubicBezTo>
                      <a:cubicBezTo>
                        <a:pt x="207" y="0"/>
                        <a:pt x="207" y="0"/>
                        <a:pt x="207" y="0"/>
                      </a:cubicBezTo>
                      <a:cubicBezTo>
                        <a:pt x="195" y="0"/>
                        <a:pt x="195" y="0"/>
                        <a:pt x="195" y="0"/>
                      </a:cubicBezTo>
                      <a:cubicBezTo>
                        <a:pt x="195" y="31"/>
                        <a:pt x="195" y="31"/>
                        <a:pt x="195" y="31"/>
                      </a:cubicBezTo>
                      <a:cubicBezTo>
                        <a:pt x="60" y="31"/>
                        <a:pt x="60" y="31"/>
                        <a:pt x="60" y="31"/>
                      </a:cubicBezTo>
                      <a:cubicBezTo>
                        <a:pt x="56" y="19"/>
                        <a:pt x="44" y="11"/>
                        <a:pt x="31" y="11"/>
                      </a:cubicBezTo>
                      <a:cubicBezTo>
                        <a:pt x="14" y="11"/>
                        <a:pt x="0" y="25"/>
                        <a:pt x="0" y="42"/>
                      </a:cubicBezTo>
                      <a:cubicBezTo>
                        <a:pt x="0" y="60"/>
                        <a:pt x="14" y="74"/>
                        <a:pt x="31" y="74"/>
                      </a:cubicBezTo>
                      <a:cubicBezTo>
                        <a:pt x="44" y="74"/>
                        <a:pt x="56" y="65"/>
                        <a:pt x="60" y="54"/>
                      </a:cubicBezTo>
                      <a:cubicBezTo>
                        <a:pt x="117" y="54"/>
                        <a:pt x="117" y="54"/>
                        <a:pt x="117" y="54"/>
                      </a:cubicBezTo>
                      <a:cubicBezTo>
                        <a:pt x="117" y="85"/>
                        <a:pt x="117" y="85"/>
                        <a:pt x="117" y="85"/>
                      </a:cubicBezTo>
                      <a:cubicBezTo>
                        <a:pt x="140" y="85"/>
                        <a:pt x="140" y="85"/>
                        <a:pt x="140" y="85"/>
                      </a:cubicBezTo>
                      <a:cubicBezTo>
                        <a:pt x="140" y="85"/>
                        <a:pt x="140" y="85"/>
                        <a:pt x="140" y="85"/>
                      </a:cubicBezTo>
                      <a:cubicBezTo>
                        <a:pt x="140" y="54"/>
                        <a:pt x="140" y="54"/>
                        <a:pt x="140" y="54"/>
                      </a:cubicBezTo>
                      <a:cubicBezTo>
                        <a:pt x="273" y="54"/>
                        <a:pt x="273" y="54"/>
                        <a:pt x="273" y="54"/>
                      </a:cubicBezTo>
                      <a:cubicBezTo>
                        <a:pt x="273" y="74"/>
                        <a:pt x="273" y="74"/>
                        <a:pt x="273" y="74"/>
                      </a:cubicBezTo>
                      <a:cubicBezTo>
                        <a:pt x="273" y="85"/>
                        <a:pt x="273" y="85"/>
                        <a:pt x="273" y="85"/>
                      </a:cubicBezTo>
                      <a:cubicBezTo>
                        <a:pt x="284" y="85"/>
                        <a:pt x="284" y="85"/>
                        <a:pt x="284" y="85"/>
                      </a:cubicBezTo>
                      <a:cubicBezTo>
                        <a:pt x="296" y="85"/>
                        <a:pt x="296" y="85"/>
                        <a:pt x="296" y="85"/>
                      </a:cubicBezTo>
                      <a:cubicBezTo>
                        <a:pt x="296" y="54"/>
                        <a:pt x="296" y="54"/>
                        <a:pt x="296" y="54"/>
                      </a:cubicBezTo>
                      <a:cubicBezTo>
                        <a:pt x="390" y="54"/>
                        <a:pt x="390" y="54"/>
                        <a:pt x="390" y="54"/>
                      </a:cubicBezTo>
                      <a:cubicBezTo>
                        <a:pt x="390" y="31"/>
                        <a:pt x="390" y="31"/>
                        <a:pt x="390" y="31"/>
                      </a:cubicBezTo>
                      <a:lnTo>
                        <a:pt x="218" y="31"/>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068">
                    <a:defRPr/>
                  </a:pPr>
                  <a:endParaRPr lang="en-US" sz="2400" kern="0">
                    <a:solidFill>
                      <a:prstClr val="black"/>
                    </a:solidFill>
                  </a:endParaRPr>
                </a:p>
              </p:txBody>
            </p:sp>
            <p:sp>
              <p:nvSpPr>
                <p:cNvPr id="84" name="Freeform 50"/>
                <p:cNvSpPr>
                  <a:spLocks/>
                </p:cNvSpPr>
                <p:nvPr/>
              </p:nvSpPr>
              <p:spPr bwMode="auto">
                <a:xfrm>
                  <a:off x="2503488" y="3921125"/>
                  <a:ext cx="150812" cy="252413"/>
                </a:xfrm>
                <a:custGeom>
                  <a:avLst/>
                  <a:gdLst/>
                  <a:ahLst/>
                  <a:cxnLst>
                    <a:cxn ang="0">
                      <a:pos x="64" y="0"/>
                    </a:cxn>
                    <a:cxn ang="0">
                      <a:pos x="0" y="0"/>
                    </a:cxn>
                    <a:cxn ang="0">
                      <a:pos x="0" y="14"/>
                    </a:cxn>
                    <a:cxn ang="0">
                      <a:pos x="56" y="14"/>
                    </a:cxn>
                    <a:cxn ang="0">
                      <a:pos x="56" y="22"/>
                    </a:cxn>
                    <a:cxn ang="0">
                      <a:pos x="0" y="22"/>
                    </a:cxn>
                    <a:cxn ang="0">
                      <a:pos x="0" y="33"/>
                    </a:cxn>
                    <a:cxn ang="0">
                      <a:pos x="56" y="33"/>
                    </a:cxn>
                    <a:cxn ang="0">
                      <a:pos x="56" y="41"/>
                    </a:cxn>
                    <a:cxn ang="0">
                      <a:pos x="0" y="41"/>
                    </a:cxn>
                    <a:cxn ang="0">
                      <a:pos x="0" y="114"/>
                    </a:cxn>
                    <a:cxn ang="0">
                      <a:pos x="8" y="122"/>
                    </a:cxn>
                    <a:cxn ang="0">
                      <a:pos x="73" y="122"/>
                    </a:cxn>
                    <a:cxn ang="0">
                      <a:pos x="73" y="8"/>
                    </a:cxn>
                    <a:cxn ang="0">
                      <a:pos x="64" y="0"/>
                    </a:cxn>
                  </a:cxnLst>
                  <a:rect l="0" t="0" r="r" b="b"/>
                  <a:pathLst>
                    <a:path w="73" h="122">
                      <a:moveTo>
                        <a:pt x="64" y="0"/>
                      </a:moveTo>
                      <a:cubicBezTo>
                        <a:pt x="0" y="0"/>
                        <a:pt x="0" y="0"/>
                        <a:pt x="0" y="0"/>
                      </a:cubicBezTo>
                      <a:cubicBezTo>
                        <a:pt x="0" y="14"/>
                        <a:pt x="0" y="14"/>
                        <a:pt x="0" y="14"/>
                      </a:cubicBezTo>
                      <a:cubicBezTo>
                        <a:pt x="56" y="14"/>
                        <a:pt x="56" y="14"/>
                        <a:pt x="56" y="14"/>
                      </a:cubicBezTo>
                      <a:cubicBezTo>
                        <a:pt x="56" y="22"/>
                        <a:pt x="56" y="22"/>
                        <a:pt x="56" y="22"/>
                      </a:cubicBezTo>
                      <a:cubicBezTo>
                        <a:pt x="0" y="22"/>
                        <a:pt x="0" y="22"/>
                        <a:pt x="0" y="22"/>
                      </a:cubicBezTo>
                      <a:cubicBezTo>
                        <a:pt x="0" y="33"/>
                        <a:pt x="0" y="33"/>
                        <a:pt x="0" y="33"/>
                      </a:cubicBezTo>
                      <a:cubicBezTo>
                        <a:pt x="56" y="33"/>
                        <a:pt x="56" y="33"/>
                        <a:pt x="56" y="33"/>
                      </a:cubicBezTo>
                      <a:cubicBezTo>
                        <a:pt x="56" y="41"/>
                        <a:pt x="56" y="41"/>
                        <a:pt x="56" y="41"/>
                      </a:cubicBezTo>
                      <a:cubicBezTo>
                        <a:pt x="0" y="41"/>
                        <a:pt x="0" y="41"/>
                        <a:pt x="0" y="41"/>
                      </a:cubicBezTo>
                      <a:cubicBezTo>
                        <a:pt x="0" y="114"/>
                        <a:pt x="0" y="114"/>
                        <a:pt x="0" y="114"/>
                      </a:cubicBezTo>
                      <a:cubicBezTo>
                        <a:pt x="0" y="118"/>
                        <a:pt x="3" y="122"/>
                        <a:pt x="8" y="122"/>
                      </a:cubicBezTo>
                      <a:cubicBezTo>
                        <a:pt x="73" y="122"/>
                        <a:pt x="73" y="122"/>
                        <a:pt x="73" y="122"/>
                      </a:cubicBezTo>
                      <a:cubicBezTo>
                        <a:pt x="73" y="8"/>
                        <a:pt x="73" y="8"/>
                        <a:pt x="73" y="8"/>
                      </a:cubicBezTo>
                      <a:cubicBezTo>
                        <a:pt x="73" y="4"/>
                        <a:pt x="69" y="0"/>
                        <a:pt x="64" y="0"/>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pPr defTabSz="1219068">
                    <a:defRPr/>
                  </a:pPr>
                  <a:endParaRPr lang="en-US" sz="2400" kern="0">
                    <a:solidFill>
                      <a:prstClr val="black"/>
                    </a:solidFill>
                  </a:endParaRPr>
                </a:p>
              </p:txBody>
            </p:sp>
          </p:grpSp>
        </p:grpSp>
        <p:sp>
          <p:nvSpPr>
            <p:cNvPr id="53" name="Round Diagonal Corner Rectangle 52"/>
            <p:cNvSpPr/>
            <p:nvPr/>
          </p:nvSpPr>
          <p:spPr>
            <a:xfrm flipH="1">
              <a:off x="2762615" y="4285319"/>
              <a:ext cx="3732027" cy="226827"/>
            </a:xfrm>
            <a:prstGeom prst="round2DiagRect">
              <a:avLst/>
            </a:prstGeom>
            <a:solidFill>
              <a:srgbClr val="87898B"/>
            </a:solidFill>
            <a:ln w="9525" cap="flat" cmpd="sng" algn="ctr">
              <a:noFill/>
              <a:prstDash val="solid"/>
            </a:ln>
            <a:effectLst/>
          </p:spPr>
          <p:txBody>
            <a:bodyPr rtlCol="0" anchor="ctr"/>
            <a:lstStyle/>
            <a:p>
              <a:pPr algn="ctr" defTabSz="1219068">
                <a:defRPr/>
              </a:pPr>
              <a:endParaRPr lang="en-US" sz="2400" kern="0">
                <a:solidFill>
                  <a:prstClr val="white"/>
                </a:solidFill>
              </a:endParaRPr>
            </a:p>
          </p:txBody>
        </p:sp>
        <p:sp>
          <p:nvSpPr>
            <p:cNvPr id="58" name="TextBox 23"/>
            <p:cNvSpPr txBox="1">
              <a:spLocks noChangeArrowheads="1"/>
            </p:cNvSpPr>
            <p:nvPr/>
          </p:nvSpPr>
          <p:spPr bwMode="auto">
            <a:xfrm>
              <a:off x="2650068" y="4267006"/>
              <a:ext cx="978802" cy="251992"/>
            </a:xfrm>
            <a:prstGeom prst="rect">
              <a:avLst/>
            </a:prstGeom>
            <a:noFill/>
            <a:ln>
              <a:noFill/>
            </a:ln>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1219068" eaLnBrk="1" hangingPunct="1">
                <a:lnSpc>
                  <a:spcPts val="1867"/>
                </a:lnSpc>
                <a:defRPr/>
              </a:pPr>
              <a:r>
                <a:rPr lang="en-US" sz="1467" b="1" kern="0" dirty="0">
                  <a:solidFill>
                    <a:prstClr val="white"/>
                  </a:solidFill>
                  <a:latin typeface="+mn-lt"/>
                </a:rPr>
                <a:t>Traditional </a:t>
              </a:r>
            </a:p>
          </p:txBody>
        </p:sp>
        <p:sp>
          <p:nvSpPr>
            <p:cNvPr id="59" name="TextBox 23"/>
            <p:cNvSpPr txBox="1">
              <a:spLocks noChangeArrowheads="1"/>
            </p:cNvSpPr>
            <p:nvPr/>
          </p:nvSpPr>
          <p:spPr bwMode="auto">
            <a:xfrm>
              <a:off x="3532233" y="4268698"/>
              <a:ext cx="1108195" cy="238575"/>
            </a:xfrm>
            <a:prstGeom prst="rect">
              <a:avLst/>
            </a:prstGeom>
            <a:noFill/>
            <a:ln>
              <a:noFill/>
            </a:ln>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1219068" eaLnBrk="1" hangingPunct="1">
                <a:defRPr/>
              </a:pPr>
              <a:r>
                <a:rPr lang="en-US" sz="1467" b="1" kern="0" dirty="0">
                  <a:solidFill>
                    <a:prstClr val="white"/>
                  </a:solidFill>
                  <a:latin typeface="+mn-lt"/>
                </a:rPr>
                <a:t>Private cloud</a:t>
              </a:r>
            </a:p>
          </p:txBody>
        </p:sp>
        <p:sp>
          <p:nvSpPr>
            <p:cNvPr id="60" name="TextBox 23"/>
            <p:cNvSpPr txBox="1">
              <a:spLocks noChangeArrowheads="1"/>
            </p:cNvSpPr>
            <p:nvPr/>
          </p:nvSpPr>
          <p:spPr bwMode="auto">
            <a:xfrm>
              <a:off x="4543792" y="4268698"/>
              <a:ext cx="1184302" cy="238575"/>
            </a:xfrm>
            <a:prstGeom prst="rect">
              <a:avLst/>
            </a:prstGeom>
            <a:noFill/>
            <a:ln>
              <a:noFill/>
            </a:ln>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1219068" eaLnBrk="1" hangingPunct="1">
                <a:defRPr/>
              </a:pPr>
              <a:r>
                <a:rPr lang="en-US" sz="1467" b="1" kern="0" dirty="0">
                  <a:solidFill>
                    <a:prstClr val="white"/>
                  </a:solidFill>
                  <a:latin typeface="+mn-lt"/>
                </a:rPr>
                <a:t>Managed cloud</a:t>
              </a:r>
            </a:p>
          </p:txBody>
        </p:sp>
        <p:sp>
          <p:nvSpPr>
            <p:cNvPr id="61" name="TextBox 23"/>
            <p:cNvSpPr txBox="1">
              <a:spLocks noChangeArrowheads="1"/>
            </p:cNvSpPr>
            <p:nvPr>
              <p:custDataLst>
                <p:tags r:id="rId1"/>
              </p:custDataLst>
            </p:nvPr>
          </p:nvSpPr>
          <p:spPr bwMode="auto">
            <a:xfrm>
              <a:off x="5631457" y="4270964"/>
              <a:ext cx="875258" cy="238575"/>
            </a:xfrm>
            <a:prstGeom prst="rect">
              <a:avLst/>
            </a:prstGeom>
            <a:noFill/>
            <a:ln>
              <a:noFill/>
            </a:ln>
            <a:extLst/>
          </p:spPr>
          <p:txBody>
            <a:bodyPr wrap="square" lIns="0" r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1219068" eaLnBrk="1" hangingPunct="1">
                <a:defRPr/>
              </a:pPr>
              <a:r>
                <a:rPr lang="en-US" sz="1467" b="1" kern="0" dirty="0">
                  <a:solidFill>
                    <a:prstClr val="white"/>
                  </a:solidFill>
                  <a:latin typeface="+mn-lt"/>
                </a:rPr>
                <a:t>Public cloud</a:t>
              </a:r>
            </a:p>
          </p:txBody>
        </p:sp>
        <p:sp>
          <p:nvSpPr>
            <p:cNvPr id="92" name="Rounded Rectangle 91"/>
            <p:cNvSpPr/>
            <p:nvPr/>
          </p:nvSpPr>
          <p:spPr>
            <a:xfrm>
              <a:off x="313267" y="3843868"/>
              <a:ext cx="1791883" cy="626532"/>
            </a:xfrm>
            <a:prstGeom prst="roundRect">
              <a:avLst/>
            </a:prstGeom>
            <a:solidFill>
              <a:srgbClr val="425563"/>
            </a:solidFill>
            <a:ln w="38100" cap="flat" cmpd="sng" algn="ctr">
              <a:noFill/>
              <a:prstDash val="solid"/>
              <a:headEnd/>
              <a:tailEnd/>
            </a:ln>
            <a:effectLst>
              <a:outerShdw blurRad="40000" dist="20000" dir="5400000" rotWithShape="0">
                <a:srgbClr val="000000">
                  <a:alpha val="38000"/>
                </a:srgbClr>
              </a:outerShdw>
            </a:effectLst>
          </p:spPr>
          <p:txBody>
            <a:bodyPr rot="0" spcFirstLastPara="0" vertOverflow="overflow" horzOverflow="overflow" vert="horz" wrap="square" lIns="121920" tIns="97536" rIns="121920" bIns="60960" numCol="1" spcCol="0" rtlCol="0" fromWordArt="0" anchor="t" anchorCtr="0" forceAA="0" compatLnSpc="1">
              <a:prstTxWarp prst="textNoShape">
                <a:avLst/>
              </a:prstTxWarp>
              <a:noAutofit/>
            </a:bodyPr>
            <a:lstStyle/>
            <a:p>
              <a:pPr algn="ctr">
                <a:lnSpc>
                  <a:spcPct val="120000"/>
                </a:lnSpc>
                <a:spcAft>
                  <a:spcPts val="187"/>
                </a:spcAft>
                <a:defRPr/>
              </a:pPr>
              <a:r>
                <a:rPr lang="ru-RU" sz="1600" b="1" kern="0" dirty="0">
                  <a:solidFill>
                    <a:prstClr val="white"/>
                  </a:solidFill>
                </a:rPr>
                <a:t>Гибридный ЦОД</a:t>
              </a:r>
              <a:endParaRPr lang="en-US" sz="1600" kern="0" dirty="0">
                <a:solidFill>
                  <a:prstClr val="white"/>
                </a:solidFill>
              </a:endParaRPr>
            </a:p>
          </p:txBody>
        </p:sp>
        <p:cxnSp>
          <p:nvCxnSpPr>
            <p:cNvPr id="101" name="Straight Arrow Connector 100"/>
            <p:cNvCxnSpPr/>
            <p:nvPr/>
          </p:nvCxnSpPr>
          <p:spPr>
            <a:xfrm>
              <a:off x="2006600" y="4080934"/>
              <a:ext cx="694267" cy="1"/>
            </a:xfrm>
            <a:prstGeom prst="straightConnector1">
              <a:avLst/>
            </a:prstGeom>
            <a:ln w="57150" cmpd="sng">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grpSp>
      <p:sp>
        <p:nvSpPr>
          <p:cNvPr id="69" name="Freeform 68"/>
          <p:cNvSpPr/>
          <p:nvPr/>
        </p:nvSpPr>
        <p:spPr>
          <a:xfrm rot="20500784">
            <a:off x="6086008" y="1625294"/>
            <a:ext cx="850216" cy="1142423"/>
          </a:xfrm>
          <a:custGeom>
            <a:avLst/>
            <a:gdLst>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57213 w 1385888"/>
              <a:gd name="connsiteY7" fmla="*/ 814387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57213 w 1385888"/>
              <a:gd name="connsiteY7" fmla="*/ 814387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1989 w 1385888"/>
              <a:gd name="connsiteY9" fmla="*/ 252547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608332 w 1385888"/>
              <a:gd name="connsiteY7" fmla="*/ 907933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608332 w 1385888"/>
              <a:gd name="connsiteY7" fmla="*/ 907933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608332 w 1385888"/>
              <a:gd name="connsiteY7" fmla="*/ 907933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608332 w 1385888"/>
              <a:gd name="connsiteY7" fmla="*/ 907933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608332 w 1385888"/>
              <a:gd name="connsiteY7" fmla="*/ 907933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90524"/>
              <a:gd name="connsiteY0" fmla="*/ 0 h 1885950"/>
              <a:gd name="connsiteX1" fmla="*/ 1068486 w 1390524"/>
              <a:gd name="connsiteY1" fmla="*/ 686892 h 1885950"/>
              <a:gd name="connsiteX2" fmla="*/ 1219200 w 1390524"/>
              <a:gd name="connsiteY2" fmla="*/ 1495425 h 1885950"/>
              <a:gd name="connsiteX3" fmla="*/ 1390524 w 1390524"/>
              <a:gd name="connsiteY3" fmla="*/ 1501605 h 1885950"/>
              <a:gd name="connsiteX4" fmla="*/ 933450 w 1390524"/>
              <a:gd name="connsiteY4" fmla="*/ 1885950 h 1885950"/>
              <a:gd name="connsiteX5" fmla="*/ 542925 w 1390524"/>
              <a:gd name="connsiteY5" fmla="*/ 1466850 h 1885950"/>
              <a:gd name="connsiteX6" fmla="*/ 752476 w 1390524"/>
              <a:gd name="connsiteY6" fmla="*/ 1466850 h 1885950"/>
              <a:gd name="connsiteX7" fmla="*/ 608332 w 1390524"/>
              <a:gd name="connsiteY7" fmla="*/ 907933 h 1885950"/>
              <a:gd name="connsiteX8" fmla="*/ 0 w 1390524"/>
              <a:gd name="connsiteY8" fmla="*/ 400050 h 1885950"/>
              <a:gd name="connsiteX9" fmla="*/ 299883 w 1390524"/>
              <a:gd name="connsiteY9" fmla="*/ 276263 h 1885950"/>
              <a:gd name="connsiteX10" fmla="*/ 257175 w 1390524"/>
              <a:gd name="connsiteY10" fmla="*/ 0 h 1885950"/>
              <a:gd name="connsiteX0" fmla="*/ 257175 w 1390524"/>
              <a:gd name="connsiteY0" fmla="*/ 0 h 1885950"/>
              <a:gd name="connsiteX1" fmla="*/ 1068486 w 1390524"/>
              <a:gd name="connsiteY1" fmla="*/ 686892 h 1885950"/>
              <a:gd name="connsiteX2" fmla="*/ 1219200 w 1390524"/>
              <a:gd name="connsiteY2" fmla="*/ 1495425 h 1885950"/>
              <a:gd name="connsiteX3" fmla="*/ 1390524 w 1390524"/>
              <a:gd name="connsiteY3" fmla="*/ 1501605 h 1885950"/>
              <a:gd name="connsiteX4" fmla="*/ 933450 w 1390524"/>
              <a:gd name="connsiteY4" fmla="*/ 1885950 h 1885950"/>
              <a:gd name="connsiteX5" fmla="*/ 543677 w 1390524"/>
              <a:gd name="connsiteY5" fmla="*/ 1467206 h 1885950"/>
              <a:gd name="connsiteX6" fmla="*/ 542925 w 1390524"/>
              <a:gd name="connsiteY6" fmla="*/ 1466850 h 1885950"/>
              <a:gd name="connsiteX7" fmla="*/ 752476 w 1390524"/>
              <a:gd name="connsiteY7" fmla="*/ 1466850 h 1885950"/>
              <a:gd name="connsiteX8" fmla="*/ 608332 w 1390524"/>
              <a:gd name="connsiteY8" fmla="*/ 907933 h 1885950"/>
              <a:gd name="connsiteX9" fmla="*/ 0 w 1390524"/>
              <a:gd name="connsiteY9" fmla="*/ 400050 h 1885950"/>
              <a:gd name="connsiteX10" fmla="*/ 299883 w 1390524"/>
              <a:gd name="connsiteY10" fmla="*/ 276263 h 1885950"/>
              <a:gd name="connsiteX11" fmla="*/ 257175 w 1390524"/>
              <a:gd name="connsiteY11" fmla="*/ 0 h 1885950"/>
              <a:gd name="connsiteX0" fmla="*/ 257175 w 1390524"/>
              <a:gd name="connsiteY0" fmla="*/ 0 h 1885950"/>
              <a:gd name="connsiteX1" fmla="*/ 1068486 w 1390524"/>
              <a:gd name="connsiteY1" fmla="*/ 686892 h 1885950"/>
              <a:gd name="connsiteX2" fmla="*/ 1219200 w 1390524"/>
              <a:gd name="connsiteY2" fmla="*/ 1495425 h 1885950"/>
              <a:gd name="connsiteX3" fmla="*/ 1390524 w 1390524"/>
              <a:gd name="connsiteY3" fmla="*/ 1501605 h 1885950"/>
              <a:gd name="connsiteX4" fmla="*/ 933450 w 1390524"/>
              <a:gd name="connsiteY4" fmla="*/ 1885950 h 1885950"/>
              <a:gd name="connsiteX5" fmla="*/ 543677 w 1390524"/>
              <a:gd name="connsiteY5" fmla="*/ 1467206 h 1885950"/>
              <a:gd name="connsiteX6" fmla="*/ 542925 w 1390524"/>
              <a:gd name="connsiteY6" fmla="*/ 1466850 h 1885950"/>
              <a:gd name="connsiteX7" fmla="*/ 752476 w 1390524"/>
              <a:gd name="connsiteY7" fmla="*/ 1466850 h 1885950"/>
              <a:gd name="connsiteX8" fmla="*/ 608332 w 1390524"/>
              <a:gd name="connsiteY8" fmla="*/ 907933 h 1885950"/>
              <a:gd name="connsiteX9" fmla="*/ 0 w 1390524"/>
              <a:gd name="connsiteY9" fmla="*/ 400050 h 1885950"/>
              <a:gd name="connsiteX10" fmla="*/ 299883 w 1390524"/>
              <a:gd name="connsiteY10" fmla="*/ 276263 h 1885950"/>
              <a:gd name="connsiteX11" fmla="*/ 257175 w 1390524"/>
              <a:gd name="connsiteY11" fmla="*/ 0 h 1885950"/>
              <a:gd name="connsiteX0" fmla="*/ 257175 w 1390524"/>
              <a:gd name="connsiteY0" fmla="*/ 0 h 1885950"/>
              <a:gd name="connsiteX1" fmla="*/ 1068486 w 1390524"/>
              <a:gd name="connsiteY1" fmla="*/ 686892 h 1885950"/>
              <a:gd name="connsiteX2" fmla="*/ 1219200 w 1390524"/>
              <a:gd name="connsiteY2" fmla="*/ 1495425 h 1885950"/>
              <a:gd name="connsiteX3" fmla="*/ 1390524 w 1390524"/>
              <a:gd name="connsiteY3" fmla="*/ 1501605 h 1885950"/>
              <a:gd name="connsiteX4" fmla="*/ 933450 w 1390524"/>
              <a:gd name="connsiteY4" fmla="*/ 1885950 h 1885950"/>
              <a:gd name="connsiteX5" fmla="*/ 543677 w 1390524"/>
              <a:gd name="connsiteY5" fmla="*/ 1467206 h 1885950"/>
              <a:gd name="connsiteX6" fmla="*/ 542925 w 1390524"/>
              <a:gd name="connsiteY6" fmla="*/ 1466850 h 1885950"/>
              <a:gd name="connsiteX7" fmla="*/ 752476 w 1390524"/>
              <a:gd name="connsiteY7" fmla="*/ 1466850 h 1885950"/>
              <a:gd name="connsiteX8" fmla="*/ 608332 w 1390524"/>
              <a:gd name="connsiteY8" fmla="*/ 907933 h 1885950"/>
              <a:gd name="connsiteX9" fmla="*/ 0 w 1390524"/>
              <a:gd name="connsiteY9" fmla="*/ 400050 h 1885950"/>
              <a:gd name="connsiteX10" fmla="*/ 299883 w 1390524"/>
              <a:gd name="connsiteY10" fmla="*/ 276263 h 1885950"/>
              <a:gd name="connsiteX11" fmla="*/ 257175 w 1390524"/>
              <a:gd name="connsiteY11" fmla="*/ 0 h 1885950"/>
              <a:gd name="connsiteX0" fmla="*/ 214372 w 1347721"/>
              <a:gd name="connsiteY0" fmla="*/ 0 h 1885950"/>
              <a:gd name="connsiteX1" fmla="*/ 1025683 w 1347721"/>
              <a:gd name="connsiteY1" fmla="*/ 686892 h 1885950"/>
              <a:gd name="connsiteX2" fmla="*/ 1176397 w 1347721"/>
              <a:gd name="connsiteY2" fmla="*/ 1495425 h 1885950"/>
              <a:gd name="connsiteX3" fmla="*/ 1347721 w 1347721"/>
              <a:gd name="connsiteY3" fmla="*/ 1501605 h 1885950"/>
              <a:gd name="connsiteX4" fmla="*/ 890647 w 1347721"/>
              <a:gd name="connsiteY4" fmla="*/ 1885950 h 1885950"/>
              <a:gd name="connsiteX5" fmla="*/ 500874 w 1347721"/>
              <a:gd name="connsiteY5" fmla="*/ 1467206 h 1885950"/>
              <a:gd name="connsiteX6" fmla="*/ 500122 w 1347721"/>
              <a:gd name="connsiteY6" fmla="*/ 1466850 h 1885950"/>
              <a:gd name="connsiteX7" fmla="*/ 709673 w 1347721"/>
              <a:gd name="connsiteY7" fmla="*/ 1466850 h 1885950"/>
              <a:gd name="connsiteX8" fmla="*/ 565529 w 1347721"/>
              <a:gd name="connsiteY8" fmla="*/ 907933 h 1885950"/>
              <a:gd name="connsiteX9" fmla="*/ 0 w 1347721"/>
              <a:gd name="connsiteY9" fmla="*/ 322887 h 1885950"/>
              <a:gd name="connsiteX10" fmla="*/ 257080 w 1347721"/>
              <a:gd name="connsiteY10" fmla="*/ 276263 h 1885950"/>
              <a:gd name="connsiteX11" fmla="*/ 214372 w 1347721"/>
              <a:gd name="connsiteY11" fmla="*/ 0 h 1885950"/>
              <a:gd name="connsiteX0" fmla="*/ 214372 w 1347721"/>
              <a:gd name="connsiteY0" fmla="*/ 0 h 1885950"/>
              <a:gd name="connsiteX1" fmla="*/ 1025683 w 1347721"/>
              <a:gd name="connsiteY1" fmla="*/ 686892 h 1885950"/>
              <a:gd name="connsiteX2" fmla="*/ 1176397 w 1347721"/>
              <a:gd name="connsiteY2" fmla="*/ 1495425 h 1885950"/>
              <a:gd name="connsiteX3" fmla="*/ 1347721 w 1347721"/>
              <a:gd name="connsiteY3" fmla="*/ 1501605 h 1885950"/>
              <a:gd name="connsiteX4" fmla="*/ 890647 w 1347721"/>
              <a:gd name="connsiteY4" fmla="*/ 1885950 h 1885950"/>
              <a:gd name="connsiteX5" fmla="*/ 500874 w 1347721"/>
              <a:gd name="connsiteY5" fmla="*/ 1467206 h 1885950"/>
              <a:gd name="connsiteX6" fmla="*/ 500122 w 1347721"/>
              <a:gd name="connsiteY6" fmla="*/ 1466850 h 1885950"/>
              <a:gd name="connsiteX7" fmla="*/ 709673 w 1347721"/>
              <a:gd name="connsiteY7" fmla="*/ 1466850 h 1885950"/>
              <a:gd name="connsiteX8" fmla="*/ 565529 w 1347721"/>
              <a:gd name="connsiteY8" fmla="*/ 907933 h 1885950"/>
              <a:gd name="connsiteX9" fmla="*/ 0 w 1347721"/>
              <a:gd name="connsiteY9" fmla="*/ 322887 h 1885950"/>
              <a:gd name="connsiteX10" fmla="*/ 289146 w 1347721"/>
              <a:gd name="connsiteY10" fmla="*/ 243213 h 1885950"/>
              <a:gd name="connsiteX11" fmla="*/ 214372 w 1347721"/>
              <a:gd name="connsiteY11" fmla="*/ 0 h 1885950"/>
              <a:gd name="connsiteX0" fmla="*/ 214372 w 1347721"/>
              <a:gd name="connsiteY0" fmla="*/ 0 h 1885950"/>
              <a:gd name="connsiteX1" fmla="*/ 1025683 w 1347721"/>
              <a:gd name="connsiteY1" fmla="*/ 686892 h 1885950"/>
              <a:gd name="connsiteX2" fmla="*/ 1176397 w 1347721"/>
              <a:gd name="connsiteY2" fmla="*/ 1495425 h 1885950"/>
              <a:gd name="connsiteX3" fmla="*/ 1347721 w 1347721"/>
              <a:gd name="connsiteY3" fmla="*/ 1501605 h 1885950"/>
              <a:gd name="connsiteX4" fmla="*/ 890647 w 1347721"/>
              <a:gd name="connsiteY4" fmla="*/ 1885950 h 1885950"/>
              <a:gd name="connsiteX5" fmla="*/ 500874 w 1347721"/>
              <a:gd name="connsiteY5" fmla="*/ 1467206 h 1885950"/>
              <a:gd name="connsiteX6" fmla="*/ 500122 w 1347721"/>
              <a:gd name="connsiteY6" fmla="*/ 1466850 h 1885950"/>
              <a:gd name="connsiteX7" fmla="*/ 709673 w 1347721"/>
              <a:gd name="connsiteY7" fmla="*/ 1466850 h 1885950"/>
              <a:gd name="connsiteX8" fmla="*/ 565529 w 1347721"/>
              <a:gd name="connsiteY8" fmla="*/ 907933 h 1885950"/>
              <a:gd name="connsiteX9" fmla="*/ 0 w 1347721"/>
              <a:gd name="connsiteY9" fmla="*/ 322887 h 1885950"/>
              <a:gd name="connsiteX10" fmla="*/ 289100 w 1347721"/>
              <a:gd name="connsiteY10" fmla="*/ 276311 h 1885950"/>
              <a:gd name="connsiteX11" fmla="*/ 214372 w 1347721"/>
              <a:gd name="connsiteY11" fmla="*/ 0 h 1885950"/>
              <a:gd name="connsiteX0" fmla="*/ 214372 w 1347721"/>
              <a:gd name="connsiteY0" fmla="*/ 0 h 1885950"/>
              <a:gd name="connsiteX1" fmla="*/ 1025683 w 1347721"/>
              <a:gd name="connsiteY1" fmla="*/ 686892 h 1885950"/>
              <a:gd name="connsiteX2" fmla="*/ 1176397 w 1347721"/>
              <a:gd name="connsiteY2" fmla="*/ 1495425 h 1885950"/>
              <a:gd name="connsiteX3" fmla="*/ 1347721 w 1347721"/>
              <a:gd name="connsiteY3" fmla="*/ 1501605 h 1885950"/>
              <a:gd name="connsiteX4" fmla="*/ 890647 w 1347721"/>
              <a:gd name="connsiteY4" fmla="*/ 1885950 h 1885950"/>
              <a:gd name="connsiteX5" fmla="*/ 500874 w 1347721"/>
              <a:gd name="connsiteY5" fmla="*/ 1467206 h 1885950"/>
              <a:gd name="connsiteX6" fmla="*/ 500122 w 1347721"/>
              <a:gd name="connsiteY6" fmla="*/ 1466850 h 1885950"/>
              <a:gd name="connsiteX7" fmla="*/ 709673 w 1347721"/>
              <a:gd name="connsiteY7" fmla="*/ 1466850 h 1885950"/>
              <a:gd name="connsiteX8" fmla="*/ 565529 w 1347721"/>
              <a:gd name="connsiteY8" fmla="*/ 907933 h 1885950"/>
              <a:gd name="connsiteX9" fmla="*/ 0 w 1347721"/>
              <a:gd name="connsiteY9" fmla="*/ 322887 h 1885950"/>
              <a:gd name="connsiteX10" fmla="*/ 284843 w 1347721"/>
              <a:gd name="connsiteY10" fmla="*/ 267479 h 1885950"/>
              <a:gd name="connsiteX11" fmla="*/ 214372 w 1347721"/>
              <a:gd name="connsiteY11" fmla="*/ 0 h 1885950"/>
              <a:gd name="connsiteX0" fmla="*/ 235749 w 1347721"/>
              <a:gd name="connsiteY0" fmla="*/ 0 h 1907982"/>
              <a:gd name="connsiteX1" fmla="*/ 1025683 w 1347721"/>
              <a:gd name="connsiteY1" fmla="*/ 708924 h 1907982"/>
              <a:gd name="connsiteX2" fmla="*/ 1176397 w 1347721"/>
              <a:gd name="connsiteY2" fmla="*/ 1517457 h 1907982"/>
              <a:gd name="connsiteX3" fmla="*/ 1347721 w 1347721"/>
              <a:gd name="connsiteY3" fmla="*/ 1523637 h 1907982"/>
              <a:gd name="connsiteX4" fmla="*/ 890647 w 1347721"/>
              <a:gd name="connsiteY4" fmla="*/ 1907982 h 1907982"/>
              <a:gd name="connsiteX5" fmla="*/ 500874 w 1347721"/>
              <a:gd name="connsiteY5" fmla="*/ 1489238 h 1907982"/>
              <a:gd name="connsiteX6" fmla="*/ 500122 w 1347721"/>
              <a:gd name="connsiteY6" fmla="*/ 1488882 h 1907982"/>
              <a:gd name="connsiteX7" fmla="*/ 709673 w 1347721"/>
              <a:gd name="connsiteY7" fmla="*/ 1488882 h 1907982"/>
              <a:gd name="connsiteX8" fmla="*/ 565529 w 1347721"/>
              <a:gd name="connsiteY8" fmla="*/ 929965 h 1907982"/>
              <a:gd name="connsiteX9" fmla="*/ 0 w 1347721"/>
              <a:gd name="connsiteY9" fmla="*/ 344919 h 1907982"/>
              <a:gd name="connsiteX10" fmla="*/ 284843 w 1347721"/>
              <a:gd name="connsiteY10" fmla="*/ 289511 h 1907982"/>
              <a:gd name="connsiteX11" fmla="*/ 235749 w 1347721"/>
              <a:gd name="connsiteY11" fmla="*/ 0 h 1907982"/>
              <a:gd name="connsiteX0" fmla="*/ 235749 w 1347721"/>
              <a:gd name="connsiteY0" fmla="*/ 0 h 1907982"/>
              <a:gd name="connsiteX1" fmla="*/ 1025683 w 1347721"/>
              <a:gd name="connsiteY1" fmla="*/ 708924 h 1907982"/>
              <a:gd name="connsiteX2" fmla="*/ 1176397 w 1347721"/>
              <a:gd name="connsiteY2" fmla="*/ 1517457 h 1907982"/>
              <a:gd name="connsiteX3" fmla="*/ 1347721 w 1347721"/>
              <a:gd name="connsiteY3" fmla="*/ 1523637 h 1907982"/>
              <a:gd name="connsiteX4" fmla="*/ 890647 w 1347721"/>
              <a:gd name="connsiteY4" fmla="*/ 1907982 h 1907982"/>
              <a:gd name="connsiteX5" fmla="*/ 500874 w 1347721"/>
              <a:gd name="connsiteY5" fmla="*/ 1489238 h 1907982"/>
              <a:gd name="connsiteX6" fmla="*/ 500122 w 1347721"/>
              <a:gd name="connsiteY6" fmla="*/ 1488882 h 1907982"/>
              <a:gd name="connsiteX7" fmla="*/ 709673 w 1347721"/>
              <a:gd name="connsiteY7" fmla="*/ 1488882 h 1907982"/>
              <a:gd name="connsiteX8" fmla="*/ 565529 w 1347721"/>
              <a:gd name="connsiteY8" fmla="*/ 929965 h 1907982"/>
              <a:gd name="connsiteX9" fmla="*/ 0 w 1347721"/>
              <a:gd name="connsiteY9" fmla="*/ 344919 h 1907982"/>
              <a:gd name="connsiteX10" fmla="*/ 297660 w 1347721"/>
              <a:gd name="connsiteY10" fmla="*/ 282911 h 1907982"/>
              <a:gd name="connsiteX11" fmla="*/ 235749 w 1347721"/>
              <a:gd name="connsiteY11" fmla="*/ 0 h 1907982"/>
              <a:gd name="connsiteX0" fmla="*/ 235780 w 1347752"/>
              <a:gd name="connsiteY0" fmla="*/ 0 h 1907982"/>
              <a:gd name="connsiteX1" fmla="*/ 1025714 w 1347752"/>
              <a:gd name="connsiteY1" fmla="*/ 708924 h 1907982"/>
              <a:gd name="connsiteX2" fmla="*/ 1176428 w 1347752"/>
              <a:gd name="connsiteY2" fmla="*/ 1517457 h 1907982"/>
              <a:gd name="connsiteX3" fmla="*/ 1347752 w 1347752"/>
              <a:gd name="connsiteY3" fmla="*/ 1523637 h 1907982"/>
              <a:gd name="connsiteX4" fmla="*/ 890678 w 1347752"/>
              <a:gd name="connsiteY4" fmla="*/ 1907982 h 1907982"/>
              <a:gd name="connsiteX5" fmla="*/ 500905 w 1347752"/>
              <a:gd name="connsiteY5" fmla="*/ 1489238 h 1907982"/>
              <a:gd name="connsiteX6" fmla="*/ 500153 w 1347752"/>
              <a:gd name="connsiteY6" fmla="*/ 1488882 h 1907982"/>
              <a:gd name="connsiteX7" fmla="*/ 709704 w 1347752"/>
              <a:gd name="connsiteY7" fmla="*/ 1488882 h 1907982"/>
              <a:gd name="connsiteX8" fmla="*/ 565560 w 1347752"/>
              <a:gd name="connsiteY8" fmla="*/ 929965 h 1907982"/>
              <a:gd name="connsiteX9" fmla="*/ 0 w 1347752"/>
              <a:gd name="connsiteY9" fmla="*/ 366985 h 1907982"/>
              <a:gd name="connsiteX10" fmla="*/ 297691 w 1347752"/>
              <a:gd name="connsiteY10" fmla="*/ 282911 h 1907982"/>
              <a:gd name="connsiteX11" fmla="*/ 235780 w 1347752"/>
              <a:gd name="connsiteY11" fmla="*/ 0 h 1907982"/>
              <a:gd name="connsiteX0" fmla="*/ 246532 w 1347752"/>
              <a:gd name="connsiteY0" fmla="*/ 0 h 1963128"/>
              <a:gd name="connsiteX1" fmla="*/ 1025714 w 1347752"/>
              <a:gd name="connsiteY1" fmla="*/ 764070 h 1963128"/>
              <a:gd name="connsiteX2" fmla="*/ 1176428 w 1347752"/>
              <a:gd name="connsiteY2" fmla="*/ 1572603 h 1963128"/>
              <a:gd name="connsiteX3" fmla="*/ 1347752 w 1347752"/>
              <a:gd name="connsiteY3" fmla="*/ 1578783 h 1963128"/>
              <a:gd name="connsiteX4" fmla="*/ 890678 w 1347752"/>
              <a:gd name="connsiteY4" fmla="*/ 1963128 h 1963128"/>
              <a:gd name="connsiteX5" fmla="*/ 500905 w 1347752"/>
              <a:gd name="connsiteY5" fmla="*/ 1544384 h 1963128"/>
              <a:gd name="connsiteX6" fmla="*/ 500153 w 1347752"/>
              <a:gd name="connsiteY6" fmla="*/ 1544028 h 1963128"/>
              <a:gd name="connsiteX7" fmla="*/ 709704 w 1347752"/>
              <a:gd name="connsiteY7" fmla="*/ 1544028 h 1963128"/>
              <a:gd name="connsiteX8" fmla="*/ 565560 w 1347752"/>
              <a:gd name="connsiteY8" fmla="*/ 985111 h 1963128"/>
              <a:gd name="connsiteX9" fmla="*/ 0 w 1347752"/>
              <a:gd name="connsiteY9" fmla="*/ 422131 h 1963128"/>
              <a:gd name="connsiteX10" fmla="*/ 297691 w 1347752"/>
              <a:gd name="connsiteY10" fmla="*/ 338057 h 1963128"/>
              <a:gd name="connsiteX11" fmla="*/ 246532 w 1347752"/>
              <a:gd name="connsiteY11" fmla="*/ 0 h 1963128"/>
              <a:gd name="connsiteX0" fmla="*/ 246532 w 1347752"/>
              <a:gd name="connsiteY0" fmla="*/ 0 h 1963128"/>
              <a:gd name="connsiteX1" fmla="*/ 1025714 w 1347752"/>
              <a:gd name="connsiteY1" fmla="*/ 764070 h 1963128"/>
              <a:gd name="connsiteX2" fmla="*/ 1176428 w 1347752"/>
              <a:gd name="connsiteY2" fmla="*/ 1572603 h 1963128"/>
              <a:gd name="connsiteX3" fmla="*/ 1347752 w 1347752"/>
              <a:gd name="connsiteY3" fmla="*/ 1578783 h 1963128"/>
              <a:gd name="connsiteX4" fmla="*/ 890678 w 1347752"/>
              <a:gd name="connsiteY4" fmla="*/ 1963128 h 1963128"/>
              <a:gd name="connsiteX5" fmla="*/ 500905 w 1347752"/>
              <a:gd name="connsiteY5" fmla="*/ 1544384 h 1963128"/>
              <a:gd name="connsiteX6" fmla="*/ 500153 w 1347752"/>
              <a:gd name="connsiteY6" fmla="*/ 1544028 h 1963128"/>
              <a:gd name="connsiteX7" fmla="*/ 709704 w 1347752"/>
              <a:gd name="connsiteY7" fmla="*/ 1544028 h 1963128"/>
              <a:gd name="connsiteX8" fmla="*/ 565560 w 1347752"/>
              <a:gd name="connsiteY8" fmla="*/ 985111 h 1963128"/>
              <a:gd name="connsiteX9" fmla="*/ 0 w 1347752"/>
              <a:gd name="connsiteY9" fmla="*/ 422131 h 1963128"/>
              <a:gd name="connsiteX10" fmla="*/ 327583 w 1347752"/>
              <a:gd name="connsiteY10" fmla="*/ 333691 h 1963128"/>
              <a:gd name="connsiteX11" fmla="*/ 246532 w 1347752"/>
              <a:gd name="connsiteY11" fmla="*/ 0 h 1963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7752" h="1963128">
                <a:moveTo>
                  <a:pt x="246532" y="0"/>
                </a:moveTo>
                <a:cubicBezTo>
                  <a:pt x="376707" y="48419"/>
                  <a:pt x="853466" y="386547"/>
                  <a:pt x="1025714" y="764070"/>
                </a:cubicBezTo>
                <a:cubicBezTo>
                  <a:pt x="1181345" y="1083148"/>
                  <a:pt x="1181984" y="1409884"/>
                  <a:pt x="1176428" y="1572603"/>
                </a:cubicBezTo>
                <a:lnTo>
                  <a:pt x="1347752" y="1578783"/>
                </a:lnTo>
                <a:lnTo>
                  <a:pt x="890678" y="1963128"/>
                </a:lnTo>
                <a:lnTo>
                  <a:pt x="500905" y="1544384"/>
                </a:lnTo>
                <a:lnTo>
                  <a:pt x="500153" y="1544028"/>
                </a:lnTo>
                <a:lnTo>
                  <a:pt x="709704" y="1544028"/>
                </a:lnTo>
                <a:cubicBezTo>
                  <a:pt x="714039" y="1490191"/>
                  <a:pt x="721090" y="1290207"/>
                  <a:pt x="565560" y="985111"/>
                </a:cubicBezTo>
                <a:cubicBezTo>
                  <a:pt x="401014" y="623451"/>
                  <a:pt x="20638" y="447532"/>
                  <a:pt x="0" y="422131"/>
                </a:cubicBezTo>
                <a:lnTo>
                  <a:pt x="327583" y="333691"/>
                </a:lnTo>
                <a:lnTo>
                  <a:pt x="246532" y="0"/>
                </a:lnTo>
                <a:close/>
              </a:path>
            </a:pathLst>
          </a:custGeom>
          <a:solidFill>
            <a:srgbClr val="425563"/>
          </a:solidFill>
          <a:ln w="25400" cap="flat" cmpd="sng" algn="ctr">
            <a:noFill/>
            <a:prstDash val="solid"/>
          </a:ln>
          <a:effectLst/>
        </p:spPr>
        <p:txBody>
          <a:bodyPr lIns="121909" tIns="60955" rIns="121909" bIns="60955" rtlCol="0" anchor="ctr"/>
          <a:lstStyle/>
          <a:p>
            <a:pPr algn="ctr" defTabSz="1219068">
              <a:lnSpc>
                <a:spcPct val="85000"/>
              </a:lnSpc>
              <a:defRPr/>
            </a:pPr>
            <a:endParaRPr lang="en-US" sz="1600" kern="0" dirty="0">
              <a:solidFill>
                <a:srgbClr val="FFFFFF"/>
              </a:solidFill>
            </a:endParaRPr>
          </a:p>
        </p:txBody>
      </p:sp>
      <p:grpSp>
        <p:nvGrpSpPr>
          <p:cNvPr id="11" name="Group 10"/>
          <p:cNvGrpSpPr/>
          <p:nvPr/>
        </p:nvGrpSpPr>
        <p:grpSpPr>
          <a:xfrm>
            <a:off x="4923906" y="1771397"/>
            <a:ext cx="2147788" cy="2034897"/>
            <a:chOff x="3692927" y="1124329"/>
            <a:chExt cx="1610841" cy="1526173"/>
          </a:xfrm>
        </p:grpSpPr>
        <p:sp>
          <p:nvSpPr>
            <p:cNvPr id="68" name="Freeform 324"/>
            <p:cNvSpPr>
              <a:spLocks/>
            </p:cNvSpPr>
            <p:nvPr/>
          </p:nvSpPr>
          <p:spPr bwMode="auto">
            <a:xfrm>
              <a:off x="3979333" y="1346200"/>
              <a:ext cx="1016001" cy="719667"/>
            </a:xfrm>
            <a:prstGeom prst="rect">
              <a:avLst/>
            </a:prstGeom>
            <a:noFill/>
            <a:ln w="9525">
              <a:noFill/>
              <a:round/>
              <a:headEnd/>
              <a:tailEnd/>
            </a:ln>
          </p:spPr>
          <p:txBody>
            <a:bodyPr/>
            <a:lstStyle/>
            <a:p>
              <a:pPr algn="ctr" defTabSz="1219068">
                <a:defRPr/>
              </a:pPr>
              <a:r>
                <a:rPr lang="en-US" sz="1467" b="1" kern="0" dirty="0">
                  <a:solidFill>
                    <a:prstClr val="black"/>
                  </a:solidFill>
                </a:rPr>
                <a:t>                 </a:t>
              </a:r>
              <a:r>
                <a:rPr lang="ru-RU" sz="1467" b="1" kern="0" dirty="0">
                  <a:solidFill>
                    <a:prstClr val="black"/>
                  </a:solidFill>
                </a:rPr>
                <a:t>Жизненный цикл сервиса</a:t>
              </a:r>
              <a:endParaRPr lang="en-US" sz="1467" b="1" kern="0" dirty="0">
                <a:solidFill>
                  <a:prstClr val="black"/>
                </a:solidFill>
              </a:endParaRPr>
            </a:p>
          </p:txBody>
        </p:sp>
        <p:sp>
          <p:nvSpPr>
            <p:cNvPr id="70" name="Freeform 69"/>
            <p:cNvSpPr/>
            <p:nvPr/>
          </p:nvSpPr>
          <p:spPr>
            <a:xfrm rot="15100784">
              <a:off x="3802505" y="1014751"/>
              <a:ext cx="637662" cy="856817"/>
            </a:xfrm>
            <a:custGeom>
              <a:avLst/>
              <a:gdLst>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57213 w 1385888"/>
                <a:gd name="connsiteY7" fmla="*/ 814387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57213 w 1385888"/>
                <a:gd name="connsiteY7" fmla="*/ 814387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1989 w 1385888"/>
                <a:gd name="connsiteY9" fmla="*/ 252547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608332 w 1385888"/>
                <a:gd name="connsiteY7" fmla="*/ 907933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608332 w 1385888"/>
                <a:gd name="connsiteY7" fmla="*/ 907933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608332 w 1385888"/>
                <a:gd name="connsiteY7" fmla="*/ 907933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608332 w 1385888"/>
                <a:gd name="connsiteY7" fmla="*/ 907933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608332 w 1385888"/>
                <a:gd name="connsiteY7" fmla="*/ 907933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90524"/>
                <a:gd name="connsiteY0" fmla="*/ 0 h 1885950"/>
                <a:gd name="connsiteX1" fmla="*/ 1068486 w 1390524"/>
                <a:gd name="connsiteY1" fmla="*/ 686892 h 1885950"/>
                <a:gd name="connsiteX2" fmla="*/ 1219200 w 1390524"/>
                <a:gd name="connsiteY2" fmla="*/ 1495425 h 1885950"/>
                <a:gd name="connsiteX3" fmla="*/ 1390524 w 1390524"/>
                <a:gd name="connsiteY3" fmla="*/ 1501605 h 1885950"/>
                <a:gd name="connsiteX4" fmla="*/ 933450 w 1390524"/>
                <a:gd name="connsiteY4" fmla="*/ 1885950 h 1885950"/>
                <a:gd name="connsiteX5" fmla="*/ 542925 w 1390524"/>
                <a:gd name="connsiteY5" fmla="*/ 1466850 h 1885950"/>
                <a:gd name="connsiteX6" fmla="*/ 752476 w 1390524"/>
                <a:gd name="connsiteY6" fmla="*/ 1466850 h 1885950"/>
                <a:gd name="connsiteX7" fmla="*/ 608332 w 1390524"/>
                <a:gd name="connsiteY7" fmla="*/ 907933 h 1885950"/>
                <a:gd name="connsiteX8" fmla="*/ 0 w 1390524"/>
                <a:gd name="connsiteY8" fmla="*/ 400050 h 1885950"/>
                <a:gd name="connsiteX9" fmla="*/ 299883 w 1390524"/>
                <a:gd name="connsiteY9" fmla="*/ 276263 h 1885950"/>
                <a:gd name="connsiteX10" fmla="*/ 257175 w 1390524"/>
                <a:gd name="connsiteY10" fmla="*/ 0 h 1885950"/>
                <a:gd name="connsiteX0" fmla="*/ 257175 w 1390524"/>
                <a:gd name="connsiteY0" fmla="*/ 0 h 1885950"/>
                <a:gd name="connsiteX1" fmla="*/ 1068486 w 1390524"/>
                <a:gd name="connsiteY1" fmla="*/ 686892 h 1885950"/>
                <a:gd name="connsiteX2" fmla="*/ 1219200 w 1390524"/>
                <a:gd name="connsiteY2" fmla="*/ 1495425 h 1885950"/>
                <a:gd name="connsiteX3" fmla="*/ 1390524 w 1390524"/>
                <a:gd name="connsiteY3" fmla="*/ 1501605 h 1885950"/>
                <a:gd name="connsiteX4" fmla="*/ 933450 w 1390524"/>
                <a:gd name="connsiteY4" fmla="*/ 1885950 h 1885950"/>
                <a:gd name="connsiteX5" fmla="*/ 543677 w 1390524"/>
                <a:gd name="connsiteY5" fmla="*/ 1467206 h 1885950"/>
                <a:gd name="connsiteX6" fmla="*/ 542925 w 1390524"/>
                <a:gd name="connsiteY6" fmla="*/ 1466850 h 1885950"/>
                <a:gd name="connsiteX7" fmla="*/ 752476 w 1390524"/>
                <a:gd name="connsiteY7" fmla="*/ 1466850 h 1885950"/>
                <a:gd name="connsiteX8" fmla="*/ 608332 w 1390524"/>
                <a:gd name="connsiteY8" fmla="*/ 907933 h 1885950"/>
                <a:gd name="connsiteX9" fmla="*/ 0 w 1390524"/>
                <a:gd name="connsiteY9" fmla="*/ 400050 h 1885950"/>
                <a:gd name="connsiteX10" fmla="*/ 299883 w 1390524"/>
                <a:gd name="connsiteY10" fmla="*/ 276263 h 1885950"/>
                <a:gd name="connsiteX11" fmla="*/ 257175 w 1390524"/>
                <a:gd name="connsiteY11" fmla="*/ 0 h 1885950"/>
                <a:gd name="connsiteX0" fmla="*/ 257175 w 1390524"/>
                <a:gd name="connsiteY0" fmla="*/ 0 h 1885950"/>
                <a:gd name="connsiteX1" fmla="*/ 1068486 w 1390524"/>
                <a:gd name="connsiteY1" fmla="*/ 686892 h 1885950"/>
                <a:gd name="connsiteX2" fmla="*/ 1219200 w 1390524"/>
                <a:gd name="connsiteY2" fmla="*/ 1495425 h 1885950"/>
                <a:gd name="connsiteX3" fmla="*/ 1390524 w 1390524"/>
                <a:gd name="connsiteY3" fmla="*/ 1501605 h 1885950"/>
                <a:gd name="connsiteX4" fmla="*/ 933450 w 1390524"/>
                <a:gd name="connsiteY4" fmla="*/ 1885950 h 1885950"/>
                <a:gd name="connsiteX5" fmla="*/ 543677 w 1390524"/>
                <a:gd name="connsiteY5" fmla="*/ 1467206 h 1885950"/>
                <a:gd name="connsiteX6" fmla="*/ 542925 w 1390524"/>
                <a:gd name="connsiteY6" fmla="*/ 1466850 h 1885950"/>
                <a:gd name="connsiteX7" fmla="*/ 752476 w 1390524"/>
                <a:gd name="connsiteY7" fmla="*/ 1466850 h 1885950"/>
                <a:gd name="connsiteX8" fmla="*/ 608332 w 1390524"/>
                <a:gd name="connsiteY8" fmla="*/ 907933 h 1885950"/>
                <a:gd name="connsiteX9" fmla="*/ 0 w 1390524"/>
                <a:gd name="connsiteY9" fmla="*/ 400050 h 1885950"/>
                <a:gd name="connsiteX10" fmla="*/ 299883 w 1390524"/>
                <a:gd name="connsiteY10" fmla="*/ 276263 h 1885950"/>
                <a:gd name="connsiteX11" fmla="*/ 257175 w 1390524"/>
                <a:gd name="connsiteY11" fmla="*/ 0 h 1885950"/>
                <a:gd name="connsiteX0" fmla="*/ 257175 w 1390524"/>
                <a:gd name="connsiteY0" fmla="*/ 0 h 1885950"/>
                <a:gd name="connsiteX1" fmla="*/ 1068486 w 1390524"/>
                <a:gd name="connsiteY1" fmla="*/ 686892 h 1885950"/>
                <a:gd name="connsiteX2" fmla="*/ 1219200 w 1390524"/>
                <a:gd name="connsiteY2" fmla="*/ 1495425 h 1885950"/>
                <a:gd name="connsiteX3" fmla="*/ 1390524 w 1390524"/>
                <a:gd name="connsiteY3" fmla="*/ 1501605 h 1885950"/>
                <a:gd name="connsiteX4" fmla="*/ 933450 w 1390524"/>
                <a:gd name="connsiteY4" fmla="*/ 1885950 h 1885950"/>
                <a:gd name="connsiteX5" fmla="*/ 543677 w 1390524"/>
                <a:gd name="connsiteY5" fmla="*/ 1467206 h 1885950"/>
                <a:gd name="connsiteX6" fmla="*/ 542925 w 1390524"/>
                <a:gd name="connsiteY6" fmla="*/ 1466850 h 1885950"/>
                <a:gd name="connsiteX7" fmla="*/ 752476 w 1390524"/>
                <a:gd name="connsiteY7" fmla="*/ 1466850 h 1885950"/>
                <a:gd name="connsiteX8" fmla="*/ 608332 w 1390524"/>
                <a:gd name="connsiteY8" fmla="*/ 907933 h 1885950"/>
                <a:gd name="connsiteX9" fmla="*/ 0 w 1390524"/>
                <a:gd name="connsiteY9" fmla="*/ 400050 h 1885950"/>
                <a:gd name="connsiteX10" fmla="*/ 299883 w 1390524"/>
                <a:gd name="connsiteY10" fmla="*/ 276263 h 1885950"/>
                <a:gd name="connsiteX11" fmla="*/ 257175 w 1390524"/>
                <a:gd name="connsiteY11" fmla="*/ 0 h 1885950"/>
                <a:gd name="connsiteX0" fmla="*/ 214372 w 1347721"/>
                <a:gd name="connsiteY0" fmla="*/ 0 h 1885950"/>
                <a:gd name="connsiteX1" fmla="*/ 1025683 w 1347721"/>
                <a:gd name="connsiteY1" fmla="*/ 686892 h 1885950"/>
                <a:gd name="connsiteX2" fmla="*/ 1176397 w 1347721"/>
                <a:gd name="connsiteY2" fmla="*/ 1495425 h 1885950"/>
                <a:gd name="connsiteX3" fmla="*/ 1347721 w 1347721"/>
                <a:gd name="connsiteY3" fmla="*/ 1501605 h 1885950"/>
                <a:gd name="connsiteX4" fmla="*/ 890647 w 1347721"/>
                <a:gd name="connsiteY4" fmla="*/ 1885950 h 1885950"/>
                <a:gd name="connsiteX5" fmla="*/ 500874 w 1347721"/>
                <a:gd name="connsiteY5" fmla="*/ 1467206 h 1885950"/>
                <a:gd name="connsiteX6" fmla="*/ 500122 w 1347721"/>
                <a:gd name="connsiteY6" fmla="*/ 1466850 h 1885950"/>
                <a:gd name="connsiteX7" fmla="*/ 709673 w 1347721"/>
                <a:gd name="connsiteY7" fmla="*/ 1466850 h 1885950"/>
                <a:gd name="connsiteX8" fmla="*/ 565529 w 1347721"/>
                <a:gd name="connsiteY8" fmla="*/ 907933 h 1885950"/>
                <a:gd name="connsiteX9" fmla="*/ 0 w 1347721"/>
                <a:gd name="connsiteY9" fmla="*/ 322887 h 1885950"/>
                <a:gd name="connsiteX10" fmla="*/ 257080 w 1347721"/>
                <a:gd name="connsiteY10" fmla="*/ 276263 h 1885950"/>
                <a:gd name="connsiteX11" fmla="*/ 214372 w 1347721"/>
                <a:gd name="connsiteY11" fmla="*/ 0 h 1885950"/>
                <a:gd name="connsiteX0" fmla="*/ 214372 w 1347721"/>
                <a:gd name="connsiteY0" fmla="*/ 0 h 1885950"/>
                <a:gd name="connsiteX1" fmla="*/ 1025683 w 1347721"/>
                <a:gd name="connsiteY1" fmla="*/ 686892 h 1885950"/>
                <a:gd name="connsiteX2" fmla="*/ 1176397 w 1347721"/>
                <a:gd name="connsiteY2" fmla="*/ 1495425 h 1885950"/>
                <a:gd name="connsiteX3" fmla="*/ 1347721 w 1347721"/>
                <a:gd name="connsiteY3" fmla="*/ 1501605 h 1885950"/>
                <a:gd name="connsiteX4" fmla="*/ 890647 w 1347721"/>
                <a:gd name="connsiteY4" fmla="*/ 1885950 h 1885950"/>
                <a:gd name="connsiteX5" fmla="*/ 500874 w 1347721"/>
                <a:gd name="connsiteY5" fmla="*/ 1467206 h 1885950"/>
                <a:gd name="connsiteX6" fmla="*/ 500122 w 1347721"/>
                <a:gd name="connsiteY6" fmla="*/ 1466850 h 1885950"/>
                <a:gd name="connsiteX7" fmla="*/ 709673 w 1347721"/>
                <a:gd name="connsiteY7" fmla="*/ 1466850 h 1885950"/>
                <a:gd name="connsiteX8" fmla="*/ 565529 w 1347721"/>
                <a:gd name="connsiteY8" fmla="*/ 907933 h 1885950"/>
                <a:gd name="connsiteX9" fmla="*/ 0 w 1347721"/>
                <a:gd name="connsiteY9" fmla="*/ 322887 h 1885950"/>
                <a:gd name="connsiteX10" fmla="*/ 289146 w 1347721"/>
                <a:gd name="connsiteY10" fmla="*/ 243213 h 1885950"/>
                <a:gd name="connsiteX11" fmla="*/ 214372 w 1347721"/>
                <a:gd name="connsiteY11" fmla="*/ 0 h 1885950"/>
                <a:gd name="connsiteX0" fmla="*/ 214372 w 1347721"/>
                <a:gd name="connsiteY0" fmla="*/ 0 h 1885950"/>
                <a:gd name="connsiteX1" fmla="*/ 1025683 w 1347721"/>
                <a:gd name="connsiteY1" fmla="*/ 686892 h 1885950"/>
                <a:gd name="connsiteX2" fmla="*/ 1176397 w 1347721"/>
                <a:gd name="connsiteY2" fmla="*/ 1495425 h 1885950"/>
                <a:gd name="connsiteX3" fmla="*/ 1347721 w 1347721"/>
                <a:gd name="connsiteY3" fmla="*/ 1501605 h 1885950"/>
                <a:gd name="connsiteX4" fmla="*/ 890647 w 1347721"/>
                <a:gd name="connsiteY4" fmla="*/ 1885950 h 1885950"/>
                <a:gd name="connsiteX5" fmla="*/ 500874 w 1347721"/>
                <a:gd name="connsiteY5" fmla="*/ 1467206 h 1885950"/>
                <a:gd name="connsiteX6" fmla="*/ 500122 w 1347721"/>
                <a:gd name="connsiteY6" fmla="*/ 1466850 h 1885950"/>
                <a:gd name="connsiteX7" fmla="*/ 709673 w 1347721"/>
                <a:gd name="connsiteY7" fmla="*/ 1466850 h 1885950"/>
                <a:gd name="connsiteX8" fmla="*/ 565529 w 1347721"/>
                <a:gd name="connsiteY8" fmla="*/ 907933 h 1885950"/>
                <a:gd name="connsiteX9" fmla="*/ 0 w 1347721"/>
                <a:gd name="connsiteY9" fmla="*/ 322887 h 1885950"/>
                <a:gd name="connsiteX10" fmla="*/ 289100 w 1347721"/>
                <a:gd name="connsiteY10" fmla="*/ 276311 h 1885950"/>
                <a:gd name="connsiteX11" fmla="*/ 214372 w 1347721"/>
                <a:gd name="connsiteY11" fmla="*/ 0 h 1885950"/>
                <a:gd name="connsiteX0" fmla="*/ 214372 w 1347721"/>
                <a:gd name="connsiteY0" fmla="*/ 0 h 1885950"/>
                <a:gd name="connsiteX1" fmla="*/ 1025683 w 1347721"/>
                <a:gd name="connsiteY1" fmla="*/ 686892 h 1885950"/>
                <a:gd name="connsiteX2" fmla="*/ 1176397 w 1347721"/>
                <a:gd name="connsiteY2" fmla="*/ 1495425 h 1885950"/>
                <a:gd name="connsiteX3" fmla="*/ 1347721 w 1347721"/>
                <a:gd name="connsiteY3" fmla="*/ 1501605 h 1885950"/>
                <a:gd name="connsiteX4" fmla="*/ 890647 w 1347721"/>
                <a:gd name="connsiteY4" fmla="*/ 1885950 h 1885950"/>
                <a:gd name="connsiteX5" fmla="*/ 500874 w 1347721"/>
                <a:gd name="connsiteY5" fmla="*/ 1467206 h 1885950"/>
                <a:gd name="connsiteX6" fmla="*/ 500122 w 1347721"/>
                <a:gd name="connsiteY6" fmla="*/ 1466850 h 1885950"/>
                <a:gd name="connsiteX7" fmla="*/ 709673 w 1347721"/>
                <a:gd name="connsiteY7" fmla="*/ 1466850 h 1885950"/>
                <a:gd name="connsiteX8" fmla="*/ 565529 w 1347721"/>
                <a:gd name="connsiteY8" fmla="*/ 907933 h 1885950"/>
                <a:gd name="connsiteX9" fmla="*/ 0 w 1347721"/>
                <a:gd name="connsiteY9" fmla="*/ 322887 h 1885950"/>
                <a:gd name="connsiteX10" fmla="*/ 284843 w 1347721"/>
                <a:gd name="connsiteY10" fmla="*/ 267479 h 1885950"/>
                <a:gd name="connsiteX11" fmla="*/ 214372 w 1347721"/>
                <a:gd name="connsiteY11" fmla="*/ 0 h 1885950"/>
                <a:gd name="connsiteX0" fmla="*/ 235749 w 1347721"/>
                <a:gd name="connsiteY0" fmla="*/ 0 h 1907982"/>
                <a:gd name="connsiteX1" fmla="*/ 1025683 w 1347721"/>
                <a:gd name="connsiteY1" fmla="*/ 708924 h 1907982"/>
                <a:gd name="connsiteX2" fmla="*/ 1176397 w 1347721"/>
                <a:gd name="connsiteY2" fmla="*/ 1517457 h 1907982"/>
                <a:gd name="connsiteX3" fmla="*/ 1347721 w 1347721"/>
                <a:gd name="connsiteY3" fmla="*/ 1523637 h 1907982"/>
                <a:gd name="connsiteX4" fmla="*/ 890647 w 1347721"/>
                <a:gd name="connsiteY4" fmla="*/ 1907982 h 1907982"/>
                <a:gd name="connsiteX5" fmla="*/ 500874 w 1347721"/>
                <a:gd name="connsiteY5" fmla="*/ 1489238 h 1907982"/>
                <a:gd name="connsiteX6" fmla="*/ 500122 w 1347721"/>
                <a:gd name="connsiteY6" fmla="*/ 1488882 h 1907982"/>
                <a:gd name="connsiteX7" fmla="*/ 709673 w 1347721"/>
                <a:gd name="connsiteY7" fmla="*/ 1488882 h 1907982"/>
                <a:gd name="connsiteX8" fmla="*/ 565529 w 1347721"/>
                <a:gd name="connsiteY8" fmla="*/ 929965 h 1907982"/>
                <a:gd name="connsiteX9" fmla="*/ 0 w 1347721"/>
                <a:gd name="connsiteY9" fmla="*/ 344919 h 1907982"/>
                <a:gd name="connsiteX10" fmla="*/ 284843 w 1347721"/>
                <a:gd name="connsiteY10" fmla="*/ 289511 h 1907982"/>
                <a:gd name="connsiteX11" fmla="*/ 235749 w 1347721"/>
                <a:gd name="connsiteY11" fmla="*/ 0 h 1907982"/>
                <a:gd name="connsiteX0" fmla="*/ 235749 w 1347721"/>
                <a:gd name="connsiteY0" fmla="*/ 0 h 1907982"/>
                <a:gd name="connsiteX1" fmla="*/ 1025683 w 1347721"/>
                <a:gd name="connsiteY1" fmla="*/ 708924 h 1907982"/>
                <a:gd name="connsiteX2" fmla="*/ 1176397 w 1347721"/>
                <a:gd name="connsiteY2" fmla="*/ 1517457 h 1907982"/>
                <a:gd name="connsiteX3" fmla="*/ 1347721 w 1347721"/>
                <a:gd name="connsiteY3" fmla="*/ 1523637 h 1907982"/>
                <a:gd name="connsiteX4" fmla="*/ 890647 w 1347721"/>
                <a:gd name="connsiteY4" fmla="*/ 1907982 h 1907982"/>
                <a:gd name="connsiteX5" fmla="*/ 500874 w 1347721"/>
                <a:gd name="connsiteY5" fmla="*/ 1489238 h 1907982"/>
                <a:gd name="connsiteX6" fmla="*/ 500122 w 1347721"/>
                <a:gd name="connsiteY6" fmla="*/ 1488882 h 1907982"/>
                <a:gd name="connsiteX7" fmla="*/ 709673 w 1347721"/>
                <a:gd name="connsiteY7" fmla="*/ 1488882 h 1907982"/>
                <a:gd name="connsiteX8" fmla="*/ 565529 w 1347721"/>
                <a:gd name="connsiteY8" fmla="*/ 929965 h 1907982"/>
                <a:gd name="connsiteX9" fmla="*/ 0 w 1347721"/>
                <a:gd name="connsiteY9" fmla="*/ 344919 h 1907982"/>
                <a:gd name="connsiteX10" fmla="*/ 297660 w 1347721"/>
                <a:gd name="connsiteY10" fmla="*/ 282911 h 1907982"/>
                <a:gd name="connsiteX11" fmla="*/ 235749 w 1347721"/>
                <a:gd name="connsiteY11" fmla="*/ 0 h 1907982"/>
                <a:gd name="connsiteX0" fmla="*/ 235780 w 1347752"/>
                <a:gd name="connsiteY0" fmla="*/ 0 h 1907982"/>
                <a:gd name="connsiteX1" fmla="*/ 1025714 w 1347752"/>
                <a:gd name="connsiteY1" fmla="*/ 708924 h 1907982"/>
                <a:gd name="connsiteX2" fmla="*/ 1176428 w 1347752"/>
                <a:gd name="connsiteY2" fmla="*/ 1517457 h 1907982"/>
                <a:gd name="connsiteX3" fmla="*/ 1347752 w 1347752"/>
                <a:gd name="connsiteY3" fmla="*/ 1523637 h 1907982"/>
                <a:gd name="connsiteX4" fmla="*/ 890678 w 1347752"/>
                <a:gd name="connsiteY4" fmla="*/ 1907982 h 1907982"/>
                <a:gd name="connsiteX5" fmla="*/ 500905 w 1347752"/>
                <a:gd name="connsiteY5" fmla="*/ 1489238 h 1907982"/>
                <a:gd name="connsiteX6" fmla="*/ 500153 w 1347752"/>
                <a:gd name="connsiteY6" fmla="*/ 1488882 h 1907982"/>
                <a:gd name="connsiteX7" fmla="*/ 709704 w 1347752"/>
                <a:gd name="connsiteY7" fmla="*/ 1488882 h 1907982"/>
                <a:gd name="connsiteX8" fmla="*/ 565560 w 1347752"/>
                <a:gd name="connsiteY8" fmla="*/ 929965 h 1907982"/>
                <a:gd name="connsiteX9" fmla="*/ 0 w 1347752"/>
                <a:gd name="connsiteY9" fmla="*/ 366985 h 1907982"/>
                <a:gd name="connsiteX10" fmla="*/ 297691 w 1347752"/>
                <a:gd name="connsiteY10" fmla="*/ 282911 h 1907982"/>
                <a:gd name="connsiteX11" fmla="*/ 235780 w 1347752"/>
                <a:gd name="connsiteY11" fmla="*/ 0 h 1907982"/>
                <a:gd name="connsiteX0" fmla="*/ 246532 w 1347752"/>
                <a:gd name="connsiteY0" fmla="*/ 0 h 1963128"/>
                <a:gd name="connsiteX1" fmla="*/ 1025714 w 1347752"/>
                <a:gd name="connsiteY1" fmla="*/ 764070 h 1963128"/>
                <a:gd name="connsiteX2" fmla="*/ 1176428 w 1347752"/>
                <a:gd name="connsiteY2" fmla="*/ 1572603 h 1963128"/>
                <a:gd name="connsiteX3" fmla="*/ 1347752 w 1347752"/>
                <a:gd name="connsiteY3" fmla="*/ 1578783 h 1963128"/>
                <a:gd name="connsiteX4" fmla="*/ 890678 w 1347752"/>
                <a:gd name="connsiteY4" fmla="*/ 1963128 h 1963128"/>
                <a:gd name="connsiteX5" fmla="*/ 500905 w 1347752"/>
                <a:gd name="connsiteY5" fmla="*/ 1544384 h 1963128"/>
                <a:gd name="connsiteX6" fmla="*/ 500153 w 1347752"/>
                <a:gd name="connsiteY6" fmla="*/ 1544028 h 1963128"/>
                <a:gd name="connsiteX7" fmla="*/ 709704 w 1347752"/>
                <a:gd name="connsiteY7" fmla="*/ 1544028 h 1963128"/>
                <a:gd name="connsiteX8" fmla="*/ 565560 w 1347752"/>
                <a:gd name="connsiteY8" fmla="*/ 985111 h 1963128"/>
                <a:gd name="connsiteX9" fmla="*/ 0 w 1347752"/>
                <a:gd name="connsiteY9" fmla="*/ 422131 h 1963128"/>
                <a:gd name="connsiteX10" fmla="*/ 297691 w 1347752"/>
                <a:gd name="connsiteY10" fmla="*/ 338057 h 1963128"/>
                <a:gd name="connsiteX11" fmla="*/ 246532 w 1347752"/>
                <a:gd name="connsiteY11" fmla="*/ 0 h 1963128"/>
                <a:gd name="connsiteX0" fmla="*/ 246532 w 1347752"/>
                <a:gd name="connsiteY0" fmla="*/ 0 h 1963128"/>
                <a:gd name="connsiteX1" fmla="*/ 1025714 w 1347752"/>
                <a:gd name="connsiteY1" fmla="*/ 764070 h 1963128"/>
                <a:gd name="connsiteX2" fmla="*/ 1176428 w 1347752"/>
                <a:gd name="connsiteY2" fmla="*/ 1572603 h 1963128"/>
                <a:gd name="connsiteX3" fmla="*/ 1347752 w 1347752"/>
                <a:gd name="connsiteY3" fmla="*/ 1578783 h 1963128"/>
                <a:gd name="connsiteX4" fmla="*/ 890678 w 1347752"/>
                <a:gd name="connsiteY4" fmla="*/ 1963128 h 1963128"/>
                <a:gd name="connsiteX5" fmla="*/ 500905 w 1347752"/>
                <a:gd name="connsiteY5" fmla="*/ 1544384 h 1963128"/>
                <a:gd name="connsiteX6" fmla="*/ 500153 w 1347752"/>
                <a:gd name="connsiteY6" fmla="*/ 1544028 h 1963128"/>
                <a:gd name="connsiteX7" fmla="*/ 709704 w 1347752"/>
                <a:gd name="connsiteY7" fmla="*/ 1544028 h 1963128"/>
                <a:gd name="connsiteX8" fmla="*/ 565560 w 1347752"/>
                <a:gd name="connsiteY8" fmla="*/ 985111 h 1963128"/>
                <a:gd name="connsiteX9" fmla="*/ 0 w 1347752"/>
                <a:gd name="connsiteY9" fmla="*/ 422131 h 1963128"/>
                <a:gd name="connsiteX10" fmla="*/ 327583 w 1347752"/>
                <a:gd name="connsiteY10" fmla="*/ 333691 h 1963128"/>
                <a:gd name="connsiteX11" fmla="*/ 246532 w 1347752"/>
                <a:gd name="connsiteY11" fmla="*/ 0 h 1963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7752" h="1963128">
                  <a:moveTo>
                    <a:pt x="246532" y="0"/>
                  </a:moveTo>
                  <a:cubicBezTo>
                    <a:pt x="376707" y="48419"/>
                    <a:pt x="853466" y="386547"/>
                    <a:pt x="1025714" y="764070"/>
                  </a:cubicBezTo>
                  <a:cubicBezTo>
                    <a:pt x="1181345" y="1083148"/>
                    <a:pt x="1181984" y="1409884"/>
                    <a:pt x="1176428" y="1572603"/>
                  </a:cubicBezTo>
                  <a:lnTo>
                    <a:pt x="1347752" y="1578783"/>
                  </a:lnTo>
                  <a:lnTo>
                    <a:pt x="890678" y="1963128"/>
                  </a:lnTo>
                  <a:lnTo>
                    <a:pt x="500905" y="1544384"/>
                  </a:lnTo>
                  <a:lnTo>
                    <a:pt x="500153" y="1544028"/>
                  </a:lnTo>
                  <a:lnTo>
                    <a:pt x="709704" y="1544028"/>
                  </a:lnTo>
                  <a:cubicBezTo>
                    <a:pt x="714039" y="1490191"/>
                    <a:pt x="721090" y="1290207"/>
                    <a:pt x="565560" y="985111"/>
                  </a:cubicBezTo>
                  <a:cubicBezTo>
                    <a:pt x="401014" y="623451"/>
                    <a:pt x="20638" y="447532"/>
                    <a:pt x="0" y="422131"/>
                  </a:cubicBezTo>
                  <a:lnTo>
                    <a:pt x="327583" y="333691"/>
                  </a:lnTo>
                  <a:lnTo>
                    <a:pt x="246532" y="0"/>
                  </a:lnTo>
                  <a:close/>
                </a:path>
              </a:pathLst>
            </a:custGeom>
            <a:solidFill>
              <a:srgbClr val="425563"/>
            </a:solidFill>
            <a:ln w="25400" cap="flat" cmpd="sng" algn="ctr">
              <a:noFill/>
              <a:prstDash val="solid"/>
            </a:ln>
            <a:effectLst/>
          </p:spPr>
          <p:txBody>
            <a:bodyPr lIns="121920" tIns="60960" rtlCol="0" anchor="ctr"/>
            <a:lstStyle/>
            <a:p>
              <a:pPr algn="ctr" defTabSz="1219068">
                <a:lnSpc>
                  <a:spcPct val="85000"/>
                </a:lnSpc>
                <a:defRPr/>
              </a:pPr>
              <a:endParaRPr lang="en-US" sz="1600" kern="0" dirty="0">
                <a:solidFill>
                  <a:srgbClr val="FFFFFF"/>
                </a:solidFill>
              </a:endParaRPr>
            </a:p>
          </p:txBody>
        </p:sp>
        <p:grpSp>
          <p:nvGrpSpPr>
            <p:cNvPr id="93" name="Group 92"/>
            <p:cNvGrpSpPr/>
            <p:nvPr/>
          </p:nvGrpSpPr>
          <p:grpSpPr>
            <a:xfrm rot="10800000">
              <a:off x="3794527" y="1793685"/>
              <a:ext cx="1509241" cy="856817"/>
              <a:chOff x="3692927" y="1014752"/>
              <a:chExt cx="1509241" cy="856817"/>
            </a:xfrm>
          </p:grpSpPr>
          <p:sp>
            <p:nvSpPr>
              <p:cNvPr id="102" name="Freeform 101"/>
              <p:cNvSpPr/>
              <p:nvPr/>
            </p:nvSpPr>
            <p:spPr>
              <a:xfrm rot="15100784">
                <a:off x="3802505" y="1014751"/>
                <a:ext cx="637662" cy="856817"/>
              </a:xfrm>
              <a:custGeom>
                <a:avLst/>
                <a:gdLst>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57213 w 1385888"/>
                  <a:gd name="connsiteY7" fmla="*/ 814387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57213 w 1385888"/>
                  <a:gd name="connsiteY7" fmla="*/ 814387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1989 w 1385888"/>
                  <a:gd name="connsiteY9" fmla="*/ 252547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608332 w 1385888"/>
                  <a:gd name="connsiteY7" fmla="*/ 907933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608332 w 1385888"/>
                  <a:gd name="connsiteY7" fmla="*/ 907933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608332 w 1385888"/>
                  <a:gd name="connsiteY7" fmla="*/ 907933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608332 w 1385888"/>
                  <a:gd name="connsiteY7" fmla="*/ 907933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608332 w 1385888"/>
                  <a:gd name="connsiteY7" fmla="*/ 907933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90524"/>
                  <a:gd name="connsiteY0" fmla="*/ 0 h 1885950"/>
                  <a:gd name="connsiteX1" fmla="*/ 1068486 w 1390524"/>
                  <a:gd name="connsiteY1" fmla="*/ 686892 h 1885950"/>
                  <a:gd name="connsiteX2" fmla="*/ 1219200 w 1390524"/>
                  <a:gd name="connsiteY2" fmla="*/ 1495425 h 1885950"/>
                  <a:gd name="connsiteX3" fmla="*/ 1390524 w 1390524"/>
                  <a:gd name="connsiteY3" fmla="*/ 1501605 h 1885950"/>
                  <a:gd name="connsiteX4" fmla="*/ 933450 w 1390524"/>
                  <a:gd name="connsiteY4" fmla="*/ 1885950 h 1885950"/>
                  <a:gd name="connsiteX5" fmla="*/ 542925 w 1390524"/>
                  <a:gd name="connsiteY5" fmla="*/ 1466850 h 1885950"/>
                  <a:gd name="connsiteX6" fmla="*/ 752476 w 1390524"/>
                  <a:gd name="connsiteY6" fmla="*/ 1466850 h 1885950"/>
                  <a:gd name="connsiteX7" fmla="*/ 608332 w 1390524"/>
                  <a:gd name="connsiteY7" fmla="*/ 907933 h 1885950"/>
                  <a:gd name="connsiteX8" fmla="*/ 0 w 1390524"/>
                  <a:gd name="connsiteY8" fmla="*/ 400050 h 1885950"/>
                  <a:gd name="connsiteX9" fmla="*/ 299883 w 1390524"/>
                  <a:gd name="connsiteY9" fmla="*/ 276263 h 1885950"/>
                  <a:gd name="connsiteX10" fmla="*/ 257175 w 1390524"/>
                  <a:gd name="connsiteY10" fmla="*/ 0 h 1885950"/>
                  <a:gd name="connsiteX0" fmla="*/ 257175 w 1390524"/>
                  <a:gd name="connsiteY0" fmla="*/ 0 h 1885950"/>
                  <a:gd name="connsiteX1" fmla="*/ 1068486 w 1390524"/>
                  <a:gd name="connsiteY1" fmla="*/ 686892 h 1885950"/>
                  <a:gd name="connsiteX2" fmla="*/ 1219200 w 1390524"/>
                  <a:gd name="connsiteY2" fmla="*/ 1495425 h 1885950"/>
                  <a:gd name="connsiteX3" fmla="*/ 1390524 w 1390524"/>
                  <a:gd name="connsiteY3" fmla="*/ 1501605 h 1885950"/>
                  <a:gd name="connsiteX4" fmla="*/ 933450 w 1390524"/>
                  <a:gd name="connsiteY4" fmla="*/ 1885950 h 1885950"/>
                  <a:gd name="connsiteX5" fmla="*/ 543677 w 1390524"/>
                  <a:gd name="connsiteY5" fmla="*/ 1467206 h 1885950"/>
                  <a:gd name="connsiteX6" fmla="*/ 542925 w 1390524"/>
                  <a:gd name="connsiteY6" fmla="*/ 1466850 h 1885950"/>
                  <a:gd name="connsiteX7" fmla="*/ 752476 w 1390524"/>
                  <a:gd name="connsiteY7" fmla="*/ 1466850 h 1885950"/>
                  <a:gd name="connsiteX8" fmla="*/ 608332 w 1390524"/>
                  <a:gd name="connsiteY8" fmla="*/ 907933 h 1885950"/>
                  <a:gd name="connsiteX9" fmla="*/ 0 w 1390524"/>
                  <a:gd name="connsiteY9" fmla="*/ 400050 h 1885950"/>
                  <a:gd name="connsiteX10" fmla="*/ 299883 w 1390524"/>
                  <a:gd name="connsiteY10" fmla="*/ 276263 h 1885950"/>
                  <a:gd name="connsiteX11" fmla="*/ 257175 w 1390524"/>
                  <a:gd name="connsiteY11" fmla="*/ 0 h 1885950"/>
                  <a:gd name="connsiteX0" fmla="*/ 257175 w 1390524"/>
                  <a:gd name="connsiteY0" fmla="*/ 0 h 1885950"/>
                  <a:gd name="connsiteX1" fmla="*/ 1068486 w 1390524"/>
                  <a:gd name="connsiteY1" fmla="*/ 686892 h 1885950"/>
                  <a:gd name="connsiteX2" fmla="*/ 1219200 w 1390524"/>
                  <a:gd name="connsiteY2" fmla="*/ 1495425 h 1885950"/>
                  <a:gd name="connsiteX3" fmla="*/ 1390524 w 1390524"/>
                  <a:gd name="connsiteY3" fmla="*/ 1501605 h 1885950"/>
                  <a:gd name="connsiteX4" fmla="*/ 933450 w 1390524"/>
                  <a:gd name="connsiteY4" fmla="*/ 1885950 h 1885950"/>
                  <a:gd name="connsiteX5" fmla="*/ 543677 w 1390524"/>
                  <a:gd name="connsiteY5" fmla="*/ 1467206 h 1885950"/>
                  <a:gd name="connsiteX6" fmla="*/ 542925 w 1390524"/>
                  <a:gd name="connsiteY6" fmla="*/ 1466850 h 1885950"/>
                  <a:gd name="connsiteX7" fmla="*/ 752476 w 1390524"/>
                  <a:gd name="connsiteY7" fmla="*/ 1466850 h 1885950"/>
                  <a:gd name="connsiteX8" fmla="*/ 608332 w 1390524"/>
                  <a:gd name="connsiteY8" fmla="*/ 907933 h 1885950"/>
                  <a:gd name="connsiteX9" fmla="*/ 0 w 1390524"/>
                  <a:gd name="connsiteY9" fmla="*/ 400050 h 1885950"/>
                  <a:gd name="connsiteX10" fmla="*/ 299883 w 1390524"/>
                  <a:gd name="connsiteY10" fmla="*/ 276263 h 1885950"/>
                  <a:gd name="connsiteX11" fmla="*/ 257175 w 1390524"/>
                  <a:gd name="connsiteY11" fmla="*/ 0 h 1885950"/>
                  <a:gd name="connsiteX0" fmla="*/ 257175 w 1390524"/>
                  <a:gd name="connsiteY0" fmla="*/ 0 h 1885950"/>
                  <a:gd name="connsiteX1" fmla="*/ 1068486 w 1390524"/>
                  <a:gd name="connsiteY1" fmla="*/ 686892 h 1885950"/>
                  <a:gd name="connsiteX2" fmla="*/ 1219200 w 1390524"/>
                  <a:gd name="connsiteY2" fmla="*/ 1495425 h 1885950"/>
                  <a:gd name="connsiteX3" fmla="*/ 1390524 w 1390524"/>
                  <a:gd name="connsiteY3" fmla="*/ 1501605 h 1885950"/>
                  <a:gd name="connsiteX4" fmla="*/ 933450 w 1390524"/>
                  <a:gd name="connsiteY4" fmla="*/ 1885950 h 1885950"/>
                  <a:gd name="connsiteX5" fmla="*/ 543677 w 1390524"/>
                  <a:gd name="connsiteY5" fmla="*/ 1467206 h 1885950"/>
                  <a:gd name="connsiteX6" fmla="*/ 542925 w 1390524"/>
                  <a:gd name="connsiteY6" fmla="*/ 1466850 h 1885950"/>
                  <a:gd name="connsiteX7" fmla="*/ 752476 w 1390524"/>
                  <a:gd name="connsiteY7" fmla="*/ 1466850 h 1885950"/>
                  <a:gd name="connsiteX8" fmla="*/ 608332 w 1390524"/>
                  <a:gd name="connsiteY8" fmla="*/ 907933 h 1885950"/>
                  <a:gd name="connsiteX9" fmla="*/ 0 w 1390524"/>
                  <a:gd name="connsiteY9" fmla="*/ 400050 h 1885950"/>
                  <a:gd name="connsiteX10" fmla="*/ 299883 w 1390524"/>
                  <a:gd name="connsiteY10" fmla="*/ 276263 h 1885950"/>
                  <a:gd name="connsiteX11" fmla="*/ 257175 w 1390524"/>
                  <a:gd name="connsiteY11" fmla="*/ 0 h 1885950"/>
                  <a:gd name="connsiteX0" fmla="*/ 214372 w 1347721"/>
                  <a:gd name="connsiteY0" fmla="*/ 0 h 1885950"/>
                  <a:gd name="connsiteX1" fmla="*/ 1025683 w 1347721"/>
                  <a:gd name="connsiteY1" fmla="*/ 686892 h 1885950"/>
                  <a:gd name="connsiteX2" fmla="*/ 1176397 w 1347721"/>
                  <a:gd name="connsiteY2" fmla="*/ 1495425 h 1885950"/>
                  <a:gd name="connsiteX3" fmla="*/ 1347721 w 1347721"/>
                  <a:gd name="connsiteY3" fmla="*/ 1501605 h 1885950"/>
                  <a:gd name="connsiteX4" fmla="*/ 890647 w 1347721"/>
                  <a:gd name="connsiteY4" fmla="*/ 1885950 h 1885950"/>
                  <a:gd name="connsiteX5" fmla="*/ 500874 w 1347721"/>
                  <a:gd name="connsiteY5" fmla="*/ 1467206 h 1885950"/>
                  <a:gd name="connsiteX6" fmla="*/ 500122 w 1347721"/>
                  <a:gd name="connsiteY6" fmla="*/ 1466850 h 1885950"/>
                  <a:gd name="connsiteX7" fmla="*/ 709673 w 1347721"/>
                  <a:gd name="connsiteY7" fmla="*/ 1466850 h 1885950"/>
                  <a:gd name="connsiteX8" fmla="*/ 565529 w 1347721"/>
                  <a:gd name="connsiteY8" fmla="*/ 907933 h 1885950"/>
                  <a:gd name="connsiteX9" fmla="*/ 0 w 1347721"/>
                  <a:gd name="connsiteY9" fmla="*/ 322887 h 1885950"/>
                  <a:gd name="connsiteX10" fmla="*/ 257080 w 1347721"/>
                  <a:gd name="connsiteY10" fmla="*/ 276263 h 1885950"/>
                  <a:gd name="connsiteX11" fmla="*/ 214372 w 1347721"/>
                  <a:gd name="connsiteY11" fmla="*/ 0 h 1885950"/>
                  <a:gd name="connsiteX0" fmla="*/ 214372 w 1347721"/>
                  <a:gd name="connsiteY0" fmla="*/ 0 h 1885950"/>
                  <a:gd name="connsiteX1" fmla="*/ 1025683 w 1347721"/>
                  <a:gd name="connsiteY1" fmla="*/ 686892 h 1885950"/>
                  <a:gd name="connsiteX2" fmla="*/ 1176397 w 1347721"/>
                  <a:gd name="connsiteY2" fmla="*/ 1495425 h 1885950"/>
                  <a:gd name="connsiteX3" fmla="*/ 1347721 w 1347721"/>
                  <a:gd name="connsiteY3" fmla="*/ 1501605 h 1885950"/>
                  <a:gd name="connsiteX4" fmla="*/ 890647 w 1347721"/>
                  <a:gd name="connsiteY4" fmla="*/ 1885950 h 1885950"/>
                  <a:gd name="connsiteX5" fmla="*/ 500874 w 1347721"/>
                  <a:gd name="connsiteY5" fmla="*/ 1467206 h 1885950"/>
                  <a:gd name="connsiteX6" fmla="*/ 500122 w 1347721"/>
                  <a:gd name="connsiteY6" fmla="*/ 1466850 h 1885950"/>
                  <a:gd name="connsiteX7" fmla="*/ 709673 w 1347721"/>
                  <a:gd name="connsiteY7" fmla="*/ 1466850 h 1885950"/>
                  <a:gd name="connsiteX8" fmla="*/ 565529 w 1347721"/>
                  <a:gd name="connsiteY8" fmla="*/ 907933 h 1885950"/>
                  <a:gd name="connsiteX9" fmla="*/ 0 w 1347721"/>
                  <a:gd name="connsiteY9" fmla="*/ 322887 h 1885950"/>
                  <a:gd name="connsiteX10" fmla="*/ 289146 w 1347721"/>
                  <a:gd name="connsiteY10" fmla="*/ 243213 h 1885950"/>
                  <a:gd name="connsiteX11" fmla="*/ 214372 w 1347721"/>
                  <a:gd name="connsiteY11" fmla="*/ 0 h 1885950"/>
                  <a:gd name="connsiteX0" fmla="*/ 214372 w 1347721"/>
                  <a:gd name="connsiteY0" fmla="*/ 0 h 1885950"/>
                  <a:gd name="connsiteX1" fmla="*/ 1025683 w 1347721"/>
                  <a:gd name="connsiteY1" fmla="*/ 686892 h 1885950"/>
                  <a:gd name="connsiteX2" fmla="*/ 1176397 w 1347721"/>
                  <a:gd name="connsiteY2" fmla="*/ 1495425 h 1885950"/>
                  <a:gd name="connsiteX3" fmla="*/ 1347721 w 1347721"/>
                  <a:gd name="connsiteY3" fmla="*/ 1501605 h 1885950"/>
                  <a:gd name="connsiteX4" fmla="*/ 890647 w 1347721"/>
                  <a:gd name="connsiteY4" fmla="*/ 1885950 h 1885950"/>
                  <a:gd name="connsiteX5" fmla="*/ 500874 w 1347721"/>
                  <a:gd name="connsiteY5" fmla="*/ 1467206 h 1885950"/>
                  <a:gd name="connsiteX6" fmla="*/ 500122 w 1347721"/>
                  <a:gd name="connsiteY6" fmla="*/ 1466850 h 1885950"/>
                  <a:gd name="connsiteX7" fmla="*/ 709673 w 1347721"/>
                  <a:gd name="connsiteY7" fmla="*/ 1466850 h 1885950"/>
                  <a:gd name="connsiteX8" fmla="*/ 565529 w 1347721"/>
                  <a:gd name="connsiteY8" fmla="*/ 907933 h 1885950"/>
                  <a:gd name="connsiteX9" fmla="*/ 0 w 1347721"/>
                  <a:gd name="connsiteY9" fmla="*/ 322887 h 1885950"/>
                  <a:gd name="connsiteX10" fmla="*/ 289100 w 1347721"/>
                  <a:gd name="connsiteY10" fmla="*/ 276311 h 1885950"/>
                  <a:gd name="connsiteX11" fmla="*/ 214372 w 1347721"/>
                  <a:gd name="connsiteY11" fmla="*/ 0 h 1885950"/>
                  <a:gd name="connsiteX0" fmla="*/ 214372 w 1347721"/>
                  <a:gd name="connsiteY0" fmla="*/ 0 h 1885950"/>
                  <a:gd name="connsiteX1" fmla="*/ 1025683 w 1347721"/>
                  <a:gd name="connsiteY1" fmla="*/ 686892 h 1885950"/>
                  <a:gd name="connsiteX2" fmla="*/ 1176397 w 1347721"/>
                  <a:gd name="connsiteY2" fmla="*/ 1495425 h 1885950"/>
                  <a:gd name="connsiteX3" fmla="*/ 1347721 w 1347721"/>
                  <a:gd name="connsiteY3" fmla="*/ 1501605 h 1885950"/>
                  <a:gd name="connsiteX4" fmla="*/ 890647 w 1347721"/>
                  <a:gd name="connsiteY4" fmla="*/ 1885950 h 1885950"/>
                  <a:gd name="connsiteX5" fmla="*/ 500874 w 1347721"/>
                  <a:gd name="connsiteY5" fmla="*/ 1467206 h 1885950"/>
                  <a:gd name="connsiteX6" fmla="*/ 500122 w 1347721"/>
                  <a:gd name="connsiteY6" fmla="*/ 1466850 h 1885950"/>
                  <a:gd name="connsiteX7" fmla="*/ 709673 w 1347721"/>
                  <a:gd name="connsiteY7" fmla="*/ 1466850 h 1885950"/>
                  <a:gd name="connsiteX8" fmla="*/ 565529 w 1347721"/>
                  <a:gd name="connsiteY8" fmla="*/ 907933 h 1885950"/>
                  <a:gd name="connsiteX9" fmla="*/ 0 w 1347721"/>
                  <a:gd name="connsiteY9" fmla="*/ 322887 h 1885950"/>
                  <a:gd name="connsiteX10" fmla="*/ 284843 w 1347721"/>
                  <a:gd name="connsiteY10" fmla="*/ 267479 h 1885950"/>
                  <a:gd name="connsiteX11" fmla="*/ 214372 w 1347721"/>
                  <a:gd name="connsiteY11" fmla="*/ 0 h 1885950"/>
                  <a:gd name="connsiteX0" fmla="*/ 235749 w 1347721"/>
                  <a:gd name="connsiteY0" fmla="*/ 0 h 1907982"/>
                  <a:gd name="connsiteX1" fmla="*/ 1025683 w 1347721"/>
                  <a:gd name="connsiteY1" fmla="*/ 708924 h 1907982"/>
                  <a:gd name="connsiteX2" fmla="*/ 1176397 w 1347721"/>
                  <a:gd name="connsiteY2" fmla="*/ 1517457 h 1907982"/>
                  <a:gd name="connsiteX3" fmla="*/ 1347721 w 1347721"/>
                  <a:gd name="connsiteY3" fmla="*/ 1523637 h 1907982"/>
                  <a:gd name="connsiteX4" fmla="*/ 890647 w 1347721"/>
                  <a:gd name="connsiteY4" fmla="*/ 1907982 h 1907982"/>
                  <a:gd name="connsiteX5" fmla="*/ 500874 w 1347721"/>
                  <a:gd name="connsiteY5" fmla="*/ 1489238 h 1907982"/>
                  <a:gd name="connsiteX6" fmla="*/ 500122 w 1347721"/>
                  <a:gd name="connsiteY6" fmla="*/ 1488882 h 1907982"/>
                  <a:gd name="connsiteX7" fmla="*/ 709673 w 1347721"/>
                  <a:gd name="connsiteY7" fmla="*/ 1488882 h 1907982"/>
                  <a:gd name="connsiteX8" fmla="*/ 565529 w 1347721"/>
                  <a:gd name="connsiteY8" fmla="*/ 929965 h 1907982"/>
                  <a:gd name="connsiteX9" fmla="*/ 0 w 1347721"/>
                  <a:gd name="connsiteY9" fmla="*/ 344919 h 1907982"/>
                  <a:gd name="connsiteX10" fmla="*/ 284843 w 1347721"/>
                  <a:gd name="connsiteY10" fmla="*/ 289511 h 1907982"/>
                  <a:gd name="connsiteX11" fmla="*/ 235749 w 1347721"/>
                  <a:gd name="connsiteY11" fmla="*/ 0 h 1907982"/>
                  <a:gd name="connsiteX0" fmla="*/ 235749 w 1347721"/>
                  <a:gd name="connsiteY0" fmla="*/ 0 h 1907982"/>
                  <a:gd name="connsiteX1" fmla="*/ 1025683 w 1347721"/>
                  <a:gd name="connsiteY1" fmla="*/ 708924 h 1907982"/>
                  <a:gd name="connsiteX2" fmla="*/ 1176397 w 1347721"/>
                  <a:gd name="connsiteY2" fmla="*/ 1517457 h 1907982"/>
                  <a:gd name="connsiteX3" fmla="*/ 1347721 w 1347721"/>
                  <a:gd name="connsiteY3" fmla="*/ 1523637 h 1907982"/>
                  <a:gd name="connsiteX4" fmla="*/ 890647 w 1347721"/>
                  <a:gd name="connsiteY4" fmla="*/ 1907982 h 1907982"/>
                  <a:gd name="connsiteX5" fmla="*/ 500874 w 1347721"/>
                  <a:gd name="connsiteY5" fmla="*/ 1489238 h 1907982"/>
                  <a:gd name="connsiteX6" fmla="*/ 500122 w 1347721"/>
                  <a:gd name="connsiteY6" fmla="*/ 1488882 h 1907982"/>
                  <a:gd name="connsiteX7" fmla="*/ 709673 w 1347721"/>
                  <a:gd name="connsiteY7" fmla="*/ 1488882 h 1907982"/>
                  <a:gd name="connsiteX8" fmla="*/ 565529 w 1347721"/>
                  <a:gd name="connsiteY8" fmla="*/ 929965 h 1907982"/>
                  <a:gd name="connsiteX9" fmla="*/ 0 w 1347721"/>
                  <a:gd name="connsiteY9" fmla="*/ 344919 h 1907982"/>
                  <a:gd name="connsiteX10" fmla="*/ 297660 w 1347721"/>
                  <a:gd name="connsiteY10" fmla="*/ 282911 h 1907982"/>
                  <a:gd name="connsiteX11" fmla="*/ 235749 w 1347721"/>
                  <a:gd name="connsiteY11" fmla="*/ 0 h 1907982"/>
                  <a:gd name="connsiteX0" fmla="*/ 235780 w 1347752"/>
                  <a:gd name="connsiteY0" fmla="*/ 0 h 1907982"/>
                  <a:gd name="connsiteX1" fmla="*/ 1025714 w 1347752"/>
                  <a:gd name="connsiteY1" fmla="*/ 708924 h 1907982"/>
                  <a:gd name="connsiteX2" fmla="*/ 1176428 w 1347752"/>
                  <a:gd name="connsiteY2" fmla="*/ 1517457 h 1907982"/>
                  <a:gd name="connsiteX3" fmla="*/ 1347752 w 1347752"/>
                  <a:gd name="connsiteY3" fmla="*/ 1523637 h 1907982"/>
                  <a:gd name="connsiteX4" fmla="*/ 890678 w 1347752"/>
                  <a:gd name="connsiteY4" fmla="*/ 1907982 h 1907982"/>
                  <a:gd name="connsiteX5" fmla="*/ 500905 w 1347752"/>
                  <a:gd name="connsiteY5" fmla="*/ 1489238 h 1907982"/>
                  <a:gd name="connsiteX6" fmla="*/ 500153 w 1347752"/>
                  <a:gd name="connsiteY6" fmla="*/ 1488882 h 1907982"/>
                  <a:gd name="connsiteX7" fmla="*/ 709704 w 1347752"/>
                  <a:gd name="connsiteY7" fmla="*/ 1488882 h 1907982"/>
                  <a:gd name="connsiteX8" fmla="*/ 565560 w 1347752"/>
                  <a:gd name="connsiteY8" fmla="*/ 929965 h 1907982"/>
                  <a:gd name="connsiteX9" fmla="*/ 0 w 1347752"/>
                  <a:gd name="connsiteY9" fmla="*/ 366985 h 1907982"/>
                  <a:gd name="connsiteX10" fmla="*/ 297691 w 1347752"/>
                  <a:gd name="connsiteY10" fmla="*/ 282911 h 1907982"/>
                  <a:gd name="connsiteX11" fmla="*/ 235780 w 1347752"/>
                  <a:gd name="connsiteY11" fmla="*/ 0 h 1907982"/>
                  <a:gd name="connsiteX0" fmla="*/ 246532 w 1347752"/>
                  <a:gd name="connsiteY0" fmla="*/ 0 h 1963128"/>
                  <a:gd name="connsiteX1" fmla="*/ 1025714 w 1347752"/>
                  <a:gd name="connsiteY1" fmla="*/ 764070 h 1963128"/>
                  <a:gd name="connsiteX2" fmla="*/ 1176428 w 1347752"/>
                  <a:gd name="connsiteY2" fmla="*/ 1572603 h 1963128"/>
                  <a:gd name="connsiteX3" fmla="*/ 1347752 w 1347752"/>
                  <a:gd name="connsiteY3" fmla="*/ 1578783 h 1963128"/>
                  <a:gd name="connsiteX4" fmla="*/ 890678 w 1347752"/>
                  <a:gd name="connsiteY4" fmla="*/ 1963128 h 1963128"/>
                  <a:gd name="connsiteX5" fmla="*/ 500905 w 1347752"/>
                  <a:gd name="connsiteY5" fmla="*/ 1544384 h 1963128"/>
                  <a:gd name="connsiteX6" fmla="*/ 500153 w 1347752"/>
                  <a:gd name="connsiteY6" fmla="*/ 1544028 h 1963128"/>
                  <a:gd name="connsiteX7" fmla="*/ 709704 w 1347752"/>
                  <a:gd name="connsiteY7" fmla="*/ 1544028 h 1963128"/>
                  <a:gd name="connsiteX8" fmla="*/ 565560 w 1347752"/>
                  <a:gd name="connsiteY8" fmla="*/ 985111 h 1963128"/>
                  <a:gd name="connsiteX9" fmla="*/ 0 w 1347752"/>
                  <a:gd name="connsiteY9" fmla="*/ 422131 h 1963128"/>
                  <a:gd name="connsiteX10" fmla="*/ 297691 w 1347752"/>
                  <a:gd name="connsiteY10" fmla="*/ 338057 h 1963128"/>
                  <a:gd name="connsiteX11" fmla="*/ 246532 w 1347752"/>
                  <a:gd name="connsiteY11" fmla="*/ 0 h 1963128"/>
                  <a:gd name="connsiteX0" fmla="*/ 246532 w 1347752"/>
                  <a:gd name="connsiteY0" fmla="*/ 0 h 1963128"/>
                  <a:gd name="connsiteX1" fmla="*/ 1025714 w 1347752"/>
                  <a:gd name="connsiteY1" fmla="*/ 764070 h 1963128"/>
                  <a:gd name="connsiteX2" fmla="*/ 1176428 w 1347752"/>
                  <a:gd name="connsiteY2" fmla="*/ 1572603 h 1963128"/>
                  <a:gd name="connsiteX3" fmla="*/ 1347752 w 1347752"/>
                  <a:gd name="connsiteY3" fmla="*/ 1578783 h 1963128"/>
                  <a:gd name="connsiteX4" fmla="*/ 890678 w 1347752"/>
                  <a:gd name="connsiteY4" fmla="*/ 1963128 h 1963128"/>
                  <a:gd name="connsiteX5" fmla="*/ 500905 w 1347752"/>
                  <a:gd name="connsiteY5" fmla="*/ 1544384 h 1963128"/>
                  <a:gd name="connsiteX6" fmla="*/ 500153 w 1347752"/>
                  <a:gd name="connsiteY6" fmla="*/ 1544028 h 1963128"/>
                  <a:gd name="connsiteX7" fmla="*/ 709704 w 1347752"/>
                  <a:gd name="connsiteY7" fmla="*/ 1544028 h 1963128"/>
                  <a:gd name="connsiteX8" fmla="*/ 565560 w 1347752"/>
                  <a:gd name="connsiteY8" fmla="*/ 985111 h 1963128"/>
                  <a:gd name="connsiteX9" fmla="*/ 0 w 1347752"/>
                  <a:gd name="connsiteY9" fmla="*/ 422131 h 1963128"/>
                  <a:gd name="connsiteX10" fmla="*/ 327583 w 1347752"/>
                  <a:gd name="connsiteY10" fmla="*/ 333691 h 1963128"/>
                  <a:gd name="connsiteX11" fmla="*/ 246532 w 1347752"/>
                  <a:gd name="connsiteY11" fmla="*/ 0 h 1963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7752" h="1963128">
                    <a:moveTo>
                      <a:pt x="246532" y="0"/>
                    </a:moveTo>
                    <a:cubicBezTo>
                      <a:pt x="376707" y="48419"/>
                      <a:pt x="853466" y="386547"/>
                      <a:pt x="1025714" y="764070"/>
                    </a:cubicBezTo>
                    <a:cubicBezTo>
                      <a:pt x="1181345" y="1083148"/>
                      <a:pt x="1181984" y="1409884"/>
                      <a:pt x="1176428" y="1572603"/>
                    </a:cubicBezTo>
                    <a:lnTo>
                      <a:pt x="1347752" y="1578783"/>
                    </a:lnTo>
                    <a:lnTo>
                      <a:pt x="890678" y="1963128"/>
                    </a:lnTo>
                    <a:lnTo>
                      <a:pt x="500905" y="1544384"/>
                    </a:lnTo>
                    <a:lnTo>
                      <a:pt x="500153" y="1544028"/>
                    </a:lnTo>
                    <a:lnTo>
                      <a:pt x="709704" y="1544028"/>
                    </a:lnTo>
                    <a:cubicBezTo>
                      <a:pt x="714039" y="1490191"/>
                      <a:pt x="721090" y="1290207"/>
                      <a:pt x="565560" y="985111"/>
                    </a:cubicBezTo>
                    <a:cubicBezTo>
                      <a:pt x="401014" y="623451"/>
                      <a:pt x="20638" y="447532"/>
                      <a:pt x="0" y="422131"/>
                    </a:cubicBezTo>
                    <a:lnTo>
                      <a:pt x="327583" y="333691"/>
                    </a:lnTo>
                    <a:lnTo>
                      <a:pt x="246532" y="0"/>
                    </a:lnTo>
                    <a:close/>
                  </a:path>
                </a:pathLst>
              </a:custGeom>
              <a:solidFill>
                <a:srgbClr val="425563"/>
              </a:solidFill>
              <a:ln w="25400" cap="flat" cmpd="sng" algn="ctr">
                <a:noFill/>
                <a:prstDash val="solid"/>
              </a:ln>
              <a:effectLst/>
            </p:spPr>
            <p:txBody>
              <a:bodyPr lIns="121920" tIns="60960" rtlCol="0" anchor="ctr"/>
              <a:lstStyle/>
              <a:p>
                <a:pPr algn="ctr" defTabSz="1219068">
                  <a:lnSpc>
                    <a:spcPct val="85000"/>
                  </a:lnSpc>
                  <a:defRPr/>
                </a:pPr>
                <a:endParaRPr lang="en-US" sz="1600" kern="0" dirty="0">
                  <a:solidFill>
                    <a:srgbClr val="FFFFFF"/>
                  </a:solidFill>
                </a:endParaRPr>
              </a:p>
            </p:txBody>
          </p:sp>
          <p:sp>
            <p:nvSpPr>
              <p:cNvPr id="103" name="Freeform 102"/>
              <p:cNvSpPr/>
              <p:nvPr/>
            </p:nvSpPr>
            <p:spPr>
              <a:xfrm rot="20500784">
                <a:off x="4564506" y="1014752"/>
                <a:ext cx="637662" cy="856817"/>
              </a:xfrm>
              <a:custGeom>
                <a:avLst/>
                <a:gdLst>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66763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76263 w 1385888"/>
                  <a:gd name="connsiteY7" fmla="*/ 819150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57213 w 1385888"/>
                  <a:gd name="connsiteY7" fmla="*/ 814387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81025 w 1385888"/>
                  <a:gd name="connsiteY5" fmla="*/ 1471612 h 1885950"/>
                  <a:gd name="connsiteX6" fmla="*/ 752476 w 1385888"/>
                  <a:gd name="connsiteY6" fmla="*/ 1466850 h 1885950"/>
                  <a:gd name="connsiteX7" fmla="*/ 557213 w 1385888"/>
                  <a:gd name="connsiteY7" fmla="*/ 814387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09550 w 1385888"/>
                  <a:gd name="connsiteY9" fmla="*/ 276225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1989 w 1385888"/>
                  <a:gd name="connsiteY9" fmla="*/ 252547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990600 w 1385888"/>
                  <a:gd name="connsiteY1" fmla="*/ 566737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557213 w 1385888"/>
                  <a:gd name="connsiteY7" fmla="*/ 814387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608332 w 1385888"/>
                  <a:gd name="connsiteY7" fmla="*/ 907933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608332 w 1385888"/>
                  <a:gd name="connsiteY7" fmla="*/ 907933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608332 w 1385888"/>
                  <a:gd name="connsiteY7" fmla="*/ 907933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608332 w 1385888"/>
                  <a:gd name="connsiteY7" fmla="*/ 907933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85888"/>
                  <a:gd name="connsiteY0" fmla="*/ 0 h 1885950"/>
                  <a:gd name="connsiteX1" fmla="*/ 1068486 w 1385888"/>
                  <a:gd name="connsiteY1" fmla="*/ 686892 h 1885950"/>
                  <a:gd name="connsiteX2" fmla="*/ 1219200 w 1385888"/>
                  <a:gd name="connsiteY2" fmla="*/ 1495425 h 1885950"/>
                  <a:gd name="connsiteX3" fmla="*/ 1385888 w 1385888"/>
                  <a:gd name="connsiteY3" fmla="*/ 1514475 h 1885950"/>
                  <a:gd name="connsiteX4" fmla="*/ 933450 w 1385888"/>
                  <a:gd name="connsiteY4" fmla="*/ 1885950 h 1885950"/>
                  <a:gd name="connsiteX5" fmla="*/ 542925 w 1385888"/>
                  <a:gd name="connsiteY5" fmla="*/ 1466850 h 1885950"/>
                  <a:gd name="connsiteX6" fmla="*/ 752476 w 1385888"/>
                  <a:gd name="connsiteY6" fmla="*/ 1466850 h 1885950"/>
                  <a:gd name="connsiteX7" fmla="*/ 608332 w 1385888"/>
                  <a:gd name="connsiteY7" fmla="*/ 907933 h 1885950"/>
                  <a:gd name="connsiteX8" fmla="*/ 0 w 1385888"/>
                  <a:gd name="connsiteY8" fmla="*/ 400050 h 1885950"/>
                  <a:gd name="connsiteX9" fmla="*/ 299883 w 1385888"/>
                  <a:gd name="connsiteY9" fmla="*/ 276263 h 1885950"/>
                  <a:gd name="connsiteX10" fmla="*/ 257175 w 1385888"/>
                  <a:gd name="connsiteY10" fmla="*/ 0 h 1885950"/>
                  <a:gd name="connsiteX0" fmla="*/ 257175 w 1390524"/>
                  <a:gd name="connsiteY0" fmla="*/ 0 h 1885950"/>
                  <a:gd name="connsiteX1" fmla="*/ 1068486 w 1390524"/>
                  <a:gd name="connsiteY1" fmla="*/ 686892 h 1885950"/>
                  <a:gd name="connsiteX2" fmla="*/ 1219200 w 1390524"/>
                  <a:gd name="connsiteY2" fmla="*/ 1495425 h 1885950"/>
                  <a:gd name="connsiteX3" fmla="*/ 1390524 w 1390524"/>
                  <a:gd name="connsiteY3" fmla="*/ 1501605 h 1885950"/>
                  <a:gd name="connsiteX4" fmla="*/ 933450 w 1390524"/>
                  <a:gd name="connsiteY4" fmla="*/ 1885950 h 1885950"/>
                  <a:gd name="connsiteX5" fmla="*/ 542925 w 1390524"/>
                  <a:gd name="connsiteY5" fmla="*/ 1466850 h 1885950"/>
                  <a:gd name="connsiteX6" fmla="*/ 752476 w 1390524"/>
                  <a:gd name="connsiteY6" fmla="*/ 1466850 h 1885950"/>
                  <a:gd name="connsiteX7" fmla="*/ 608332 w 1390524"/>
                  <a:gd name="connsiteY7" fmla="*/ 907933 h 1885950"/>
                  <a:gd name="connsiteX8" fmla="*/ 0 w 1390524"/>
                  <a:gd name="connsiteY8" fmla="*/ 400050 h 1885950"/>
                  <a:gd name="connsiteX9" fmla="*/ 299883 w 1390524"/>
                  <a:gd name="connsiteY9" fmla="*/ 276263 h 1885950"/>
                  <a:gd name="connsiteX10" fmla="*/ 257175 w 1390524"/>
                  <a:gd name="connsiteY10" fmla="*/ 0 h 1885950"/>
                  <a:gd name="connsiteX0" fmla="*/ 257175 w 1390524"/>
                  <a:gd name="connsiteY0" fmla="*/ 0 h 1885950"/>
                  <a:gd name="connsiteX1" fmla="*/ 1068486 w 1390524"/>
                  <a:gd name="connsiteY1" fmla="*/ 686892 h 1885950"/>
                  <a:gd name="connsiteX2" fmla="*/ 1219200 w 1390524"/>
                  <a:gd name="connsiteY2" fmla="*/ 1495425 h 1885950"/>
                  <a:gd name="connsiteX3" fmla="*/ 1390524 w 1390524"/>
                  <a:gd name="connsiteY3" fmla="*/ 1501605 h 1885950"/>
                  <a:gd name="connsiteX4" fmla="*/ 933450 w 1390524"/>
                  <a:gd name="connsiteY4" fmla="*/ 1885950 h 1885950"/>
                  <a:gd name="connsiteX5" fmla="*/ 543677 w 1390524"/>
                  <a:gd name="connsiteY5" fmla="*/ 1467206 h 1885950"/>
                  <a:gd name="connsiteX6" fmla="*/ 542925 w 1390524"/>
                  <a:gd name="connsiteY6" fmla="*/ 1466850 h 1885950"/>
                  <a:gd name="connsiteX7" fmla="*/ 752476 w 1390524"/>
                  <a:gd name="connsiteY7" fmla="*/ 1466850 h 1885950"/>
                  <a:gd name="connsiteX8" fmla="*/ 608332 w 1390524"/>
                  <a:gd name="connsiteY8" fmla="*/ 907933 h 1885950"/>
                  <a:gd name="connsiteX9" fmla="*/ 0 w 1390524"/>
                  <a:gd name="connsiteY9" fmla="*/ 400050 h 1885950"/>
                  <a:gd name="connsiteX10" fmla="*/ 299883 w 1390524"/>
                  <a:gd name="connsiteY10" fmla="*/ 276263 h 1885950"/>
                  <a:gd name="connsiteX11" fmla="*/ 257175 w 1390524"/>
                  <a:gd name="connsiteY11" fmla="*/ 0 h 1885950"/>
                  <a:gd name="connsiteX0" fmla="*/ 257175 w 1390524"/>
                  <a:gd name="connsiteY0" fmla="*/ 0 h 1885950"/>
                  <a:gd name="connsiteX1" fmla="*/ 1068486 w 1390524"/>
                  <a:gd name="connsiteY1" fmla="*/ 686892 h 1885950"/>
                  <a:gd name="connsiteX2" fmla="*/ 1219200 w 1390524"/>
                  <a:gd name="connsiteY2" fmla="*/ 1495425 h 1885950"/>
                  <a:gd name="connsiteX3" fmla="*/ 1390524 w 1390524"/>
                  <a:gd name="connsiteY3" fmla="*/ 1501605 h 1885950"/>
                  <a:gd name="connsiteX4" fmla="*/ 933450 w 1390524"/>
                  <a:gd name="connsiteY4" fmla="*/ 1885950 h 1885950"/>
                  <a:gd name="connsiteX5" fmla="*/ 543677 w 1390524"/>
                  <a:gd name="connsiteY5" fmla="*/ 1467206 h 1885950"/>
                  <a:gd name="connsiteX6" fmla="*/ 542925 w 1390524"/>
                  <a:gd name="connsiteY6" fmla="*/ 1466850 h 1885950"/>
                  <a:gd name="connsiteX7" fmla="*/ 752476 w 1390524"/>
                  <a:gd name="connsiteY7" fmla="*/ 1466850 h 1885950"/>
                  <a:gd name="connsiteX8" fmla="*/ 608332 w 1390524"/>
                  <a:gd name="connsiteY8" fmla="*/ 907933 h 1885950"/>
                  <a:gd name="connsiteX9" fmla="*/ 0 w 1390524"/>
                  <a:gd name="connsiteY9" fmla="*/ 400050 h 1885950"/>
                  <a:gd name="connsiteX10" fmla="*/ 299883 w 1390524"/>
                  <a:gd name="connsiteY10" fmla="*/ 276263 h 1885950"/>
                  <a:gd name="connsiteX11" fmla="*/ 257175 w 1390524"/>
                  <a:gd name="connsiteY11" fmla="*/ 0 h 1885950"/>
                  <a:gd name="connsiteX0" fmla="*/ 257175 w 1390524"/>
                  <a:gd name="connsiteY0" fmla="*/ 0 h 1885950"/>
                  <a:gd name="connsiteX1" fmla="*/ 1068486 w 1390524"/>
                  <a:gd name="connsiteY1" fmla="*/ 686892 h 1885950"/>
                  <a:gd name="connsiteX2" fmla="*/ 1219200 w 1390524"/>
                  <a:gd name="connsiteY2" fmla="*/ 1495425 h 1885950"/>
                  <a:gd name="connsiteX3" fmla="*/ 1390524 w 1390524"/>
                  <a:gd name="connsiteY3" fmla="*/ 1501605 h 1885950"/>
                  <a:gd name="connsiteX4" fmla="*/ 933450 w 1390524"/>
                  <a:gd name="connsiteY4" fmla="*/ 1885950 h 1885950"/>
                  <a:gd name="connsiteX5" fmla="*/ 543677 w 1390524"/>
                  <a:gd name="connsiteY5" fmla="*/ 1467206 h 1885950"/>
                  <a:gd name="connsiteX6" fmla="*/ 542925 w 1390524"/>
                  <a:gd name="connsiteY6" fmla="*/ 1466850 h 1885950"/>
                  <a:gd name="connsiteX7" fmla="*/ 752476 w 1390524"/>
                  <a:gd name="connsiteY7" fmla="*/ 1466850 h 1885950"/>
                  <a:gd name="connsiteX8" fmla="*/ 608332 w 1390524"/>
                  <a:gd name="connsiteY8" fmla="*/ 907933 h 1885950"/>
                  <a:gd name="connsiteX9" fmla="*/ 0 w 1390524"/>
                  <a:gd name="connsiteY9" fmla="*/ 400050 h 1885950"/>
                  <a:gd name="connsiteX10" fmla="*/ 299883 w 1390524"/>
                  <a:gd name="connsiteY10" fmla="*/ 276263 h 1885950"/>
                  <a:gd name="connsiteX11" fmla="*/ 257175 w 1390524"/>
                  <a:gd name="connsiteY11" fmla="*/ 0 h 1885950"/>
                  <a:gd name="connsiteX0" fmla="*/ 214372 w 1347721"/>
                  <a:gd name="connsiteY0" fmla="*/ 0 h 1885950"/>
                  <a:gd name="connsiteX1" fmla="*/ 1025683 w 1347721"/>
                  <a:gd name="connsiteY1" fmla="*/ 686892 h 1885950"/>
                  <a:gd name="connsiteX2" fmla="*/ 1176397 w 1347721"/>
                  <a:gd name="connsiteY2" fmla="*/ 1495425 h 1885950"/>
                  <a:gd name="connsiteX3" fmla="*/ 1347721 w 1347721"/>
                  <a:gd name="connsiteY3" fmla="*/ 1501605 h 1885950"/>
                  <a:gd name="connsiteX4" fmla="*/ 890647 w 1347721"/>
                  <a:gd name="connsiteY4" fmla="*/ 1885950 h 1885950"/>
                  <a:gd name="connsiteX5" fmla="*/ 500874 w 1347721"/>
                  <a:gd name="connsiteY5" fmla="*/ 1467206 h 1885950"/>
                  <a:gd name="connsiteX6" fmla="*/ 500122 w 1347721"/>
                  <a:gd name="connsiteY6" fmla="*/ 1466850 h 1885950"/>
                  <a:gd name="connsiteX7" fmla="*/ 709673 w 1347721"/>
                  <a:gd name="connsiteY7" fmla="*/ 1466850 h 1885950"/>
                  <a:gd name="connsiteX8" fmla="*/ 565529 w 1347721"/>
                  <a:gd name="connsiteY8" fmla="*/ 907933 h 1885950"/>
                  <a:gd name="connsiteX9" fmla="*/ 0 w 1347721"/>
                  <a:gd name="connsiteY9" fmla="*/ 322887 h 1885950"/>
                  <a:gd name="connsiteX10" fmla="*/ 257080 w 1347721"/>
                  <a:gd name="connsiteY10" fmla="*/ 276263 h 1885950"/>
                  <a:gd name="connsiteX11" fmla="*/ 214372 w 1347721"/>
                  <a:gd name="connsiteY11" fmla="*/ 0 h 1885950"/>
                  <a:gd name="connsiteX0" fmla="*/ 214372 w 1347721"/>
                  <a:gd name="connsiteY0" fmla="*/ 0 h 1885950"/>
                  <a:gd name="connsiteX1" fmla="*/ 1025683 w 1347721"/>
                  <a:gd name="connsiteY1" fmla="*/ 686892 h 1885950"/>
                  <a:gd name="connsiteX2" fmla="*/ 1176397 w 1347721"/>
                  <a:gd name="connsiteY2" fmla="*/ 1495425 h 1885950"/>
                  <a:gd name="connsiteX3" fmla="*/ 1347721 w 1347721"/>
                  <a:gd name="connsiteY3" fmla="*/ 1501605 h 1885950"/>
                  <a:gd name="connsiteX4" fmla="*/ 890647 w 1347721"/>
                  <a:gd name="connsiteY4" fmla="*/ 1885950 h 1885950"/>
                  <a:gd name="connsiteX5" fmla="*/ 500874 w 1347721"/>
                  <a:gd name="connsiteY5" fmla="*/ 1467206 h 1885950"/>
                  <a:gd name="connsiteX6" fmla="*/ 500122 w 1347721"/>
                  <a:gd name="connsiteY6" fmla="*/ 1466850 h 1885950"/>
                  <a:gd name="connsiteX7" fmla="*/ 709673 w 1347721"/>
                  <a:gd name="connsiteY7" fmla="*/ 1466850 h 1885950"/>
                  <a:gd name="connsiteX8" fmla="*/ 565529 w 1347721"/>
                  <a:gd name="connsiteY8" fmla="*/ 907933 h 1885950"/>
                  <a:gd name="connsiteX9" fmla="*/ 0 w 1347721"/>
                  <a:gd name="connsiteY9" fmla="*/ 322887 h 1885950"/>
                  <a:gd name="connsiteX10" fmla="*/ 289146 w 1347721"/>
                  <a:gd name="connsiteY10" fmla="*/ 243213 h 1885950"/>
                  <a:gd name="connsiteX11" fmla="*/ 214372 w 1347721"/>
                  <a:gd name="connsiteY11" fmla="*/ 0 h 1885950"/>
                  <a:gd name="connsiteX0" fmla="*/ 214372 w 1347721"/>
                  <a:gd name="connsiteY0" fmla="*/ 0 h 1885950"/>
                  <a:gd name="connsiteX1" fmla="*/ 1025683 w 1347721"/>
                  <a:gd name="connsiteY1" fmla="*/ 686892 h 1885950"/>
                  <a:gd name="connsiteX2" fmla="*/ 1176397 w 1347721"/>
                  <a:gd name="connsiteY2" fmla="*/ 1495425 h 1885950"/>
                  <a:gd name="connsiteX3" fmla="*/ 1347721 w 1347721"/>
                  <a:gd name="connsiteY3" fmla="*/ 1501605 h 1885950"/>
                  <a:gd name="connsiteX4" fmla="*/ 890647 w 1347721"/>
                  <a:gd name="connsiteY4" fmla="*/ 1885950 h 1885950"/>
                  <a:gd name="connsiteX5" fmla="*/ 500874 w 1347721"/>
                  <a:gd name="connsiteY5" fmla="*/ 1467206 h 1885950"/>
                  <a:gd name="connsiteX6" fmla="*/ 500122 w 1347721"/>
                  <a:gd name="connsiteY6" fmla="*/ 1466850 h 1885950"/>
                  <a:gd name="connsiteX7" fmla="*/ 709673 w 1347721"/>
                  <a:gd name="connsiteY7" fmla="*/ 1466850 h 1885950"/>
                  <a:gd name="connsiteX8" fmla="*/ 565529 w 1347721"/>
                  <a:gd name="connsiteY8" fmla="*/ 907933 h 1885950"/>
                  <a:gd name="connsiteX9" fmla="*/ 0 w 1347721"/>
                  <a:gd name="connsiteY9" fmla="*/ 322887 h 1885950"/>
                  <a:gd name="connsiteX10" fmla="*/ 289100 w 1347721"/>
                  <a:gd name="connsiteY10" fmla="*/ 276311 h 1885950"/>
                  <a:gd name="connsiteX11" fmla="*/ 214372 w 1347721"/>
                  <a:gd name="connsiteY11" fmla="*/ 0 h 1885950"/>
                  <a:gd name="connsiteX0" fmla="*/ 214372 w 1347721"/>
                  <a:gd name="connsiteY0" fmla="*/ 0 h 1885950"/>
                  <a:gd name="connsiteX1" fmla="*/ 1025683 w 1347721"/>
                  <a:gd name="connsiteY1" fmla="*/ 686892 h 1885950"/>
                  <a:gd name="connsiteX2" fmla="*/ 1176397 w 1347721"/>
                  <a:gd name="connsiteY2" fmla="*/ 1495425 h 1885950"/>
                  <a:gd name="connsiteX3" fmla="*/ 1347721 w 1347721"/>
                  <a:gd name="connsiteY3" fmla="*/ 1501605 h 1885950"/>
                  <a:gd name="connsiteX4" fmla="*/ 890647 w 1347721"/>
                  <a:gd name="connsiteY4" fmla="*/ 1885950 h 1885950"/>
                  <a:gd name="connsiteX5" fmla="*/ 500874 w 1347721"/>
                  <a:gd name="connsiteY5" fmla="*/ 1467206 h 1885950"/>
                  <a:gd name="connsiteX6" fmla="*/ 500122 w 1347721"/>
                  <a:gd name="connsiteY6" fmla="*/ 1466850 h 1885950"/>
                  <a:gd name="connsiteX7" fmla="*/ 709673 w 1347721"/>
                  <a:gd name="connsiteY7" fmla="*/ 1466850 h 1885950"/>
                  <a:gd name="connsiteX8" fmla="*/ 565529 w 1347721"/>
                  <a:gd name="connsiteY8" fmla="*/ 907933 h 1885950"/>
                  <a:gd name="connsiteX9" fmla="*/ 0 w 1347721"/>
                  <a:gd name="connsiteY9" fmla="*/ 322887 h 1885950"/>
                  <a:gd name="connsiteX10" fmla="*/ 284843 w 1347721"/>
                  <a:gd name="connsiteY10" fmla="*/ 267479 h 1885950"/>
                  <a:gd name="connsiteX11" fmla="*/ 214372 w 1347721"/>
                  <a:gd name="connsiteY11" fmla="*/ 0 h 1885950"/>
                  <a:gd name="connsiteX0" fmla="*/ 235749 w 1347721"/>
                  <a:gd name="connsiteY0" fmla="*/ 0 h 1907982"/>
                  <a:gd name="connsiteX1" fmla="*/ 1025683 w 1347721"/>
                  <a:gd name="connsiteY1" fmla="*/ 708924 h 1907982"/>
                  <a:gd name="connsiteX2" fmla="*/ 1176397 w 1347721"/>
                  <a:gd name="connsiteY2" fmla="*/ 1517457 h 1907982"/>
                  <a:gd name="connsiteX3" fmla="*/ 1347721 w 1347721"/>
                  <a:gd name="connsiteY3" fmla="*/ 1523637 h 1907982"/>
                  <a:gd name="connsiteX4" fmla="*/ 890647 w 1347721"/>
                  <a:gd name="connsiteY4" fmla="*/ 1907982 h 1907982"/>
                  <a:gd name="connsiteX5" fmla="*/ 500874 w 1347721"/>
                  <a:gd name="connsiteY5" fmla="*/ 1489238 h 1907982"/>
                  <a:gd name="connsiteX6" fmla="*/ 500122 w 1347721"/>
                  <a:gd name="connsiteY6" fmla="*/ 1488882 h 1907982"/>
                  <a:gd name="connsiteX7" fmla="*/ 709673 w 1347721"/>
                  <a:gd name="connsiteY7" fmla="*/ 1488882 h 1907982"/>
                  <a:gd name="connsiteX8" fmla="*/ 565529 w 1347721"/>
                  <a:gd name="connsiteY8" fmla="*/ 929965 h 1907982"/>
                  <a:gd name="connsiteX9" fmla="*/ 0 w 1347721"/>
                  <a:gd name="connsiteY9" fmla="*/ 344919 h 1907982"/>
                  <a:gd name="connsiteX10" fmla="*/ 284843 w 1347721"/>
                  <a:gd name="connsiteY10" fmla="*/ 289511 h 1907982"/>
                  <a:gd name="connsiteX11" fmla="*/ 235749 w 1347721"/>
                  <a:gd name="connsiteY11" fmla="*/ 0 h 1907982"/>
                  <a:gd name="connsiteX0" fmla="*/ 235749 w 1347721"/>
                  <a:gd name="connsiteY0" fmla="*/ 0 h 1907982"/>
                  <a:gd name="connsiteX1" fmla="*/ 1025683 w 1347721"/>
                  <a:gd name="connsiteY1" fmla="*/ 708924 h 1907982"/>
                  <a:gd name="connsiteX2" fmla="*/ 1176397 w 1347721"/>
                  <a:gd name="connsiteY2" fmla="*/ 1517457 h 1907982"/>
                  <a:gd name="connsiteX3" fmla="*/ 1347721 w 1347721"/>
                  <a:gd name="connsiteY3" fmla="*/ 1523637 h 1907982"/>
                  <a:gd name="connsiteX4" fmla="*/ 890647 w 1347721"/>
                  <a:gd name="connsiteY4" fmla="*/ 1907982 h 1907982"/>
                  <a:gd name="connsiteX5" fmla="*/ 500874 w 1347721"/>
                  <a:gd name="connsiteY5" fmla="*/ 1489238 h 1907982"/>
                  <a:gd name="connsiteX6" fmla="*/ 500122 w 1347721"/>
                  <a:gd name="connsiteY6" fmla="*/ 1488882 h 1907982"/>
                  <a:gd name="connsiteX7" fmla="*/ 709673 w 1347721"/>
                  <a:gd name="connsiteY7" fmla="*/ 1488882 h 1907982"/>
                  <a:gd name="connsiteX8" fmla="*/ 565529 w 1347721"/>
                  <a:gd name="connsiteY8" fmla="*/ 929965 h 1907982"/>
                  <a:gd name="connsiteX9" fmla="*/ 0 w 1347721"/>
                  <a:gd name="connsiteY9" fmla="*/ 344919 h 1907982"/>
                  <a:gd name="connsiteX10" fmla="*/ 297660 w 1347721"/>
                  <a:gd name="connsiteY10" fmla="*/ 282911 h 1907982"/>
                  <a:gd name="connsiteX11" fmla="*/ 235749 w 1347721"/>
                  <a:gd name="connsiteY11" fmla="*/ 0 h 1907982"/>
                  <a:gd name="connsiteX0" fmla="*/ 235780 w 1347752"/>
                  <a:gd name="connsiteY0" fmla="*/ 0 h 1907982"/>
                  <a:gd name="connsiteX1" fmla="*/ 1025714 w 1347752"/>
                  <a:gd name="connsiteY1" fmla="*/ 708924 h 1907982"/>
                  <a:gd name="connsiteX2" fmla="*/ 1176428 w 1347752"/>
                  <a:gd name="connsiteY2" fmla="*/ 1517457 h 1907982"/>
                  <a:gd name="connsiteX3" fmla="*/ 1347752 w 1347752"/>
                  <a:gd name="connsiteY3" fmla="*/ 1523637 h 1907982"/>
                  <a:gd name="connsiteX4" fmla="*/ 890678 w 1347752"/>
                  <a:gd name="connsiteY4" fmla="*/ 1907982 h 1907982"/>
                  <a:gd name="connsiteX5" fmla="*/ 500905 w 1347752"/>
                  <a:gd name="connsiteY5" fmla="*/ 1489238 h 1907982"/>
                  <a:gd name="connsiteX6" fmla="*/ 500153 w 1347752"/>
                  <a:gd name="connsiteY6" fmla="*/ 1488882 h 1907982"/>
                  <a:gd name="connsiteX7" fmla="*/ 709704 w 1347752"/>
                  <a:gd name="connsiteY7" fmla="*/ 1488882 h 1907982"/>
                  <a:gd name="connsiteX8" fmla="*/ 565560 w 1347752"/>
                  <a:gd name="connsiteY8" fmla="*/ 929965 h 1907982"/>
                  <a:gd name="connsiteX9" fmla="*/ 0 w 1347752"/>
                  <a:gd name="connsiteY9" fmla="*/ 366985 h 1907982"/>
                  <a:gd name="connsiteX10" fmla="*/ 297691 w 1347752"/>
                  <a:gd name="connsiteY10" fmla="*/ 282911 h 1907982"/>
                  <a:gd name="connsiteX11" fmla="*/ 235780 w 1347752"/>
                  <a:gd name="connsiteY11" fmla="*/ 0 h 1907982"/>
                  <a:gd name="connsiteX0" fmla="*/ 246532 w 1347752"/>
                  <a:gd name="connsiteY0" fmla="*/ 0 h 1963128"/>
                  <a:gd name="connsiteX1" fmla="*/ 1025714 w 1347752"/>
                  <a:gd name="connsiteY1" fmla="*/ 764070 h 1963128"/>
                  <a:gd name="connsiteX2" fmla="*/ 1176428 w 1347752"/>
                  <a:gd name="connsiteY2" fmla="*/ 1572603 h 1963128"/>
                  <a:gd name="connsiteX3" fmla="*/ 1347752 w 1347752"/>
                  <a:gd name="connsiteY3" fmla="*/ 1578783 h 1963128"/>
                  <a:gd name="connsiteX4" fmla="*/ 890678 w 1347752"/>
                  <a:gd name="connsiteY4" fmla="*/ 1963128 h 1963128"/>
                  <a:gd name="connsiteX5" fmla="*/ 500905 w 1347752"/>
                  <a:gd name="connsiteY5" fmla="*/ 1544384 h 1963128"/>
                  <a:gd name="connsiteX6" fmla="*/ 500153 w 1347752"/>
                  <a:gd name="connsiteY6" fmla="*/ 1544028 h 1963128"/>
                  <a:gd name="connsiteX7" fmla="*/ 709704 w 1347752"/>
                  <a:gd name="connsiteY7" fmla="*/ 1544028 h 1963128"/>
                  <a:gd name="connsiteX8" fmla="*/ 565560 w 1347752"/>
                  <a:gd name="connsiteY8" fmla="*/ 985111 h 1963128"/>
                  <a:gd name="connsiteX9" fmla="*/ 0 w 1347752"/>
                  <a:gd name="connsiteY9" fmla="*/ 422131 h 1963128"/>
                  <a:gd name="connsiteX10" fmla="*/ 297691 w 1347752"/>
                  <a:gd name="connsiteY10" fmla="*/ 338057 h 1963128"/>
                  <a:gd name="connsiteX11" fmla="*/ 246532 w 1347752"/>
                  <a:gd name="connsiteY11" fmla="*/ 0 h 1963128"/>
                  <a:gd name="connsiteX0" fmla="*/ 246532 w 1347752"/>
                  <a:gd name="connsiteY0" fmla="*/ 0 h 1963128"/>
                  <a:gd name="connsiteX1" fmla="*/ 1025714 w 1347752"/>
                  <a:gd name="connsiteY1" fmla="*/ 764070 h 1963128"/>
                  <a:gd name="connsiteX2" fmla="*/ 1176428 w 1347752"/>
                  <a:gd name="connsiteY2" fmla="*/ 1572603 h 1963128"/>
                  <a:gd name="connsiteX3" fmla="*/ 1347752 w 1347752"/>
                  <a:gd name="connsiteY3" fmla="*/ 1578783 h 1963128"/>
                  <a:gd name="connsiteX4" fmla="*/ 890678 w 1347752"/>
                  <a:gd name="connsiteY4" fmla="*/ 1963128 h 1963128"/>
                  <a:gd name="connsiteX5" fmla="*/ 500905 w 1347752"/>
                  <a:gd name="connsiteY5" fmla="*/ 1544384 h 1963128"/>
                  <a:gd name="connsiteX6" fmla="*/ 500153 w 1347752"/>
                  <a:gd name="connsiteY6" fmla="*/ 1544028 h 1963128"/>
                  <a:gd name="connsiteX7" fmla="*/ 709704 w 1347752"/>
                  <a:gd name="connsiteY7" fmla="*/ 1544028 h 1963128"/>
                  <a:gd name="connsiteX8" fmla="*/ 565560 w 1347752"/>
                  <a:gd name="connsiteY8" fmla="*/ 985111 h 1963128"/>
                  <a:gd name="connsiteX9" fmla="*/ 0 w 1347752"/>
                  <a:gd name="connsiteY9" fmla="*/ 422131 h 1963128"/>
                  <a:gd name="connsiteX10" fmla="*/ 327583 w 1347752"/>
                  <a:gd name="connsiteY10" fmla="*/ 333691 h 1963128"/>
                  <a:gd name="connsiteX11" fmla="*/ 246532 w 1347752"/>
                  <a:gd name="connsiteY11" fmla="*/ 0 h 1963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7752" h="1963128">
                    <a:moveTo>
                      <a:pt x="246532" y="0"/>
                    </a:moveTo>
                    <a:cubicBezTo>
                      <a:pt x="376707" y="48419"/>
                      <a:pt x="853466" y="386547"/>
                      <a:pt x="1025714" y="764070"/>
                    </a:cubicBezTo>
                    <a:cubicBezTo>
                      <a:pt x="1181345" y="1083148"/>
                      <a:pt x="1181984" y="1409884"/>
                      <a:pt x="1176428" y="1572603"/>
                    </a:cubicBezTo>
                    <a:lnTo>
                      <a:pt x="1347752" y="1578783"/>
                    </a:lnTo>
                    <a:lnTo>
                      <a:pt x="890678" y="1963128"/>
                    </a:lnTo>
                    <a:lnTo>
                      <a:pt x="500905" y="1544384"/>
                    </a:lnTo>
                    <a:lnTo>
                      <a:pt x="500153" y="1544028"/>
                    </a:lnTo>
                    <a:lnTo>
                      <a:pt x="709704" y="1544028"/>
                    </a:lnTo>
                    <a:cubicBezTo>
                      <a:pt x="714039" y="1490191"/>
                      <a:pt x="721090" y="1290207"/>
                      <a:pt x="565560" y="985111"/>
                    </a:cubicBezTo>
                    <a:cubicBezTo>
                      <a:pt x="401014" y="623451"/>
                      <a:pt x="20638" y="447532"/>
                      <a:pt x="0" y="422131"/>
                    </a:cubicBezTo>
                    <a:lnTo>
                      <a:pt x="327583" y="333691"/>
                    </a:lnTo>
                    <a:lnTo>
                      <a:pt x="246532" y="0"/>
                    </a:lnTo>
                    <a:close/>
                  </a:path>
                </a:pathLst>
              </a:custGeom>
              <a:solidFill>
                <a:srgbClr val="425563"/>
              </a:solidFill>
              <a:ln w="25400" cap="flat" cmpd="sng" algn="ctr">
                <a:noFill/>
                <a:prstDash val="solid"/>
              </a:ln>
              <a:effectLst/>
            </p:spPr>
            <p:txBody>
              <a:bodyPr lIns="121920" tIns="60960" rtlCol="0" anchor="ctr"/>
              <a:lstStyle/>
              <a:p>
                <a:pPr algn="ctr" defTabSz="1219068">
                  <a:lnSpc>
                    <a:spcPct val="85000"/>
                  </a:lnSpc>
                  <a:defRPr/>
                </a:pPr>
                <a:endParaRPr lang="en-US" sz="1600" kern="0" dirty="0">
                  <a:solidFill>
                    <a:srgbClr val="FFFFFF"/>
                  </a:solidFill>
                </a:endParaRPr>
              </a:p>
            </p:txBody>
          </p:sp>
        </p:grpSp>
      </p:grpSp>
    </p:spTree>
    <p:extLst>
      <p:ext uri="{BB962C8B-B14F-4D97-AF65-F5344CB8AC3E}">
        <p14:creationId xmlns:p14="http://schemas.microsoft.com/office/powerpoint/2010/main" val="32140783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oIiEff1XkWkRagaFE45Z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goB1Aklkk.aWyVBv1VwdQ"/>
</p:tagLst>
</file>

<file path=ppt/theme/theme1.xml><?xml version="1.0" encoding="utf-8"?>
<a:theme xmlns:a="http://schemas.openxmlformats.org/drawingml/2006/main" name="HPE_Standard_Arial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xmlns="" name="HPE_Standard_Arial_16x9.potx" id="{21F84462-1C9F-438F-A772-0EBAD7B3BCD8}" vid="{077F0EBE-C80C-4B61-8BF1-0309CF31637A}"/>
    </a:ext>
  </a:extLst>
</a:theme>
</file>

<file path=ppt/theme/theme2.xml><?xml version="1.0" encoding="utf-8"?>
<a:theme xmlns:a="http://schemas.openxmlformats.org/drawingml/2006/main" name="1_HPE_Standard_Arial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xmlns="" name="HPE_Standard_Arial_16x9.potx" id="{21F84462-1C9F-438F-A772-0EBAD7B3BCD8}" vid="{077F0EBE-C80C-4B61-8BF1-0309CF31637A}"/>
    </a:ext>
  </a:extLst>
</a:theme>
</file>

<file path=ppt/theme/theme3.xml><?xml version="1.0" encoding="utf-8"?>
<a:theme xmlns:a="http://schemas.openxmlformats.org/drawingml/2006/main" name="HPE_Standard_Arial_16x9_v4">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69|130">
      <a:srgbClr val="00A982"/>
    </a:custClr>
    <a:custClr name="128|116|110">
      <a:srgbClr val="80746E"/>
    </a:custClr>
    <a:custClr name="66|85|99">
      <a:srgbClr val="425563"/>
    </a:custClr>
  </a:custClrLst>
  <a:extLst>
    <a:ext uri="{05A4C25C-085E-4340-85A3-A5531E510DB2}">
      <thm15:themeFamily xmlns:thm15="http://schemas.microsoft.com/office/thememl/2012/main" xmlns="" name="HPE_Standard_Arial_16x9.potx" id="{21F84462-1C9F-438F-A772-0EBAD7B3BCD8}" vid="{077F0EBE-C80C-4B61-8BF1-0309CF31637A}"/>
    </a:ext>
  </a:extLst>
</a:theme>
</file>

<file path=ppt/theme/theme4.xml><?xml version="1.0" encoding="utf-8"?>
<a:theme xmlns:a="http://schemas.openxmlformats.org/drawingml/2006/main" name="2_HPE_Standard_Arial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xmlns="" name="HPE_Standard_Arial_16x9_v2.potx [Read-Only]" id="{6F8CE9CA-50CF-4785-B730-78DDD66A63B0}" vid="{C6179169-3050-4408-8CD1-02AD978519F2}"/>
    </a:ext>
  </a:extLst>
</a:theme>
</file>

<file path=ppt/theme/theme5.xml><?xml version="1.0" encoding="utf-8"?>
<a:theme xmlns:a="http://schemas.openxmlformats.org/drawingml/2006/main" name="3_HPE_Standard_Arial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xmlns="" name="HPE_Standard_Arial_16x9.potx" id="{21F84462-1C9F-438F-A772-0EBAD7B3BCD8}" vid="{077F0EBE-C80C-4B61-8BF1-0309CF31637A}"/>
    </a:ext>
  </a:extLst>
</a:theme>
</file>

<file path=ppt/theme/theme6.xml><?xml version="1.0" encoding="utf-8"?>
<a:theme xmlns:a="http://schemas.openxmlformats.org/drawingml/2006/main" name="4_HPE_Standard_Arial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xmlns="" name="HPE_Standard_Arial_16x9.potx" id="{21F84462-1C9F-438F-A772-0EBAD7B3BCD8}" vid="{077F0EBE-C80C-4B61-8BF1-0309CF31637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93</TotalTime>
  <Words>546</Words>
  <Application>Microsoft Office PowerPoint</Application>
  <PresentationFormat>Произвольный</PresentationFormat>
  <Paragraphs>142</Paragraphs>
  <Slides>11</Slides>
  <Notes>5</Notes>
  <HiddenSlides>0</HiddenSlides>
  <MMClips>0</MMClips>
  <ScaleCrop>false</ScaleCrop>
  <HeadingPairs>
    <vt:vector size="6" baseType="variant">
      <vt:variant>
        <vt:lpstr>Тема</vt:lpstr>
      </vt:variant>
      <vt:variant>
        <vt:i4>6</vt:i4>
      </vt:variant>
      <vt:variant>
        <vt:lpstr>Внедренные серверы OLE</vt:lpstr>
      </vt:variant>
      <vt:variant>
        <vt:i4>1</vt:i4>
      </vt:variant>
      <vt:variant>
        <vt:lpstr>Заголовки слайдов</vt:lpstr>
      </vt:variant>
      <vt:variant>
        <vt:i4>11</vt:i4>
      </vt:variant>
    </vt:vector>
  </HeadingPairs>
  <TitlesOfParts>
    <vt:vector size="18" baseType="lpstr">
      <vt:lpstr>HPE_Standard_Arial_16x9_v2</vt:lpstr>
      <vt:lpstr>1_HPE_Standard_Arial_16x9_v2</vt:lpstr>
      <vt:lpstr>HPE_Standard_Arial_16x9_v4</vt:lpstr>
      <vt:lpstr>2_HPE_Standard_Arial_16x9_v2</vt:lpstr>
      <vt:lpstr>3_HPE_Standard_Arial_16x9_v2</vt:lpstr>
      <vt:lpstr>4_HPE_Standard_Arial_16x9_v2</vt:lpstr>
      <vt:lpstr>think-cell Slide</vt:lpstr>
      <vt:lpstr>Построение ИТ-инфраструктуры нового поколения: предпосылки появления, особенности и методы реализации</vt:lpstr>
      <vt:lpstr>Смена модели потребления</vt:lpstr>
      <vt:lpstr>Экономика идей </vt:lpstr>
      <vt:lpstr>ИТ как производная модели экономики</vt:lpstr>
      <vt:lpstr>Мнения аналитиков. Выбор терминологии</vt:lpstr>
      <vt:lpstr>Презентация PowerPoint</vt:lpstr>
      <vt:lpstr>Презентация PowerPoint</vt:lpstr>
      <vt:lpstr>Особенность 2: ЦОД должен быть программно-определяемым</vt:lpstr>
      <vt:lpstr>Особенность 3: В основе реализации лежат облачные технологии / концепции</vt:lpstr>
      <vt:lpstr>Этапы реализации</vt:lpstr>
      <vt:lpstr>Спасибо за внимание!</vt:lpstr>
    </vt:vector>
  </TitlesOfParts>
  <Company>Hewlett Packar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dc:title>
  <dc:creator>Starygin, Alexander</dc:creator>
  <cp:lastModifiedBy>user</cp:lastModifiedBy>
  <cp:revision>66</cp:revision>
  <dcterms:created xsi:type="dcterms:W3CDTF">2015-10-21T07:54:47Z</dcterms:created>
  <dcterms:modified xsi:type="dcterms:W3CDTF">2016-02-09T15:08:59Z</dcterms:modified>
</cp:coreProperties>
</file>